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12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13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14.xml" ContentType="application/vnd.openxmlformats-officedocument.presentationml.notesSl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notesSlides/notesSlide15.xml" ContentType="application/vnd.openxmlformats-officedocument.presentationml.notesSl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16.xml" ContentType="application/vnd.openxmlformats-officedocument.presentationml.notesSlid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notesSlides/notesSlide20.xml" ContentType="application/vnd.openxmlformats-officedocument.presentationml.notesSlid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notesSlides/notesSlide21.xml" ContentType="application/vnd.openxmlformats-officedocument.presentationml.notesSlid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notesSlides/notesSlide22.xml" ContentType="application/vnd.openxmlformats-officedocument.presentationml.notesSlid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notesSlides/notesSlide23.xml" ContentType="application/vnd.openxmlformats-officedocument.presentationml.notesSlid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notesSlides/notesSlide24.xml" ContentType="application/vnd.openxmlformats-officedocument.presentationml.notesSlid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notesSlides/notesSlide25.xml" ContentType="application/vnd.openxmlformats-officedocument.presentationml.notesSlid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notesSlides/notesSlide26.xml" ContentType="application/vnd.openxmlformats-officedocument.presentationml.notesSlide+xml"/>
  <Override PartName="/ppt/charts/chart4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charts/chart43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charts/chart44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notesSlides/notesSlide27.xml" ContentType="application/vnd.openxmlformats-officedocument.presentationml.notesSlide+xml"/>
  <Override PartName="/ppt/charts/chart45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charts/chart46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charts/chart47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notesSlides/notesSlide28.xml" ContentType="application/vnd.openxmlformats-officedocument.presentationml.notesSlide+xml"/>
  <Override PartName="/ppt/charts/chart48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charts/chart49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charts/chart50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charts/chart51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notesSlides/notesSlide31.xml" ContentType="application/vnd.openxmlformats-officedocument.presentationml.notesSlide+xml"/>
  <Override PartName="/ppt/charts/chart52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charts/chart53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notesSlides/notesSlide32.xml" ContentType="application/vnd.openxmlformats-officedocument.presentationml.notesSlide+xml"/>
  <Override PartName="/ppt/charts/chart54.xml" ContentType="application/vnd.openxmlformats-officedocument.drawingml.chart+xml"/>
  <Override PartName="/ppt/charts/style54.xml" ContentType="application/vnd.ms-office.chartstyle+xml"/>
  <Override PartName="/ppt/charts/colors54.xml" ContentType="application/vnd.ms-office.chartcolorstyle+xml"/>
  <Override PartName="/ppt/charts/chart55.xml" ContentType="application/vnd.openxmlformats-officedocument.drawingml.chart+xml"/>
  <Override PartName="/ppt/charts/style55.xml" ContentType="application/vnd.ms-office.chartstyle+xml"/>
  <Override PartName="/ppt/charts/colors55.xml" ContentType="application/vnd.ms-office.chartcolorstyle+xml"/>
  <Override PartName="/ppt/notesSlides/notesSlide33.xml" ContentType="application/vnd.openxmlformats-officedocument.presentationml.notesSlide+xml"/>
  <Override PartName="/ppt/charts/chart56.xml" ContentType="application/vnd.openxmlformats-officedocument.drawingml.chart+xml"/>
  <Override PartName="/ppt/charts/style56.xml" ContentType="application/vnd.ms-office.chartstyle+xml"/>
  <Override PartName="/ppt/charts/colors56.xml" ContentType="application/vnd.ms-office.chartcolorstyle+xml"/>
  <Override PartName="/ppt/charts/chart57.xml" ContentType="application/vnd.openxmlformats-officedocument.drawingml.chart+xml"/>
  <Override PartName="/ppt/charts/style57.xml" ContentType="application/vnd.ms-office.chartstyle+xml"/>
  <Override PartName="/ppt/charts/colors57.xml" ContentType="application/vnd.ms-office.chartcolorstyle+xml"/>
  <Override PartName="/ppt/notesSlides/notesSlide34.xml" ContentType="application/vnd.openxmlformats-officedocument.presentationml.notesSlide+xml"/>
  <Override PartName="/ppt/charts/chart58.xml" ContentType="application/vnd.openxmlformats-officedocument.drawingml.chart+xml"/>
  <Override PartName="/ppt/charts/style58.xml" ContentType="application/vnd.ms-office.chartstyle+xml"/>
  <Override PartName="/ppt/charts/colors58.xml" ContentType="application/vnd.ms-office.chartcolorstyle+xml"/>
  <Override PartName="/ppt/charts/chart59.xml" ContentType="application/vnd.openxmlformats-officedocument.drawingml.chart+xml"/>
  <Override PartName="/ppt/charts/style59.xml" ContentType="application/vnd.ms-office.chartstyle+xml"/>
  <Override PartName="/ppt/charts/colors59.xml" ContentType="application/vnd.ms-office.chartcolorstyle+xml"/>
  <Override PartName="/ppt/notesSlides/notesSlide35.xml" ContentType="application/vnd.openxmlformats-officedocument.presentationml.notesSlide+xml"/>
  <Override PartName="/ppt/charts/chart60.xml" ContentType="application/vnd.openxmlformats-officedocument.drawingml.chart+xml"/>
  <Override PartName="/ppt/charts/style60.xml" ContentType="application/vnd.ms-office.chartstyle+xml"/>
  <Override PartName="/ppt/charts/colors60.xml" ContentType="application/vnd.ms-office.chartcolorstyle+xml"/>
  <Override PartName="/ppt/charts/chart61.xml" ContentType="application/vnd.openxmlformats-officedocument.drawingml.chart+xml"/>
  <Override PartName="/ppt/charts/style61.xml" ContentType="application/vnd.ms-office.chartstyle+xml"/>
  <Override PartName="/ppt/charts/colors61.xml" ContentType="application/vnd.ms-office.chartcolorstyle+xml"/>
  <Override PartName="/ppt/charts/chart62.xml" ContentType="application/vnd.openxmlformats-officedocument.drawingml.chart+xml"/>
  <Override PartName="/ppt/charts/style62.xml" ContentType="application/vnd.ms-office.chartstyle+xml"/>
  <Override PartName="/ppt/charts/colors62.xml" ContentType="application/vnd.ms-office.chartcolorstyle+xml"/>
  <Override PartName="/ppt/charts/chart63.xml" ContentType="application/vnd.openxmlformats-officedocument.drawingml.chart+xml"/>
  <Override PartName="/ppt/charts/style63.xml" ContentType="application/vnd.ms-office.chartstyle+xml"/>
  <Override PartName="/ppt/charts/colors63.xml" ContentType="application/vnd.ms-office.chartcolorstyle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charts/chart64.xml" ContentType="application/vnd.openxmlformats-officedocument.drawingml.chart+xml"/>
  <Override PartName="/ppt/charts/style64.xml" ContentType="application/vnd.ms-office.chartstyle+xml"/>
  <Override PartName="/ppt/charts/colors64.xml" ContentType="application/vnd.ms-office.chartcolorstyle+xml"/>
  <Override PartName="/ppt/charts/chart65.xml" ContentType="application/vnd.openxmlformats-officedocument.drawingml.chart+xml"/>
  <Override PartName="/ppt/charts/style65.xml" ContentType="application/vnd.ms-office.chartstyle+xml"/>
  <Override PartName="/ppt/charts/colors65.xml" ContentType="application/vnd.ms-office.chartcolorstyle+xml"/>
  <Override PartName="/ppt/charts/chart66.xml" ContentType="application/vnd.openxmlformats-officedocument.drawingml.chart+xml"/>
  <Override PartName="/ppt/charts/style66.xml" ContentType="application/vnd.ms-office.chartstyle+xml"/>
  <Override PartName="/ppt/charts/colors66.xml" ContentType="application/vnd.ms-office.chartcolorstyle+xml"/>
  <Override PartName="/ppt/charts/chart67.xml" ContentType="application/vnd.openxmlformats-officedocument.drawingml.chart+xml"/>
  <Override PartName="/ppt/charts/style67.xml" ContentType="application/vnd.ms-office.chartstyle+xml"/>
  <Override PartName="/ppt/charts/colors67.xml" ContentType="application/vnd.ms-office.chartcolorstyle+xml"/>
  <Override PartName="/ppt/charts/chart68.xml" ContentType="application/vnd.openxmlformats-officedocument.drawingml.chart+xml"/>
  <Override PartName="/ppt/charts/style68.xml" ContentType="application/vnd.ms-office.chartstyle+xml"/>
  <Override PartName="/ppt/charts/colors68.xml" ContentType="application/vnd.ms-office.chartcolorstyle+xml"/>
  <Override PartName="/ppt/notesSlides/notesSlide40.xml" ContentType="application/vnd.openxmlformats-officedocument.presentationml.notesSlide+xml"/>
  <Override PartName="/ppt/charts/chart69.xml" ContentType="application/vnd.openxmlformats-officedocument.drawingml.chart+xml"/>
  <Override PartName="/ppt/charts/style69.xml" ContentType="application/vnd.ms-office.chartstyle+xml"/>
  <Override PartName="/ppt/charts/colors69.xml" ContentType="application/vnd.ms-office.chartcolorstyle+xml"/>
  <Override PartName="/ppt/charts/chart70.xml" ContentType="application/vnd.openxmlformats-officedocument.drawingml.chart+xml"/>
  <Override PartName="/ppt/charts/style70.xml" ContentType="application/vnd.ms-office.chartstyle+xml"/>
  <Override PartName="/ppt/charts/colors70.xml" ContentType="application/vnd.ms-office.chartcolorstyle+xml"/>
  <Override PartName="/ppt/notesSlides/notesSlide41.xml" ContentType="application/vnd.openxmlformats-officedocument.presentationml.notesSlide+xml"/>
  <Override PartName="/ppt/charts/chart71.xml" ContentType="application/vnd.openxmlformats-officedocument.drawingml.chart+xml"/>
  <Override PartName="/ppt/charts/style71.xml" ContentType="application/vnd.ms-office.chartstyle+xml"/>
  <Override PartName="/ppt/charts/colors71.xml" ContentType="application/vnd.ms-office.chartcolorstyle+xml"/>
  <Override PartName="/ppt/drawings/drawing1.xml" ContentType="application/vnd.openxmlformats-officedocument.drawingml.chartshapes+xml"/>
  <Override PartName="/ppt/charts/chart72.xml" ContentType="application/vnd.openxmlformats-officedocument.drawingml.chart+xml"/>
  <Override PartName="/ppt/charts/style72.xml" ContentType="application/vnd.ms-office.chartstyle+xml"/>
  <Override PartName="/ppt/charts/colors72.xml" ContentType="application/vnd.ms-office.chartcolorstyle+xml"/>
  <Override PartName="/ppt/notesSlides/notesSlide42.xml" ContentType="application/vnd.openxmlformats-officedocument.presentationml.notesSlide+xml"/>
  <Override PartName="/ppt/charts/chart73.xml" ContentType="application/vnd.openxmlformats-officedocument.drawingml.chart+xml"/>
  <Override PartName="/ppt/charts/style73.xml" ContentType="application/vnd.ms-office.chartstyle+xml"/>
  <Override PartName="/ppt/charts/colors73.xml" ContentType="application/vnd.ms-office.chartcolorstyle+xml"/>
  <Override PartName="/ppt/charts/chart74.xml" ContentType="application/vnd.openxmlformats-officedocument.drawingml.chart+xml"/>
  <Override PartName="/ppt/charts/style74.xml" ContentType="application/vnd.ms-office.chartstyle+xml"/>
  <Override PartName="/ppt/charts/colors74.xml" ContentType="application/vnd.ms-office.chartcolorstyle+xml"/>
  <Override PartName="/ppt/notesSlides/notesSlide43.xml" ContentType="application/vnd.openxmlformats-officedocument.presentationml.notesSlide+xml"/>
  <Override PartName="/ppt/charts/chart75.xml" ContentType="application/vnd.openxmlformats-officedocument.drawingml.chart+xml"/>
  <Override PartName="/ppt/charts/style75.xml" ContentType="application/vnd.ms-office.chartstyle+xml"/>
  <Override PartName="/ppt/charts/colors75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683" r:id="rId5"/>
  </p:sldMasterIdLst>
  <p:notesMasterIdLst>
    <p:notesMasterId r:id="rId60"/>
  </p:notesMasterIdLst>
  <p:handoutMasterIdLst>
    <p:handoutMasterId r:id="rId61"/>
  </p:handoutMasterIdLst>
  <p:sldIdLst>
    <p:sldId id="1769" r:id="rId6"/>
    <p:sldId id="1754" r:id="rId7"/>
    <p:sldId id="1882" r:id="rId8"/>
    <p:sldId id="1828" r:id="rId9"/>
    <p:sldId id="1938" r:id="rId10"/>
    <p:sldId id="1771" r:id="rId11"/>
    <p:sldId id="1899" r:id="rId12"/>
    <p:sldId id="1900" r:id="rId13"/>
    <p:sldId id="1939" r:id="rId14"/>
    <p:sldId id="1949" r:id="rId15"/>
    <p:sldId id="1928" r:id="rId16"/>
    <p:sldId id="1887" r:id="rId17"/>
    <p:sldId id="1898" r:id="rId18"/>
    <p:sldId id="1901" r:id="rId19"/>
    <p:sldId id="1948" r:id="rId20"/>
    <p:sldId id="1959" r:id="rId21"/>
    <p:sldId id="1958" r:id="rId22"/>
    <p:sldId id="1937" r:id="rId23"/>
    <p:sldId id="1906" r:id="rId24"/>
    <p:sldId id="1912" r:id="rId25"/>
    <p:sldId id="1913" r:id="rId26"/>
    <p:sldId id="1936" r:id="rId27"/>
    <p:sldId id="1935" r:id="rId28"/>
    <p:sldId id="1933" r:id="rId29"/>
    <p:sldId id="1934" r:id="rId30"/>
    <p:sldId id="1946" r:id="rId31"/>
    <p:sldId id="1930" r:id="rId32"/>
    <p:sldId id="1917" r:id="rId33"/>
    <p:sldId id="1920" r:id="rId34"/>
    <p:sldId id="1947" r:id="rId35"/>
    <p:sldId id="1924" r:id="rId36"/>
    <p:sldId id="1926" r:id="rId37"/>
    <p:sldId id="1909" r:id="rId38"/>
    <p:sldId id="1927" r:id="rId39"/>
    <p:sldId id="1888" r:id="rId40"/>
    <p:sldId id="1891" r:id="rId41"/>
    <p:sldId id="1957" r:id="rId42"/>
    <p:sldId id="1892" r:id="rId43"/>
    <p:sldId id="1953" r:id="rId44"/>
    <p:sldId id="1897" r:id="rId45"/>
    <p:sldId id="1952" r:id="rId46"/>
    <p:sldId id="1954" r:id="rId47"/>
    <p:sldId id="1940" r:id="rId48"/>
    <p:sldId id="1823" r:id="rId49"/>
    <p:sldId id="1941" r:id="rId50"/>
    <p:sldId id="1907" r:id="rId51"/>
    <p:sldId id="1955" r:id="rId52"/>
    <p:sldId id="1956" r:id="rId53"/>
    <p:sldId id="1902" r:id="rId54"/>
    <p:sldId id="1903" r:id="rId55"/>
    <p:sldId id="1951" r:id="rId56"/>
    <p:sldId id="1890" r:id="rId57"/>
    <p:sldId id="1931" r:id="rId58"/>
    <p:sldId id="1885" r:id="rId59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594CCAF4-F299-451C-93DB-70A4DF5B9F0E}">
          <p14:sldIdLst>
            <p14:sldId id="1769"/>
            <p14:sldId id="1754"/>
            <p14:sldId id="1882"/>
            <p14:sldId id="1828"/>
          </p14:sldIdLst>
        </p14:section>
        <p14:section name="DCI nears all-time best led by teenage boys" id="{C32467FC-C3AC-464D-ABF1-90378B7ED1EE}">
          <p14:sldIdLst>
            <p14:sldId id="1938"/>
            <p14:sldId id="1771"/>
            <p14:sldId id="1899"/>
            <p14:sldId id="1900"/>
            <p14:sldId id="1939"/>
            <p14:sldId id="1949"/>
          </p14:sldIdLst>
        </p14:section>
        <p14:section name="Perceptions about online civility during Covid were less positive" id="{588F8F32-A20D-4FDD-A97A-D352BD63245D}">
          <p14:sldIdLst>
            <p14:sldId id="1928"/>
            <p14:sldId id="1887"/>
            <p14:sldId id="1898"/>
            <p14:sldId id="1901"/>
            <p14:sldId id="1948"/>
            <p14:sldId id="1959"/>
            <p14:sldId id="1958"/>
          </p14:sldIdLst>
        </p14:section>
        <p14:section name="Nearly nine out of ten respondents said education is critical to making the Internet a safer place" id="{4FC8C252-09A8-4469-8E02-9CD9533D6F14}">
          <p14:sldIdLst>
            <p14:sldId id="1937"/>
            <p14:sldId id="1906"/>
            <p14:sldId id="1912"/>
            <p14:sldId id="1913"/>
            <p14:sldId id="1936"/>
            <p14:sldId id="1935"/>
            <p14:sldId id="1933"/>
            <p14:sldId id="1934"/>
            <p14:sldId id="1946"/>
          </p14:sldIdLst>
        </p14:section>
        <p14:section name="The burden of risk exposure this past year fell hardest on females" id="{9AA2202D-D0AD-4158-89B0-26DA411D652A}">
          <p14:sldIdLst>
            <p14:sldId id="1930"/>
            <p14:sldId id="1917"/>
            <p14:sldId id="1920"/>
            <p14:sldId id="1947"/>
            <p14:sldId id="1924"/>
            <p14:sldId id="1926"/>
            <p14:sldId id="1909"/>
          </p14:sldIdLst>
        </p14:section>
        <p14:section name="Online meetings &amp; classes were catalysts for experiencing and encouraging greater civility" id="{D79760EE-B054-4362-84FD-EF890EF211E6}">
          <p14:sldIdLst>
            <p14:sldId id="1927"/>
            <p14:sldId id="1888"/>
            <p14:sldId id="1891"/>
            <p14:sldId id="1957"/>
            <p14:sldId id="1892"/>
            <p14:sldId id="1953"/>
            <p14:sldId id="1897"/>
          </p14:sldIdLst>
        </p14:section>
        <p14:section name="Appendix" id="{D7C39FF2-6CDE-470F-92BB-5A9EDA7B85DD}">
          <p14:sldIdLst>
            <p14:sldId id="1952"/>
            <p14:sldId id="1954"/>
            <p14:sldId id="1940"/>
            <p14:sldId id="1823"/>
            <p14:sldId id="1941"/>
            <p14:sldId id="1907"/>
            <p14:sldId id="1955"/>
            <p14:sldId id="1956"/>
            <p14:sldId id="1902"/>
            <p14:sldId id="1903"/>
            <p14:sldId id="1951"/>
            <p14:sldId id="1890"/>
            <p14:sldId id="1931"/>
            <p14:sldId id="188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/>
  <p:cmAuthor id="3" name="Mary Feil-Jacobs" initials="MF" lastIdx="27" clrIdx="3"/>
  <p:cmAuthor id="4" name="John Ruchinskas" initials="JR" lastIdx="19" clrIdx="4">
    <p:extLst>
      <p:ext uri="{19B8F6BF-5375-455C-9EA6-DF929625EA0E}">
        <p15:presenceInfo xmlns:p15="http://schemas.microsoft.com/office/powerpoint/2012/main" userId="8b520dd3a2a299f0" providerId="Windows Live"/>
      </p:ext>
    </p:extLst>
  </p:cmAuthor>
  <p:cmAuthor id="5" name="Tom Wong" initials="TW" lastIdx="19" clrIdx="5">
    <p:extLst>
      <p:ext uri="{19B8F6BF-5375-455C-9EA6-DF929625EA0E}">
        <p15:presenceInfo xmlns:p15="http://schemas.microsoft.com/office/powerpoint/2012/main" userId="7ee3688e7d49893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D4"/>
    <a:srgbClr val="008575"/>
    <a:srgbClr val="595959"/>
    <a:srgbClr val="0085AA"/>
    <a:srgbClr val="243A5E"/>
    <a:srgbClr val="51E5FF"/>
    <a:srgbClr val="107C10"/>
    <a:srgbClr val="C0C0C0"/>
    <a:srgbClr val="0185CF"/>
    <a:srgbClr val="50E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ADBE11-808C-47F8-8A53-D1C29F380DE6}" v="766" dt="2021-07-13T17:46:05.947"/>
    <p1510:client id="{3727DF45-7E5A-455A-953E-5053030C52AA}" v="2115" dt="2021-07-13T22:03:15.200"/>
    <p1510:client id="{84650AE4-0D38-4150-8268-AE0CDE2FCA02}" v="4091" dt="2021-07-13T22:09:31.23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2" d="100"/>
          <a:sy n="82" d="100"/>
        </p:scale>
        <p:origin x="201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presProps" Target="pres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61" Type="http://schemas.openxmlformats.org/officeDocument/2006/relationships/handoutMaster" Target="handoutMasters/handoutMaster1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microsoft.com/office/2015/10/relationships/revisionInfo" Target="revisionInfo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notesMaster" Target="notesMasters/notesMaster1.xml"/><Relationship Id="rId65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2.xlsx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3.xlsx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4.xlsx"/><Relationship Id="rId2" Type="http://schemas.microsoft.com/office/2011/relationships/chartColorStyle" Target="colors45.xml"/><Relationship Id="rId1" Type="http://schemas.microsoft.com/office/2011/relationships/chartStyle" Target="style45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5.xlsx"/><Relationship Id="rId2" Type="http://schemas.microsoft.com/office/2011/relationships/chartColorStyle" Target="colors46.xml"/><Relationship Id="rId1" Type="http://schemas.microsoft.com/office/2011/relationships/chartStyle" Target="style46.xml"/></Relationships>
</file>

<file path=ppt/charts/_rels/chart4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6.xlsx"/><Relationship Id="rId2" Type="http://schemas.microsoft.com/office/2011/relationships/chartColorStyle" Target="colors47.xml"/><Relationship Id="rId1" Type="http://schemas.microsoft.com/office/2011/relationships/chartStyle" Target="style47.xml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7.xlsx"/><Relationship Id="rId2" Type="http://schemas.microsoft.com/office/2011/relationships/chartColorStyle" Target="colors48.xml"/><Relationship Id="rId1" Type="http://schemas.microsoft.com/office/2011/relationships/chartStyle" Target="style48.xm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8.xlsx"/><Relationship Id="rId2" Type="http://schemas.microsoft.com/office/2011/relationships/chartColorStyle" Target="colors49.xml"/><Relationship Id="rId1" Type="http://schemas.microsoft.com/office/2011/relationships/chartStyle" Target="style49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5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9.xlsx"/><Relationship Id="rId2" Type="http://schemas.microsoft.com/office/2011/relationships/chartColorStyle" Target="colors50.xml"/><Relationship Id="rId1" Type="http://schemas.microsoft.com/office/2011/relationships/chartStyle" Target="style50.xml"/></Relationships>
</file>

<file path=ppt/charts/_rels/chart5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0.xlsx"/><Relationship Id="rId2" Type="http://schemas.microsoft.com/office/2011/relationships/chartColorStyle" Target="colors51.xml"/><Relationship Id="rId1" Type="http://schemas.microsoft.com/office/2011/relationships/chartStyle" Target="style51.xml"/></Relationships>
</file>

<file path=ppt/charts/_rels/chart5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1.xlsx"/><Relationship Id="rId2" Type="http://schemas.microsoft.com/office/2011/relationships/chartColorStyle" Target="colors52.xml"/><Relationship Id="rId1" Type="http://schemas.microsoft.com/office/2011/relationships/chartStyle" Target="style52.xml"/></Relationships>
</file>

<file path=ppt/charts/_rels/chart5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2.xlsx"/><Relationship Id="rId2" Type="http://schemas.microsoft.com/office/2011/relationships/chartColorStyle" Target="colors53.xml"/><Relationship Id="rId1" Type="http://schemas.microsoft.com/office/2011/relationships/chartStyle" Target="style53.xml"/></Relationships>
</file>

<file path=ppt/charts/_rels/chart5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3.xlsx"/><Relationship Id="rId2" Type="http://schemas.microsoft.com/office/2011/relationships/chartColorStyle" Target="colors54.xml"/><Relationship Id="rId1" Type="http://schemas.microsoft.com/office/2011/relationships/chartStyle" Target="style54.xml"/></Relationships>
</file>

<file path=ppt/charts/_rels/chart5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4.xlsx"/><Relationship Id="rId2" Type="http://schemas.microsoft.com/office/2011/relationships/chartColorStyle" Target="colors55.xml"/><Relationship Id="rId1" Type="http://schemas.microsoft.com/office/2011/relationships/chartStyle" Target="style55.xml"/></Relationships>
</file>

<file path=ppt/charts/_rels/chart5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5.xlsx"/><Relationship Id="rId2" Type="http://schemas.microsoft.com/office/2011/relationships/chartColorStyle" Target="colors56.xml"/><Relationship Id="rId1" Type="http://schemas.microsoft.com/office/2011/relationships/chartStyle" Target="style56.xml"/></Relationships>
</file>

<file path=ppt/charts/_rels/chart5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6.xlsx"/><Relationship Id="rId2" Type="http://schemas.microsoft.com/office/2011/relationships/chartColorStyle" Target="colors57.xml"/><Relationship Id="rId1" Type="http://schemas.microsoft.com/office/2011/relationships/chartStyle" Target="style57.xml"/></Relationships>
</file>

<file path=ppt/charts/_rels/chart5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7.xlsx"/><Relationship Id="rId2" Type="http://schemas.microsoft.com/office/2011/relationships/chartColorStyle" Target="colors58.xml"/><Relationship Id="rId1" Type="http://schemas.microsoft.com/office/2011/relationships/chartStyle" Target="style58.xml"/></Relationships>
</file>

<file path=ppt/charts/_rels/chart5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8.xlsx"/><Relationship Id="rId2" Type="http://schemas.microsoft.com/office/2011/relationships/chartColorStyle" Target="colors59.xml"/><Relationship Id="rId1" Type="http://schemas.microsoft.com/office/2011/relationships/chartStyle" Target="style59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6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9.xlsx"/><Relationship Id="rId2" Type="http://schemas.microsoft.com/office/2011/relationships/chartColorStyle" Target="colors60.xml"/><Relationship Id="rId1" Type="http://schemas.microsoft.com/office/2011/relationships/chartStyle" Target="style60.xml"/></Relationships>
</file>

<file path=ppt/charts/_rels/chart6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0.xlsx"/><Relationship Id="rId2" Type="http://schemas.microsoft.com/office/2011/relationships/chartColorStyle" Target="colors61.xml"/><Relationship Id="rId1" Type="http://schemas.microsoft.com/office/2011/relationships/chartStyle" Target="style61.xml"/></Relationships>
</file>

<file path=ppt/charts/_rels/chart6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1.xlsx"/><Relationship Id="rId2" Type="http://schemas.microsoft.com/office/2011/relationships/chartColorStyle" Target="colors62.xml"/><Relationship Id="rId1" Type="http://schemas.microsoft.com/office/2011/relationships/chartStyle" Target="style62.xml"/></Relationships>
</file>

<file path=ppt/charts/_rels/chart6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2.xlsx"/><Relationship Id="rId2" Type="http://schemas.microsoft.com/office/2011/relationships/chartColorStyle" Target="colors63.xml"/><Relationship Id="rId1" Type="http://schemas.microsoft.com/office/2011/relationships/chartStyle" Target="style63.xml"/></Relationships>
</file>

<file path=ppt/charts/_rels/chart6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3.xlsx"/><Relationship Id="rId2" Type="http://schemas.microsoft.com/office/2011/relationships/chartColorStyle" Target="colors64.xml"/><Relationship Id="rId1" Type="http://schemas.microsoft.com/office/2011/relationships/chartStyle" Target="style64.xml"/></Relationships>
</file>

<file path=ppt/charts/_rels/chart6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4.xlsx"/><Relationship Id="rId2" Type="http://schemas.microsoft.com/office/2011/relationships/chartColorStyle" Target="colors65.xml"/><Relationship Id="rId1" Type="http://schemas.microsoft.com/office/2011/relationships/chartStyle" Target="style65.xml"/></Relationships>
</file>

<file path=ppt/charts/_rels/chart6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5.xlsx"/><Relationship Id="rId2" Type="http://schemas.microsoft.com/office/2011/relationships/chartColorStyle" Target="colors66.xml"/><Relationship Id="rId1" Type="http://schemas.microsoft.com/office/2011/relationships/chartStyle" Target="style66.xml"/></Relationships>
</file>

<file path=ppt/charts/_rels/chart6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6.xlsx"/><Relationship Id="rId2" Type="http://schemas.microsoft.com/office/2011/relationships/chartColorStyle" Target="colors67.xml"/><Relationship Id="rId1" Type="http://schemas.microsoft.com/office/2011/relationships/chartStyle" Target="style67.xml"/></Relationships>
</file>

<file path=ppt/charts/_rels/chart6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7.xlsx"/><Relationship Id="rId2" Type="http://schemas.microsoft.com/office/2011/relationships/chartColorStyle" Target="colors68.xml"/><Relationship Id="rId1" Type="http://schemas.microsoft.com/office/2011/relationships/chartStyle" Target="style68.xml"/></Relationships>
</file>

<file path=ppt/charts/_rels/chart6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8.xlsx"/><Relationship Id="rId2" Type="http://schemas.microsoft.com/office/2011/relationships/chartColorStyle" Target="colors69.xml"/><Relationship Id="rId1" Type="http://schemas.microsoft.com/office/2011/relationships/chartStyle" Target="style69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7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9.xlsx"/><Relationship Id="rId2" Type="http://schemas.microsoft.com/office/2011/relationships/chartColorStyle" Target="colors70.xml"/><Relationship Id="rId1" Type="http://schemas.microsoft.com/office/2011/relationships/chartStyle" Target="style70.xml"/></Relationships>
</file>

<file path=ppt/charts/_rels/chart7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0.xlsx"/><Relationship Id="rId2" Type="http://schemas.microsoft.com/office/2011/relationships/chartColorStyle" Target="colors71.xml"/><Relationship Id="rId1" Type="http://schemas.microsoft.com/office/2011/relationships/chartStyle" Target="style71.xml"/><Relationship Id="rId4" Type="http://schemas.openxmlformats.org/officeDocument/2006/relationships/chartUserShapes" Target="../drawings/drawing1.xml"/></Relationships>
</file>

<file path=ppt/charts/_rels/chart7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1.xlsx"/><Relationship Id="rId2" Type="http://schemas.microsoft.com/office/2011/relationships/chartColorStyle" Target="colors72.xml"/><Relationship Id="rId1" Type="http://schemas.microsoft.com/office/2011/relationships/chartStyle" Target="style72.xml"/></Relationships>
</file>

<file path=ppt/charts/_rels/chart7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2.xlsx"/><Relationship Id="rId2" Type="http://schemas.microsoft.com/office/2011/relationships/chartColorStyle" Target="colors73.xml"/><Relationship Id="rId1" Type="http://schemas.microsoft.com/office/2011/relationships/chartStyle" Target="style73.xml"/></Relationships>
</file>

<file path=ppt/charts/_rels/chart7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3.xlsx"/><Relationship Id="rId2" Type="http://schemas.microsoft.com/office/2011/relationships/chartColorStyle" Target="colors74.xml"/><Relationship Id="rId1" Type="http://schemas.microsoft.com/office/2011/relationships/chartStyle" Target="style74.xml"/></Relationships>
</file>

<file path=ppt/charts/_rels/chart7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4.xlsx"/><Relationship Id="rId2" Type="http://schemas.microsoft.com/office/2011/relationships/chartColorStyle" Target="colors75.xml"/><Relationship Id="rId1" Type="http://schemas.microsoft.com/office/2011/relationships/chartStyle" Target="style75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677855026875514E-2"/>
          <c:y val="5.058582834109597E-2"/>
          <c:w val="0.96562499999999996"/>
          <c:h val="0.88059410684769523"/>
        </c:manualLayout>
      </c:layout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CI</c:v>
                </c:pt>
              </c:strCache>
            </c:strRef>
          </c:tx>
          <c:spPr>
            <a:solidFill>
              <a:srgbClr val="008575"/>
            </a:solidFill>
            <a:ln w="25400">
              <a:noFill/>
            </a:ln>
            <a:effectLst/>
          </c:spPr>
          <c:cat>
            <c:numRef>
              <c:f>Sheet1!$A$5:$A$7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5:$B$7</c:f>
              <c:numCache>
                <c:formatCode>0%</c:formatCode>
                <c:ptCount val="3"/>
                <c:pt idx="0">
                  <c:v>0.7</c:v>
                </c:pt>
                <c:pt idx="1">
                  <c:v>0.67</c:v>
                </c:pt>
                <c:pt idx="2">
                  <c:v>0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93-43BF-839C-A7A724A5C4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93231472"/>
        <c:axId val="293232432"/>
      </c:areaChart>
      <c:catAx>
        <c:axId val="2932314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3232432"/>
        <c:crosses val="autoZero"/>
        <c:auto val="1"/>
        <c:lblAlgn val="ctr"/>
        <c:lblOffset val="100"/>
        <c:noMultiLvlLbl val="0"/>
      </c:catAx>
      <c:valAx>
        <c:axId val="293232432"/>
        <c:scaling>
          <c:orientation val="minMax"/>
          <c:max val="0.70000000000000007"/>
          <c:min val="0.60000000000000009"/>
        </c:scaling>
        <c:delete val="1"/>
        <c:axPos val="l"/>
        <c:numFmt formatCode="0%" sourceLinked="1"/>
        <c:majorTickMark val="out"/>
        <c:minorTickMark val="none"/>
        <c:tickLblPos val="nextTo"/>
        <c:crossAx val="293231472"/>
        <c:crosses val="autoZero"/>
        <c:crossBetween val="midCat"/>
      </c:valAx>
      <c:spPr>
        <a:solidFill>
          <a:srgbClr val="0078D4">
            <a:alpha val="0"/>
          </a:srgbClr>
        </a:solidFill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u="none">
                <a:solidFill>
                  <a:srgbClr val="595959"/>
                </a:solidFill>
              </a:rPr>
              <a:t>Getting</a:t>
            </a:r>
            <a:r>
              <a:rPr lang="en-US" sz="1600" u="none" baseline="0">
                <a:solidFill>
                  <a:srgbClr val="595959"/>
                </a:solidFill>
              </a:rPr>
              <a:t> help was less easy down 3-pts. YoY</a:t>
            </a:r>
            <a:r>
              <a:rPr lang="en-US" sz="1600" u="none">
                <a:solidFill>
                  <a:srgbClr val="595959"/>
                </a:solidFill>
              </a:rPr>
              <a:t> </a:t>
            </a:r>
            <a:endParaRPr lang="en-US" sz="1000">
              <a:solidFill>
                <a:srgbClr val="595959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2"/>
          <c:order val="0"/>
          <c:tx>
            <c:strRef>
              <c:f>Sheet1!$B$1</c:f>
              <c:strCache>
                <c:ptCount val="1"/>
                <c:pt idx="0">
                  <c:v>Easy to get</c:v>
                </c:pt>
              </c:strCache>
            </c:strRef>
          </c:tx>
          <c:spPr>
            <a:ln w="76200" cap="rnd">
              <a:solidFill>
                <a:srgbClr val="0078D4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rgbClr val="0078D4"/>
                </a:solidFill>
              </a:ln>
              <a:effectLst/>
            </c:spPr>
          </c:marker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414-41C3-9293-2E5B33EB6C12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414-41C3-9293-2E5B33EB6C12}"/>
                </c:ext>
              </c:extLst>
            </c:dLbl>
            <c:dLbl>
              <c:idx val="3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414-41C3-9293-2E5B33EB6C12}"/>
                </c:ext>
              </c:extLst>
            </c:dLbl>
            <c:dLbl>
              <c:idx val="4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414-41C3-9293-2E5B33EB6C12}"/>
                </c:ext>
              </c:extLst>
            </c:dLbl>
            <c:dLbl>
              <c:idx val="5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414-41C3-9293-2E5B33EB6C1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B$2:$B$6</c:f>
              <c:numCache>
                <c:formatCode>0%</c:formatCode>
                <c:ptCount val="5"/>
                <c:pt idx="0">
                  <c:v>0.27</c:v>
                </c:pt>
                <c:pt idx="1">
                  <c:v>0.27</c:v>
                </c:pt>
                <c:pt idx="2">
                  <c:v>0.32</c:v>
                </c:pt>
                <c:pt idx="3">
                  <c:v>0.32</c:v>
                </c:pt>
                <c:pt idx="4">
                  <c:v>0.2929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F414-41C3-9293-2E5B33EB6C12}"/>
            </c:ext>
          </c:extLst>
        </c:ser>
        <c:ser>
          <c:idx val="3"/>
          <c:order val="1"/>
          <c:tx>
            <c:strRef>
              <c:f>Sheet1!$C$1</c:f>
              <c:strCache>
                <c:ptCount val="1"/>
                <c:pt idx="0">
                  <c:v>Teens (easy)</c:v>
                </c:pt>
              </c:strCache>
            </c:strRef>
          </c:tx>
          <c:spPr>
            <a:ln w="28575" cap="rnd">
              <a:solidFill>
                <a:srgbClr val="595959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414-41C3-9293-2E5B33EB6C12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414-41C3-9293-2E5B33EB6C12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414-41C3-9293-2E5B33EB6C12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414-41C3-9293-2E5B33EB6C12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414-41C3-9293-2E5B33EB6C12}"/>
                </c:ext>
              </c:extLst>
            </c:dLbl>
            <c:dLbl>
              <c:idx val="5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414-41C3-9293-2E5B33EB6C1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C$2:$C$6</c:f>
              <c:numCache>
                <c:formatCode>0%</c:formatCode>
                <c:ptCount val="5"/>
                <c:pt idx="0">
                  <c:v>0.36</c:v>
                </c:pt>
                <c:pt idx="1">
                  <c:v>0.39</c:v>
                </c:pt>
                <c:pt idx="2">
                  <c:v>0.43</c:v>
                </c:pt>
                <c:pt idx="3">
                  <c:v>0.42</c:v>
                </c:pt>
                <c:pt idx="4">
                  <c:v>0.4089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F414-41C3-9293-2E5B33EB6C12}"/>
            </c:ext>
          </c:extLst>
        </c:ser>
        <c:ser>
          <c:idx val="0"/>
          <c:order val="2"/>
          <c:tx>
            <c:strRef>
              <c:f>Sheet1!$D$1</c:f>
              <c:strCache>
                <c:ptCount val="1"/>
                <c:pt idx="0">
                  <c:v>Adults (easy)</c:v>
                </c:pt>
              </c:strCache>
            </c:strRef>
          </c:tx>
          <c:spPr>
            <a:ln w="28575" cap="rnd">
              <a:solidFill>
                <a:srgbClr val="51E5FF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rgbClr val="51E5FF"/>
                </a:solidFill>
              </a:ln>
              <a:effectLst/>
            </c:spPr>
          </c:marker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F414-41C3-9293-2E5B33EB6C12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F414-41C3-9293-2E5B33EB6C12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F414-41C3-9293-2E5B33EB6C1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D$2:$D$6</c:f>
              <c:numCache>
                <c:formatCode>0%</c:formatCode>
                <c:ptCount val="5"/>
                <c:pt idx="0">
                  <c:v>0.19</c:v>
                </c:pt>
                <c:pt idx="1">
                  <c:v>0.23</c:v>
                </c:pt>
                <c:pt idx="2">
                  <c:v>0.21</c:v>
                </c:pt>
                <c:pt idx="3">
                  <c:v>0.22</c:v>
                </c:pt>
                <c:pt idx="4">
                  <c:v>0.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5-F414-41C3-9293-2E5B33EB6C12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59714655"/>
        <c:axId val="359715487"/>
        <c:extLst/>
      </c:lineChart>
      <c:catAx>
        <c:axId val="3597146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0.5"/>
          <c:min val="0.1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78D4">
        <a:alpha val="10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baseline="0">
                <a:solidFill>
                  <a:srgbClr val="595959"/>
                </a:solidFill>
              </a:rPr>
              <a:t>Respondents who said the overall state of online civility was bad grew 5-pts. YoY</a:t>
            </a:r>
          </a:p>
          <a:p>
            <a:pPr algn="l">
              <a:defRPr sz="1600">
                <a:solidFill>
                  <a:srgbClr val="595959"/>
                </a:solidFill>
              </a:defRPr>
            </a:pPr>
            <a:r>
              <a:rPr lang="en-US" sz="1000" b="0" i="0" u="none" strike="noStrike" baseline="0">
                <a:effectLst/>
              </a:rPr>
              <a:t>Base: total, n=11,067</a:t>
            </a:r>
            <a:endParaRPr lang="en-US" sz="1000">
              <a:solidFill>
                <a:srgbClr val="595959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928792839067159"/>
          <c:y val="0.2151915112087362"/>
          <c:w val="0.8533325415416263"/>
          <c:h val="0.61321919832474514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oo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Sheet1!$B$2:$B$3</c:f>
              <c:numCache>
                <c:formatCode>0%</c:formatCode>
                <c:ptCount val="2"/>
                <c:pt idx="0">
                  <c:v>0.34</c:v>
                </c:pt>
                <c:pt idx="1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2D-4DCD-BECA-1EEBA5AA750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eutr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Sheet1!$C$2:$C$3</c:f>
              <c:numCache>
                <c:formatCode>0%</c:formatCode>
                <c:ptCount val="2"/>
                <c:pt idx="0">
                  <c:v>0.43</c:v>
                </c:pt>
                <c:pt idx="1">
                  <c:v>0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2D-4DCD-BECA-1EEBA5AA750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a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Sheet1!$D$2:$D$3</c:f>
              <c:numCache>
                <c:formatCode>0%</c:formatCode>
                <c:ptCount val="2"/>
                <c:pt idx="0">
                  <c:v>0.24</c:v>
                </c:pt>
                <c:pt idx="1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B2D-4DCD-BECA-1EEBA5AA750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398253327"/>
        <c:axId val="398229615"/>
      </c:barChart>
      <c:catAx>
        <c:axId val="3982533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8229615"/>
        <c:crosses val="autoZero"/>
        <c:auto val="1"/>
        <c:lblAlgn val="ctr"/>
        <c:lblOffset val="100"/>
        <c:noMultiLvlLbl val="0"/>
      </c:catAx>
      <c:valAx>
        <c:axId val="398229615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39825332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0" i="0" u="none" strike="noStrike" baseline="0">
                <a:effectLst/>
              </a:rPr>
              <a:t>All age &amp; gender groups agreed that the state of civility was not as good</a:t>
            </a:r>
            <a:endParaRPr lang="en-US" sz="1600" baseline="0"/>
          </a:p>
          <a:p>
            <a:pPr algn="l">
              <a:defRPr sz="1600"/>
            </a:pPr>
            <a:r>
              <a:rPr lang="en-US" sz="1000" b="0" i="0" baseline="0">
                <a:effectLst/>
              </a:rPr>
              <a:t>(Percent Good, Base: total, n=11,067</a:t>
            </a:r>
            <a:endParaRPr lang="en-US" sz="10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eens</c:v>
                </c:pt>
                <c:pt idx="1">
                  <c:v>Adults</c:v>
                </c:pt>
                <c:pt idx="2">
                  <c:v>Males</c:v>
                </c:pt>
                <c:pt idx="3">
                  <c:v>Females</c:v>
                </c:pt>
                <c:pt idx="4">
                  <c:v>Gen Z                   (13-24)</c:v>
                </c:pt>
                <c:pt idx="5">
                  <c:v>Millennials             (25-39)</c:v>
                </c:pt>
                <c:pt idx="6">
                  <c:v>Gen X                 (40-54)</c:v>
                </c:pt>
                <c:pt idx="7">
                  <c:v>Boomers                (55-74)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36399999999999999</c:v>
                </c:pt>
                <c:pt idx="1">
                  <c:v>0.311</c:v>
                </c:pt>
                <c:pt idx="2">
                  <c:v>0.36</c:v>
                </c:pt>
                <c:pt idx="3">
                  <c:v>0.31</c:v>
                </c:pt>
                <c:pt idx="4">
                  <c:v>0.34717539303864547</c:v>
                </c:pt>
                <c:pt idx="5">
                  <c:v>0.29386493611777276</c:v>
                </c:pt>
                <c:pt idx="6">
                  <c:v>0.32660913129784852</c:v>
                </c:pt>
                <c:pt idx="7">
                  <c:v>0.37439687394597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AD-4DBB-9079-DA2A8B2C8F2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eens</c:v>
                </c:pt>
                <c:pt idx="1">
                  <c:v>Adults</c:v>
                </c:pt>
                <c:pt idx="2">
                  <c:v>Males</c:v>
                </c:pt>
                <c:pt idx="3">
                  <c:v>Females</c:v>
                </c:pt>
                <c:pt idx="4">
                  <c:v>Gen Z                   (13-24)</c:v>
                </c:pt>
                <c:pt idx="5">
                  <c:v>Millennials             (25-39)</c:v>
                </c:pt>
                <c:pt idx="6">
                  <c:v>Gen X                 (40-54)</c:v>
                </c:pt>
                <c:pt idx="7">
                  <c:v>Boomers                (55-74)</c:v>
                </c:pt>
              </c:strCache>
            </c:strRef>
          </c:cat>
          <c:val>
            <c:numRef>
              <c:f>Sheet1!$C$2:$C$9</c:f>
              <c:numCache>
                <c:formatCode>0%</c:formatCode>
                <c:ptCount val="8"/>
                <c:pt idx="0">
                  <c:v>0.33400000000000002</c:v>
                </c:pt>
                <c:pt idx="1">
                  <c:v>0.27300000000000002</c:v>
                </c:pt>
                <c:pt idx="2">
                  <c:v>0.33</c:v>
                </c:pt>
                <c:pt idx="3">
                  <c:v>0.28000000000000003</c:v>
                </c:pt>
                <c:pt idx="4">
                  <c:v>0.31108314445354701</c:v>
                </c:pt>
                <c:pt idx="5">
                  <c:v>0.26530498113537226</c:v>
                </c:pt>
                <c:pt idx="6">
                  <c:v>0.28970482311604528</c:v>
                </c:pt>
                <c:pt idx="7">
                  <c:v>0.341149725246286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6AD-4DBB-9079-DA2A8B2C8F2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1506027215"/>
        <c:axId val="1506010575"/>
      </c:barChart>
      <c:catAx>
        <c:axId val="150602721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06010575"/>
        <c:crosses val="autoZero"/>
        <c:auto val="1"/>
        <c:lblAlgn val="ctr"/>
        <c:lblOffset val="100"/>
        <c:noMultiLvlLbl val="0"/>
      </c:catAx>
      <c:valAx>
        <c:axId val="1506010575"/>
        <c:scaling>
          <c:orientation val="minMax"/>
          <c:max val="0.5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15060272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2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baseline="0">
                <a:solidFill>
                  <a:srgbClr val="595959"/>
                </a:solidFill>
              </a:rPr>
              <a:t>Respondents who said </a:t>
            </a:r>
            <a:r>
              <a:rPr lang="en-US" sz="1600">
                <a:solidFill>
                  <a:srgbClr val="595959"/>
                </a:solidFill>
              </a:rPr>
              <a:t>civility was better during Covid tumbled 9-pts., </a:t>
            </a:r>
            <a:r>
              <a:rPr lang="en-US" sz="1000" b="0" i="0" baseline="0">
                <a:effectLst/>
              </a:rPr>
              <a:t>Base: total, n=11,067</a:t>
            </a:r>
            <a:r>
              <a:rPr lang="en-US" sz="1600">
                <a:solidFill>
                  <a:srgbClr val="595959"/>
                </a:solidFill>
              </a:rPr>
              <a:t>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862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928792839067159"/>
          <c:y val="0.2151915112087362"/>
          <c:w val="0.8533325415416263"/>
          <c:h val="0.61321919832474514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ett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Sheet1!$B$2:$B$3</c:f>
              <c:numCache>
                <c:formatCode>0%</c:formatCode>
                <c:ptCount val="2"/>
                <c:pt idx="0">
                  <c:v>0.26</c:v>
                </c:pt>
                <c:pt idx="1">
                  <c:v>0.17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2D-4DCD-BECA-1EEBA5AA750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nchange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Sheet1!$C$2:$C$3</c:f>
              <c:numCache>
                <c:formatCode>0%</c:formatCode>
                <c:ptCount val="2"/>
                <c:pt idx="0">
                  <c:v>0.52</c:v>
                </c:pt>
                <c:pt idx="1">
                  <c:v>0.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2D-4DCD-BECA-1EEBA5AA750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ors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Sheet1!$D$2:$D$3</c:f>
              <c:numCache>
                <c:formatCode>0%</c:formatCode>
                <c:ptCount val="2"/>
                <c:pt idx="0">
                  <c:v>0.22</c:v>
                </c:pt>
                <c:pt idx="1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B2D-4DCD-BECA-1EEBA5AA750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398253327"/>
        <c:axId val="398229615"/>
      </c:barChart>
      <c:catAx>
        <c:axId val="3982533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8229615"/>
        <c:crosses val="autoZero"/>
        <c:auto val="1"/>
        <c:lblAlgn val="ctr"/>
        <c:lblOffset val="100"/>
        <c:noMultiLvlLbl val="0"/>
      </c:catAx>
      <c:valAx>
        <c:axId val="398229615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39825332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>
                <a:solidFill>
                  <a:srgbClr val="595959"/>
                </a:solidFill>
              </a:rPr>
              <a:t>Positive outcomes dropped significantly</a:t>
            </a:r>
          </a:p>
          <a:p>
            <a:pPr algn="l">
              <a:defRPr sz="1600">
                <a:solidFill>
                  <a:srgbClr val="595959"/>
                </a:solidFill>
              </a:defRPr>
            </a:pPr>
            <a:r>
              <a:rPr lang="en-US" sz="1000">
                <a:solidFill>
                  <a:srgbClr val="595959"/>
                </a:solidFill>
              </a:rPr>
              <a:t>% reasons civility</a:t>
            </a:r>
            <a:r>
              <a:rPr lang="en-US" sz="1000" baseline="0">
                <a:solidFill>
                  <a:srgbClr val="595959"/>
                </a:solidFill>
              </a:rPr>
              <a:t> was better during Covid, Base: civility was better, n=1,893</a:t>
            </a:r>
            <a:endParaRPr lang="en-US" sz="1000">
              <a:solidFill>
                <a:srgbClr val="595959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6026878667423814E-2"/>
          <c:y val="0.19575012127908467"/>
          <c:w val="0.94794624266515237"/>
          <c:h val="0.542894870908757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I see more people helping other people</c:v>
                </c:pt>
                <c:pt idx="1">
                  <c:v>More people are reconnecting with friends and family</c:v>
                </c:pt>
                <c:pt idx="2">
                  <c:v>People have come together more to deal with the crisis</c:v>
                </c:pt>
                <c:pt idx="3">
                  <c:v>A greater sense of community</c:v>
                </c:pt>
                <c:pt idx="4">
                  <c:v>People have been more encouraging to each other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67024451392963003</c:v>
                </c:pt>
                <c:pt idx="1">
                  <c:v>0.57999999999999996</c:v>
                </c:pt>
                <c:pt idx="2">
                  <c:v>0.59238377417909571</c:v>
                </c:pt>
                <c:pt idx="3">
                  <c:v>0.62</c:v>
                </c:pt>
                <c:pt idx="4">
                  <c:v>0.569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22-42A0-AE24-EEBA2B7F73E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I see more people helping other people</c:v>
                </c:pt>
                <c:pt idx="1">
                  <c:v>More people are reconnecting with friends and family</c:v>
                </c:pt>
                <c:pt idx="2">
                  <c:v>People have come together more to deal with the crisis</c:v>
                </c:pt>
                <c:pt idx="3">
                  <c:v>A greater sense of community</c:v>
                </c:pt>
                <c:pt idx="4">
                  <c:v>People have been more encouraging to each other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56372795166671852</c:v>
                </c:pt>
                <c:pt idx="1">
                  <c:v>0.55829956409828774</c:v>
                </c:pt>
                <c:pt idx="2">
                  <c:v>0.52905315804110142</c:v>
                </c:pt>
                <c:pt idx="3">
                  <c:v>0.5010045970474043</c:v>
                </c:pt>
                <c:pt idx="4">
                  <c:v>0.492310819922890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B22-42A0-AE24-EEBA2B7F73E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398290767"/>
        <c:axId val="398294095"/>
      </c:barChart>
      <c:catAx>
        <c:axId val="39829076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8294095"/>
        <c:crosses val="autoZero"/>
        <c:auto val="1"/>
        <c:lblAlgn val="ctr"/>
        <c:lblOffset val="100"/>
        <c:noMultiLvlLbl val="0"/>
      </c:catAx>
      <c:valAx>
        <c:axId val="398294095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982907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>
                <a:solidFill>
                  <a:srgbClr val="595959"/>
                </a:solidFill>
              </a:rPr>
              <a:t>Civility worsened</a:t>
            </a:r>
            <a:r>
              <a:rPr lang="en-US" sz="1600" baseline="0">
                <a:solidFill>
                  <a:srgbClr val="595959"/>
                </a:solidFill>
              </a:rPr>
              <a:t> due to </a:t>
            </a:r>
            <a:r>
              <a:rPr lang="en-US" sz="1600">
                <a:solidFill>
                  <a:srgbClr val="595959"/>
                </a:solidFill>
              </a:rPr>
              <a:t>Covid…</a:t>
            </a:r>
          </a:p>
          <a:p>
            <a:pPr algn="l">
              <a:defRPr sz="1600">
                <a:solidFill>
                  <a:srgbClr val="595959"/>
                </a:solidFill>
              </a:defRPr>
            </a:pPr>
            <a:r>
              <a:rPr lang="en-US" sz="1000">
                <a:solidFill>
                  <a:srgbClr val="595959"/>
                </a:solidFill>
              </a:rPr>
              <a:t>Base: total, n=11,067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928792839067159"/>
          <c:y val="0.2151915112087362"/>
          <c:w val="0.8533325415416263"/>
          <c:h val="0.61321919832474514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ett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Sheet1!$B$2:$B$3</c:f>
              <c:numCache>
                <c:formatCode>0%</c:formatCode>
                <c:ptCount val="2"/>
                <c:pt idx="0">
                  <c:v>0.26</c:v>
                </c:pt>
                <c:pt idx="1">
                  <c:v>0.17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2D-4DCD-BECA-1EEBA5AA750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nchange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Sheet1!$C$2:$C$3</c:f>
              <c:numCache>
                <c:formatCode>0%</c:formatCode>
                <c:ptCount val="2"/>
                <c:pt idx="0">
                  <c:v>0.52</c:v>
                </c:pt>
                <c:pt idx="1">
                  <c:v>0.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2D-4DCD-BECA-1EEBA5AA750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ors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Sheet1!$D$2:$D$3</c:f>
              <c:numCache>
                <c:formatCode>0%</c:formatCode>
                <c:ptCount val="2"/>
                <c:pt idx="0">
                  <c:v>0.22</c:v>
                </c:pt>
                <c:pt idx="1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B2D-4DCD-BECA-1EEBA5AA750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398253327"/>
        <c:axId val="398229615"/>
      </c:barChart>
      <c:catAx>
        <c:axId val="3982533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8229615"/>
        <c:crosses val="autoZero"/>
        <c:auto val="1"/>
        <c:lblAlgn val="ctr"/>
        <c:lblOffset val="100"/>
        <c:noMultiLvlLbl val="0"/>
      </c:catAx>
      <c:valAx>
        <c:axId val="398229615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39825332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>
                <a:solidFill>
                  <a:srgbClr val="595959"/>
                </a:solidFill>
              </a:rPr>
              <a:t>…and Covid fatigue is a likely explanation</a:t>
            </a:r>
          </a:p>
          <a:p>
            <a:pPr algn="l">
              <a:defRPr sz="1600">
                <a:solidFill>
                  <a:srgbClr val="595959"/>
                </a:solidFill>
              </a:defRPr>
            </a:pPr>
            <a:r>
              <a:rPr lang="en-US" sz="1000" b="0" i="0" u="none" strike="noStrike" baseline="0">
                <a:effectLst/>
              </a:rPr>
              <a:t>% reasons civility was worse during Covid, Base: civility was worse, n=3,291</a:t>
            </a:r>
          </a:p>
          <a:p>
            <a:pPr algn="l">
              <a:defRPr sz="1600">
                <a:solidFill>
                  <a:srgbClr val="595959"/>
                </a:solidFill>
              </a:defRPr>
            </a:pPr>
            <a:endParaRPr lang="en-US" sz="1000">
              <a:solidFill>
                <a:srgbClr val="595959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6026878667423814E-2"/>
          <c:y val="0.19575012127908467"/>
          <c:w val="0.94794624266515237"/>
          <c:h val="0.542894870908757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People are taking out their frustrations online</c:v>
                </c:pt>
                <c:pt idx="1">
                  <c:v>Increased spread of false or misleading information</c:v>
                </c:pt>
                <c:pt idx="2">
                  <c:v>People are less tolerant</c:v>
                </c:pt>
                <c:pt idx="3">
                  <c:v>More personal attacks or negative comments</c:v>
                </c:pt>
                <c:pt idx="4">
                  <c:v>I see more people acting selfishly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6</c:v>
                </c:pt>
                <c:pt idx="1">
                  <c:v>0.67</c:v>
                </c:pt>
                <c:pt idx="2">
                  <c:v>0.54</c:v>
                </c:pt>
                <c:pt idx="3">
                  <c:v>0.53</c:v>
                </c:pt>
                <c:pt idx="4">
                  <c:v>0.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22-42A0-AE24-EEBA2B7F73E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People are taking out their frustrations online</c:v>
                </c:pt>
                <c:pt idx="1">
                  <c:v>Increased spread of false or misleading information</c:v>
                </c:pt>
                <c:pt idx="2">
                  <c:v>People are less tolerant</c:v>
                </c:pt>
                <c:pt idx="3">
                  <c:v>More personal attacks or negative comments</c:v>
                </c:pt>
                <c:pt idx="4">
                  <c:v>I see more people acting selfishly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67</c:v>
                </c:pt>
                <c:pt idx="1">
                  <c:v>0.6</c:v>
                </c:pt>
                <c:pt idx="2">
                  <c:v>0.59</c:v>
                </c:pt>
                <c:pt idx="3">
                  <c:v>0.54</c:v>
                </c:pt>
                <c:pt idx="4">
                  <c:v>0.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B22-42A0-AE24-EEBA2B7F73E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398290767"/>
        <c:axId val="398294095"/>
      </c:barChart>
      <c:catAx>
        <c:axId val="39829076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8294095"/>
        <c:crosses val="autoZero"/>
        <c:auto val="1"/>
        <c:lblAlgn val="ctr"/>
        <c:lblOffset val="100"/>
        <c:noMultiLvlLbl val="0"/>
      </c:catAx>
      <c:valAx>
        <c:axId val="398294095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982907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re civil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1E-4BEF-BB0E-0BD9624E783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C1E-4BEF-BB0E-0BD9624E783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C1E-4BEF-BB0E-0BD9624E783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Personal video</c:v>
                </c:pt>
                <c:pt idx="1">
                  <c:v>Messaging</c:v>
                </c:pt>
                <c:pt idx="2">
                  <c:v>Online dating</c:v>
                </c:pt>
                <c:pt idx="3">
                  <c:v>Online gaming</c:v>
                </c:pt>
                <c:pt idx="4">
                  <c:v>Discussion groups</c:v>
                </c:pt>
                <c:pt idx="5">
                  <c:v>Social media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42</c:v>
                </c:pt>
                <c:pt idx="1">
                  <c:v>0.35</c:v>
                </c:pt>
                <c:pt idx="2">
                  <c:v>0.35</c:v>
                </c:pt>
                <c:pt idx="3">
                  <c:v>0.27</c:v>
                </c:pt>
                <c:pt idx="4">
                  <c:v>0.32</c:v>
                </c:pt>
                <c:pt idx="5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C1E-4BEF-BB0E-0BD9624E783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ess civil</c:v>
                </c:pt>
              </c:strCache>
            </c:strRef>
          </c:tx>
          <c:spPr>
            <a:solidFill>
              <a:schemeClr val="accent2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Personal video</c:v>
                </c:pt>
                <c:pt idx="1">
                  <c:v>Messaging</c:v>
                </c:pt>
                <c:pt idx="2">
                  <c:v>Online dating</c:v>
                </c:pt>
                <c:pt idx="3">
                  <c:v>Online gaming</c:v>
                </c:pt>
                <c:pt idx="4">
                  <c:v>Discussion groups</c:v>
                </c:pt>
                <c:pt idx="5">
                  <c:v>Social media</c:v>
                </c:pt>
              </c:strCache>
            </c:strRef>
          </c:cat>
          <c:val>
            <c:numRef>
              <c:f>Sheet1!$C$2:$C$7</c:f>
              <c:numCache>
                <c:formatCode>0%</c:formatCode>
                <c:ptCount val="6"/>
                <c:pt idx="0">
                  <c:v>0.17</c:v>
                </c:pt>
                <c:pt idx="1">
                  <c:v>0.24</c:v>
                </c:pt>
                <c:pt idx="2">
                  <c:v>0.31</c:v>
                </c:pt>
                <c:pt idx="3">
                  <c:v>0.3</c:v>
                </c:pt>
                <c:pt idx="4">
                  <c:v>0.42</c:v>
                </c:pt>
                <c:pt idx="5">
                  <c:v>0.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62-4169-B078-8845497928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531214767"/>
        <c:axId val="531213103"/>
      </c:barChart>
      <c:catAx>
        <c:axId val="53121476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1213103"/>
        <c:crosses val="autoZero"/>
        <c:auto val="1"/>
        <c:lblAlgn val="ctr"/>
        <c:lblOffset val="100"/>
        <c:noMultiLvlLbl val="0"/>
      </c:catAx>
      <c:valAx>
        <c:axId val="531213103"/>
        <c:scaling>
          <c:orientation val="minMax"/>
          <c:max val="0.65000000000000013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5312147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887116373936419E-2"/>
          <c:y val="2.0358769644947986E-2"/>
          <c:w val="0.87133957561344855"/>
          <c:h val="0.8192264021978739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orse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7.1844538442341399E-2"/>
                  <c:y val="-2.8133978152566314E-2"/>
                </c:manualLayout>
              </c:layout>
              <c:tx>
                <c:rich>
                  <a:bodyPr/>
                  <a:lstStyle/>
                  <a:p>
                    <a:fld id="{C31E74B0-3D1D-45E1-9E8E-29B930A9455E}" type="CELLRANGE">
                      <a:rPr lang="en-US"/>
                      <a:pPr/>
                      <a:t>[CELLRANGE]</a:t>
                    </a:fld>
                    <a:endParaRPr lang="en-N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790F-454A-949B-1D3BE02238BB}"/>
                </c:ext>
              </c:extLst>
            </c:dLbl>
            <c:dLbl>
              <c:idx val="1"/>
              <c:layout>
                <c:manualLayout>
                  <c:x val="-2.1591030786681032E-3"/>
                  <c:y val="-1.2788171887530142E-2"/>
                </c:manualLayout>
              </c:layout>
              <c:tx>
                <c:rich>
                  <a:bodyPr/>
                  <a:lstStyle/>
                  <a:p>
                    <a:fld id="{4859C628-1B11-4231-8DC2-AB6E37AD543B}" type="CELLRANGE">
                      <a:rPr lang="en-US" dirty="0"/>
                      <a:pPr/>
                      <a:t>[CELLRANGE]</a:t>
                    </a:fld>
                    <a:endParaRPr lang="en-N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790F-454A-949B-1D3BE02238BB}"/>
                </c:ext>
              </c:extLst>
            </c:dLbl>
            <c:dLbl>
              <c:idx val="2"/>
              <c:layout>
                <c:manualLayout>
                  <c:x val="2.8752886913524755E-4"/>
                  <c:y val="-2.301870939755427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0B9EB68-1633-418D-91A0-7FF1C212126B}" type="CELLRANGE">
                      <a:rPr lang="en-US" dirty="0"/>
                      <a:pPr>
                        <a:defRPr b="1"/>
                      </a:pPr>
                      <a:t>[CELLRANGE]</a:t>
                    </a:fld>
                    <a:endParaRPr lang="en-N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790F-454A-949B-1D3BE02238BB}"/>
                </c:ext>
              </c:extLst>
            </c:dLbl>
            <c:dLbl>
              <c:idx val="3"/>
              <c:layout>
                <c:manualLayout>
                  <c:x val="-6.8186239322770278E-2"/>
                  <c:y val="-1.5345806265036219E-2"/>
                </c:manualLayout>
              </c:layout>
              <c:tx>
                <c:rich>
                  <a:bodyPr/>
                  <a:lstStyle/>
                  <a:p>
                    <a:fld id="{C87A86B4-65E2-437D-8450-D4C429B6ACC5}" type="CELLRANGE">
                      <a:rPr lang="en-US"/>
                      <a:pPr/>
                      <a:t>[CELLRANGE]</a:t>
                    </a:fld>
                    <a:endParaRPr lang="en-N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790F-454A-949B-1D3BE02238BB}"/>
                </c:ext>
              </c:extLst>
            </c:dLbl>
            <c:dLbl>
              <c:idx val="4"/>
              <c:layout>
                <c:manualLayout>
                  <c:x val="-7.3449772138884017E-3"/>
                  <c:y val="-2.0461075020048229E-2"/>
                </c:manualLayout>
              </c:layout>
              <c:tx>
                <c:rich>
                  <a:bodyPr/>
                  <a:lstStyle/>
                  <a:p>
                    <a:fld id="{1E230A21-CBE7-41EA-8F2A-CBAADFAC18D8}" type="CELLRANGE">
                      <a:rPr lang="en-US" b="0" dirty="0"/>
                      <a:pPr/>
                      <a:t>[CELLRANGE]</a:t>
                    </a:fld>
                    <a:endParaRPr lang="en-N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790F-454A-949B-1D3BE02238BB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F682D4A-C03D-44B0-B65A-7637319919CE}" type="CELLRANGE">
                      <a:rPr lang="en-NZ"/>
                      <a:pPr>
                        <a:defRPr b="1"/>
                      </a:pPr>
                      <a:t>[CELLRANGE]</a:t>
                    </a:fld>
                    <a:endParaRPr lang="en-N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790F-454A-949B-1D3BE02238BB}"/>
                </c:ext>
              </c:extLst>
            </c:dLbl>
            <c:dLbl>
              <c:idx val="6"/>
              <c:layout>
                <c:manualLayout>
                  <c:x val="-6.3196429388077402E-2"/>
                  <c:y val="-5.1152687550120573E-3"/>
                </c:manualLayout>
              </c:layout>
              <c:tx>
                <c:rich>
                  <a:bodyPr/>
                  <a:lstStyle/>
                  <a:p>
                    <a:fld id="{202D810C-EA11-481C-B447-96C0EAAE45E0}" type="CELLRANGE">
                      <a:rPr lang="en-US" dirty="0"/>
                      <a:pPr/>
                      <a:t>[CELLRANGE]</a:t>
                    </a:fld>
                    <a:endParaRPr lang="en-N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790F-454A-949B-1D3BE02238BB}"/>
                </c:ext>
              </c:extLst>
            </c:dLbl>
            <c:dLbl>
              <c:idx val="7"/>
              <c:layout>
                <c:manualLayout>
                  <c:x val="-8.041115381912449E-2"/>
                  <c:y val="-2.813397815256631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74A5F49-DBCD-405C-BC51-D93551B1AFDD}" type="CELLRANGE">
                      <a:rPr lang="en-US" b="1" dirty="0"/>
                      <a:pPr>
                        <a:defRPr b="1"/>
                      </a:pPr>
                      <a:t>[CELLRANGE]</a:t>
                    </a:fld>
                    <a:endParaRPr lang="en-N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790F-454A-949B-1D3BE02238BB}"/>
                </c:ext>
              </c:extLst>
            </c:dLbl>
            <c:dLbl>
              <c:idx val="8"/>
              <c:layout>
                <c:manualLayout>
                  <c:x val="-2.3490312846557856E-3"/>
                  <c:y val="-2.301870939755430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F8548BE-A0DD-41E8-ACE1-E0A4D0A05AB3}" type="CELLRANGE">
                      <a:rPr lang="en-US" dirty="0"/>
                      <a:pPr>
                        <a:defRPr b="1"/>
                      </a:pPr>
                      <a:t>[CELLRANGE]</a:t>
                    </a:fld>
                    <a:endParaRPr lang="en-N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790F-454A-949B-1D3BE02238BB}"/>
                </c:ext>
              </c:extLst>
            </c:dLbl>
            <c:dLbl>
              <c:idx val="9"/>
              <c:layout>
                <c:manualLayout>
                  <c:x val="-4.5426493326100143E-3"/>
                  <c:y val="2.557634377506024E-2"/>
                </c:manualLayout>
              </c:layout>
              <c:tx>
                <c:rich>
                  <a:bodyPr/>
                  <a:lstStyle/>
                  <a:p>
                    <a:fld id="{5644943C-5DE3-467B-A49E-75133166ABDB}" type="CELLRANGE">
                      <a:rPr lang="en-US" dirty="0"/>
                      <a:pPr/>
                      <a:t>[CELLRANGE]</a:t>
                    </a:fld>
                    <a:endParaRPr lang="en-N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790F-454A-949B-1D3BE02238BB}"/>
                </c:ext>
              </c:extLst>
            </c:dLbl>
            <c:dLbl>
              <c:idx val="10"/>
              <c:layout>
                <c:manualLayout>
                  <c:x val="-5.1301612222977869E-2"/>
                  <c:y val="-3.5806881285084399E-2"/>
                </c:manualLayout>
              </c:layout>
              <c:tx>
                <c:rich>
                  <a:bodyPr/>
                  <a:lstStyle/>
                  <a:p>
                    <a:fld id="{C245103C-0B67-4FFE-B91A-F907B37BF645}" type="CELLRANGE">
                      <a:rPr lang="en-US" dirty="0"/>
                      <a:pPr/>
                      <a:t>[CELLRANGE]</a:t>
                    </a:fld>
                    <a:endParaRPr lang="en-N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790F-454A-949B-1D3BE02238BB}"/>
                </c:ext>
              </c:extLst>
            </c:dLbl>
            <c:dLbl>
              <c:idx val="11"/>
              <c:layout>
                <c:manualLayout>
                  <c:x val="-6.3688747074976647E-3"/>
                  <c:y val="-2.813397815256631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2CBF4BD-4401-41A7-BFB2-598517CE13EC}" type="CELLRANGE">
                      <a:rPr lang="en-US" b="1" dirty="0"/>
                      <a:pPr>
                        <a:defRPr b="1"/>
                      </a:pPr>
                      <a:t>[CELLRANGE]</a:t>
                    </a:fld>
                    <a:endParaRPr lang="en-N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790F-454A-949B-1D3BE02238BB}"/>
                </c:ext>
              </c:extLst>
            </c:dLbl>
            <c:dLbl>
              <c:idx val="12"/>
              <c:layout>
                <c:manualLayout>
                  <c:x val="-4.1345002333116047E-2"/>
                  <c:y val="3.069161253007234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0CBA7CCA-2D3A-44FD-AF45-FA4487715788}" type="CELLRANGE">
                      <a:rPr lang="en-US" b="1" dirty="0"/>
                      <a:pPr>
                        <a:defRPr b="1"/>
                      </a:pPr>
                      <a:t>[CELLRANGE]</a:t>
                    </a:fld>
                    <a:endParaRPr lang="en-N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790F-454A-949B-1D3BE02238BB}"/>
                </c:ext>
              </c:extLst>
            </c:dLbl>
            <c:dLbl>
              <c:idx val="13"/>
              <c:layout>
                <c:manualLayout>
                  <c:x val="-9.970636389879943E-2"/>
                  <c:y val="-5.1152687550120573E-3"/>
                </c:manualLayout>
              </c:layout>
              <c:tx>
                <c:rich>
                  <a:bodyPr/>
                  <a:lstStyle/>
                  <a:p>
                    <a:fld id="{6B382F55-300F-4860-BAE4-71E0FBCCBB46}" type="CELLRANGE">
                      <a:rPr lang="en-US"/>
                      <a:pPr/>
                      <a:t>[CELLRANGE]</a:t>
                    </a:fld>
                    <a:endParaRPr lang="en-N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790F-454A-949B-1D3BE02238BB}"/>
                </c:ext>
              </c:extLst>
            </c:dLbl>
            <c:dLbl>
              <c:idx val="14"/>
              <c:layout>
                <c:manualLayout>
                  <c:x val="3.125042844102499E-3"/>
                  <c:y val="-2.301870939755425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A89A082-FA65-425C-9CC8-2798D5DDEFED}" type="CELLRANGE">
                      <a:rPr lang="en-US" dirty="0"/>
                      <a:pPr>
                        <a:defRPr b="1"/>
                      </a:pPr>
                      <a:t>[CELLRANGE]</a:t>
                    </a:fld>
                    <a:endParaRPr lang="en-N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790F-454A-949B-1D3BE02238BB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fld id="{433F2867-EF7D-4A27-BE45-075050BD8983}" type="CELLRANGE">
                      <a:rPr lang="en-NZ"/>
                      <a:pPr/>
                      <a:t>[CELLRANGE]</a:t>
                    </a:fld>
                    <a:endParaRPr lang="en-N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790F-454A-949B-1D3BE02238BB}"/>
                </c:ext>
              </c:extLst>
            </c:dLbl>
            <c:dLbl>
              <c:idx val="16"/>
              <c:layout>
                <c:manualLayout>
                  <c:x val="-6.5156016769289615E-2"/>
                  <c:y val="-2.046107502004825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DDF2B12-3E65-452B-B875-486F8319DB2D}" type="CELLRANGE">
                      <a:rPr lang="en-US"/>
                      <a:pPr>
                        <a:defRPr b="1"/>
                      </a:pPr>
                      <a:t>[CELLRANGE]</a:t>
                    </a:fld>
                    <a:endParaRPr lang="en-N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790F-454A-949B-1D3BE02238BB}"/>
                </c:ext>
              </c:extLst>
            </c:dLbl>
            <c:dLbl>
              <c:idx val="17"/>
              <c:layout>
                <c:manualLayout>
                  <c:x val="-6.0386910888197719E-2"/>
                  <c:y val="-7.6729031325180859E-3"/>
                </c:manualLayout>
              </c:layout>
              <c:tx>
                <c:rich>
                  <a:bodyPr/>
                  <a:lstStyle/>
                  <a:p>
                    <a:fld id="{737A6D61-687E-424E-9F16-735FFB1B5227}" type="CELLRANGE">
                      <a:rPr lang="en-US" b="0" dirty="0"/>
                      <a:pPr/>
                      <a:t>[CELLRANGE]</a:t>
                    </a:fld>
                    <a:endParaRPr lang="en-N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790F-454A-949B-1D3BE02238BB}"/>
                </c:ext>
              </c:extLst>
            </c:dLbl>
            <c:dLbl>
              <c:idx val="18"/>
              <c:layout>
                <c:manualLayout>
                  <c:x val="-6.0880570823901589E-3"/>
                  <c:y val="-2.3018709397554259E-2"/>
                </c:manualLayout>
              </c:layout>
              <c:tx>
                <c:rich>
                  <a:bodyPr/>
                  <a:lstStyle/>
                  <a:p>
                    <a:fld id="{6DB62EA0-1552-4ADF-8185-4EBADEBA1256}" type="CELLRANGE">
                      <a:rPr lang="en-US"/>
                      <a:pPr/>
                      <a:t>[CELLRANGE]</a:t>
                    </a:fld>
                    <a:endParaRPr lang="en-N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790F-454A-949B-1D3BE02238BB}"/>
                </c:ext>
              </c:extLst>
            </c:dLbl>
            <c:dLbl>
              <c:idx val="19"/>
              <c:layout>
                <c:manualLayout>
                  <c:x val="-3.2677143046427375E-2"/>
                  <c:y val="-4.3479784417602529E-2"/>
                </c:manualLayout>
              </c:layout>
              <c:tx>
                <c:rich>
                  <a:bodyPr/>
                  <a:lstStyle/>
                  <a:p>
                    <a:fld id="{FFF31DEE-30E5-4815-81CC-697375564250}" type="CELLRANGE">
                      <a:rPr lang="en-US" dirty="0"/>
                      <a:pPr/>
                      <a:t>[CELLRANGE]</a:t>
                    </a:fld>
                    <a:endParaRPr lang="en-N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790F-454A-949B-1D3BE02238BB}"/>
                </c:ext>
              </c:extLst>
            </c:dLbl>
            <c:dLbl>
              <c:idx val="20"/>
              <c:layout>
                <c:manualLayout>
                  <c:x val="-4.0616448856437573E-2"/>
                  <c:y val="-2.5576343775060286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5216DD-9067-45F5-82A4-58DF60CC7FDE}" type="CELLRANGE">
                      <a:rPr lang="en-US"/>
                      <a:pPr>
                        <a:defRPr b="1"/>
                      </a:pPr>
                      <a:t>[CELLRANGE]</a:t>
                    </a:fld>
                    <a:endParaRPr lang="en-N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790F-454A-949B-1D3BE02238BB}"/>
                </c:ext>
              </c:extLst>
            </c:dLbl>
            <c:dLbl>
              <c:idx val="21"/>
              <c:layout>
                <c:manualLayout>
                  <c:x val="-3.1445150392746792E-2"/>
                  <c:y val="3.580688128508439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C4D24A5-CD0D-4E32-95E0-B805C94987F7}" type="CELLRANGE">
                      <a:rPr lang="en-US" b="1" dirty="0"/>
                      <a:pPr>
                        <a:defRPr b="1"/>
                      </a:pPr>
                      <a:t>[CELLRANGE]</a:t>
                    </a:fld>
                    <a:endParaRPr lang="en-N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790F-454A-949B-1D3BE02238BB}"/>
                </c:ext>
              </c:extLst>
            </c:dLbl>
            <c:dLbl>
              <c:idx val="23"/>
              <c:layout>
                <c:manualLayout>
                  <c:x val="1.0937499999999999E-2"/>
                  <c:y val="-2.8133978152566266E-2"/>
                </c:manualLayout>
              </c:layout>
              <c:tx>
                <c:rich>
                  <a:bodyPr/>
                  <a:lstStyle/>
                  <a:p>
                    <a:fld id="{1A630ECB-BE65-4CD4-B19C-FBFC97B0613A}" type="CELLRANGE">
                      <a:rPr lang="en-US" dirty="0"/>
                      <a:pPr/>
                      <a:t>[CELLRANGE]</a:t>
                    </a:fld>
                    <a:endParaRPr lang="en-N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790F-454A-949B-1D3BE02238BB}"/>
                </c:ext>
              </c:extLst>
            </c:dLbl>
            <c:dLbl>
              <c:idx val="24"/>
              <c:layout>
                <c:manualLayout>
                  <c:x val="-6.2500000000001148E-3"/>
                  <c:y val="2.557634377506028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F10A7B-3732-4803-B429-E611C3B991B3}" type="CELLRANGE">
                      <a:rPr lang="en-US" dirty="0"/>
                      <a:pPr>
                        <a:defRPr b="1"/>
                      </a:pPr>
                      <a:t>[CELLRANGE]</a:t>
                    </a:fld>
                    <a:endParaRPr lang="en-N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790F-454A-949B-1D3BE02238BB}"/>
                </c:ext>
              </c:extLst>
            </c:dLbl>
            <c:dLbl>
              <c:idx val="25"/>
              <c:layout>
                <c:manualLayout>
                  <c:x val="1.990049973982732E-2"/>
                  <c:y val="-2.813397815256631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581A959-010B-4834-8CC5-EBD9E9336748}" type="CELLRANGE">
                      <a:rPr lang="en-US" dirty="0"/>
                      <a:pPr>
                        <a:defRPr b="1"/>
                      </a:pPr>
                      <a:t>[CELLRANGE]</a:t>
                    </a:fld>
                    <a:endParaRPr lang="en-N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790F-454A-949B-1D3BE02238BB}"/>
                </c:ext>
              </c:extLst>
            </c:dLbl>
            <c:dLbl>
              <c:idx val="26"/>
              <c:layout>
                <c:manualLayout>
                  <c:x val="-5.729100483608997E-17"/>
                  <c:y val="-2.5576343775060333E-2"/>
                </c:manualLayout>
              </c:layout>
              <c:tx>
                <c:rich>
                  <a:bodyPr/>
                  <a:lstStyle/>
                  <a:p>
                    <a:fld id="{07925458-C814-4548-86A1-BCF7AFDEF610}" type="CELLRANGE">
                      <a:rPr lang="en-US" dirty="0"/>
                      <a:pPr/>
                      <a:t>[CELLRANGE]</a:t>
                    </a:fld>
                    <a:endParaRPr lang="en-N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790F-454A-949B-1D3BE02238BB}"/>
                </c:ext>
              </c:extLst>
            </c:dLbl>
            <c:dLbl>
              <c:idx val="2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790F-454A-949B-1D3BE02238BB}"/>
                </c:ext>
              </c:extLst>
            </c:dLbl>
            <c:dLbl>
              <c:idx val="30"/>
              <c:layout>
                <c:manualLayout>
                  <c:x val="0"/>
                  <c:y val="-3.069161253007234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184B0DE-F59C-44F6-B95C-E8668F92C1A6}" type="CELLRANGE">
                      <a:rPr lang="en-US" dirty="0"/>
                      <a:pPr>
                        <a:defRPr b="1"/>
                      </a:pPr>
                      <a:t>[CELLRANGE]</a:t>
                    </a:fld>
                    <a:endParaRPr lang="en-N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E-790F-454A-949B-1D3BE02238B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1!$A$2:$A$23</c:f>
              <c:numCache>
                <c:formatCode>0%</c:formatCode>
                <c:ptCount val="22"/>
                <c:pt idx="0">
                  <c:v>0.19071359374879354</c:v>
                </c:pt>
                <c:pt idx="1">
                  <c:v>0.1291434075091365</c:v>
                </c:pt>
                <c:pt idx="2">
                  <c:v>0.2555261175208014</c:v>
                </c:pt>
                <c:pt idx="3">
                  <c:v>7.3647458854414635E-2</c:v>
                </c:pt>
                <c:pt idx="4">
                  <c:v>0.2034573331249506</c:v>
                </c:pt>
                <c:pt idx="5">
                  <c:v>0.34961492082675039</c:v>
                </c:pt>
                <c:pt idx="6">
                  <c:v>0.11401288644935459</c:v>
                </c:pt>
                <c:pt idx="7">
                  <c:v>7.6788075235479369E-2</c:v>
                </c:pt>
                <c:pt idx="8">
                  <c:v>0.12359090899749235</c:v>
                </c:pt>
                <c:pt idx="9">
                  <c:v>0.34192555226820576</c:v>
                </c:pt>
                <c:pt idx="10">
                  <c:v>0.14552323204332615</c:v>
                </c:pt>
                <c:pt idx="11">
                  <c:v>0.11354186746476494</c:v>
                </c:pt>
                <c:pt idx="12">
                  <c:v>0.29556502889865305</c:v>
                </c:pt>
                <c:pt idx="13">
                  <c:v>0.10497419127076241</c:v>
                </c:pt>
                <c:pt idx="14">
                  <c:v>0.30035670942439008</c:v>
                </c:pt>
                <c:pt idx="15">
                  <c:v>0.18996936029754685</c:v>
                </c:pt>
                <c:pt idx="16">
                  <c:v>8.3839185178232772E-2</c:v>
                </c:pt>
                <c:pt idx="17">
                  <c:v>0.11858283865168567</c:v>
                </c:pt>
                <c:pt idx="18">
                  <c:v>0.16197683325920537</c:v>
                </c:pt>
                <c:pt idx="19">
                  <c:v>0.12823750446293339</c:v>
                </c:pt>
                <c:pt idx="20">
                  <c:v>0.12057744689279515</c:v>
                </c:pt>
                <c:pt idx="21">
                  <c:v>0.14441747583961878</c:v>
                </c:pt>
              </c:numCache>
            </c:numRef>
          </c:xVal>
          <c:yVal>
            <c:numRef>
              <c:f>Sheet1!$B$2:$B$23</c:f>
              <c:numCache>
                <c:formatCode>0%</c:formatCode>
                <c:ptCount val="22"/>
                <c:pt idx="0">
                  <c:v>0.29528510289394305</c:v>
                </c:pt>
                <c:pt idx="1">
                  <c:v>0.17697446125967337</c:v>
                </c:pt>
                <c:pt idx="2">
                  <c:v>0.41805446180736744</c:v>
                </c:pt>
                <c:pt idx="3">
                  <c:v>0.26396644794403668</c:v>
                </c:pt>
                <c:pt idx="4">
                  <c:v>0.30490066472148736</c:v>
                </c:pt>
                <c:pt idx="5">
                  <c:v>0.21965278760249662</c:v>
                </c:pt>
                <c:pt idx="6">
                  <c:v>0.20214602483430569</c:v>
                </c:pt>
                <c:pt idx="7">
                  <c:v>0.35405867571469452</c:v>
                </c:pt>
                <c:pt idx="8">
                  <c:v>0.36460389632989831</c:v>
                </c:pt>
                <c:pt idx="9">
                  <c:v>0.33654138842453629</c:v>
                </c:pt>
                <c:pt idx="10">
                  <c:v>0.27772751945578472</c:v>
                </c:pt>
                <c:pt idx="11">
                  <c:v>0.40376063602102996</c:v>
                </c:pt>
                <c:pt idx="12">
                  <c:v>0.27732112736981623</c:v>
                </c:pt>
                <c:pt idx="13">
                  <c:v>0.31755079713920265</c:v>
                </c:pt>
                <c:pt idx="14">
                  <c:v>0.28299275718524036</c:v>
                </c:pt>
                <c:pt idx="15">
                  <c:v>0.50311076036771496</c:v>
                </c:pt>
                <c:pt idx="16">
                  <c:v>0.41082467887059537</c:v>
                </c:pt>
                <c:pt idx="17">
                  <c:v>0.23052371511574454</c:v>
                </c:pt>
                <c:pt idx="18">
                  <c:v>0.25074573503121594</c:v>
                </c:pt>
                <c:pt idx="19">
                  <c:v>0.23209795785791187</c:v>
                </c:pt>
                <c:pt idx="20">
                  <c:v>0.18125507922428835</c:v>
                </c:pt>
                <c:pt idx="21">
                  <c:v>0.2392761148768924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1!$C$2:$C$33</c15:f>
                <c15:dlblRangeCache>
                  <c:ptCount val="32"/>
                  <c:pt idx="0">
                    <c:v>Argentina</c:v>
                  </c:pt>
                  <c:pt idx="1">
                    <c:v>Australia</c:v>
                  </c:pt>
                  <c:pt idx="2">
                    <c:v>Brazil</c:v>
                  </c:pt>
                  <c:pt idx="3">
                    <c:v>Canada</c:v>
                  </c:pt>
                  <c:pt idx="4">
                    <c:v>Chile</c:v>
                  </c:pt>
                  <c:pt idx="5">
                    <c:v>Colombia</c:v>
                  </c:pt>
                  <c:pt idx="6">
                    <c:v>France</c:v>
                  </c:pt>
                  <c:pt idx="7">
                    <c:v>Germany</c:v>
                  </c:pt>
                  <c:pt idx="8">
                    <c:v>Hungary</c:v>
                  </c:pt>
                  <c:pt idx="9">
                    <c:v>India</c:v>
                  </c:pt>
                  <c:pt idx="10">
                    <c:v>Ireland</c:v>
                  </c:pt>
                  <c:pt idx="11">
                    <c:v>Italy</c:v>
                  </c:pt>
                  <c:pt idx="12">
                    <c:v>Mexico</c:v>
                  </c:pt>
                  <c:pt idx="13">
                    <c:v>Netherlands</c:v>
                  </c:pt>
                  <c:pt idx="14">
                    <c:v>Peru</c:v>
                  </c:pt>
                  <c:pt idx="15">
                    <c:v>Philippines</c:v>
                  </c:pt>
                  <c:pt idx="16">
                    <c:v>Poland</c:v>
                  </c:pt>
                  <c:pt idx="17">
                    <c:v>Russia</c:v>
                  </c:pt>
                  <c:pt idx="18">
                    <c:v>Singapore</c:v>
                  </c:pt>
                  <c:pt idx="19">
                    <c:v>Sweden</c:v>
                  </c:pt>
                  <c:pt idx="20">
                    <c:v>UK</c:v>
                  </c:pt>
                  <c:pt idx="21">
                    <c:v>US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20-790F-454A-949B-1D3BE02238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59975760"/>
        <c:axId val="564041424"/>
      </c:scatterChart>
      <c:valAx>
        <c:axId val="559975760"/>
        <c:scaling>
          <c:orientation val="minMax"/>
          <c:max val="0.60000000000000009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  <a:alpha val="70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ivility was </a:t>
                </a:r>
                <a:r>
                  <a:rPr lang="en-US" b="1"/>
                  <a:t>better </a:t>
                </a:r>
                <a:r>
                  <a:rPr lang="en-US"/>
                  <a:t>during Covi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4041424"/>
        <c:crosses val="autoZero"/>
        <c:crossBetween val="midCat"/>
        <c:majorUnit val="0.15000000000000002"/>
      </c:valAx>
      <c:valAx>
        <c:axId val="564041424"/>
        <c:scaling>
          <c:orientation val="minMax"/>
          <c:max val="0.60000000000000009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  <a:alpha val="7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ivility was </a:t>
                </a:r>
                <a:r>
                  <a:rPr lang="en-US" b="1"/>
                  <a:t>worse</a:t>
                </a:r>
                <a:r>
                  <a:rPr lang="en-US"/>
                  <a:t> during Covi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9975760"/>
        <c:crosses val="autoZero"/>
        <c:crossBetween val="midCat"/>
        <c:majorUnit val="0.15000000000000002"/>
      </c:valAx>
      <c:spPr>
        <a:solidFill>
          <a:srgbClr val="0078D4">
            <a:alpha val="10000"/>
          </a:srgbClr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ett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PAC</c:v>
                </c:pt>
                <c:pt idx="1">
                  <c:v>LATAM</c:v>
                </c:pt>
                <c:pt idx="2">
                  <c:v>WE</c:v>
                </c:pt>
                <c:pt idx="3">
                  <c:v>CEE</c:v>
                </c:pt>
                <c:pt idx="4">
                  <c:v>NA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20599999999999999</c:v>
                </c:pt>
                <c:pt idx="1">
                  <c:v>0.26600000000000001</c:v>
                </c:pt>
                <c:pt idx="2">
                  <c:v>0.115</c:v>
                </c:pt>
                <c:pt idx="3">
                  <c:v>0.109</c:v>
                </c:pt>
                <c:pt idx="4">
                  <c:v>0.109032467347016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09-4BC2-80AC-FA5746A4321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nchange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PAC</c:v>
                </c:pt>
                <c:pt idx="1">
                  <c:v>LATAM</c:v>
                </c:pt>
                <c:pt idx="2">
                  <c:v>WE</c:v>
                </c:pt>
                <c:pt idx="3">
                  <c:v>CEE</c:v>
                </c:pt>
                <c:pt idx="4">
                  <c:v>NA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47699999999999998</c:v>
                </c:pt>
                <c:pt idx="1">
                  <c:v>0.434</c:v>
                </c:pt>
                <c:pt idx="2">
                  <c:v>0.60399999999999998</c:v>
                </c:pt>
                <c:pt idx="3">
                  <c:v>0.55600000000000005</c:v>
                </c:pt>
                <c:pt idx="4">
                  <c:v>0.639346251242518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09-4BC2-80AC-FA5746A4321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ors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PAC</c:v>
                </c:pt>
                <c:pt idx="1">
                  <c:v>LATAM</c:v>
                </c:pt>
                <c:pt idx="2">
                  <c:v>WE</c:v>
                </c:pt>
                <c:pt idx="3">
                  <c:v>CEE</c:v>
                </c:pt>
                <c:pt idx="4">
                  <c:v>NA</c:v>
                </c:pt>
              </c:strCache>
            </c:strRef>
          </c:cat>
          <c:val>
            <c:numRef>
              <c:f>Sheet1!$D$2:$D$6</c:f>
              <c:numCache>
                <c:formatCode>0%</c:formatCode>
                <c:ptCount val="5"/>
                <c:pt idx="0">
                  <c:v>0.317</c:v>
                </c:pt>
                <c:pt idx="1">
                  <c:v>0.3</c:v>
                </c:pt>
                <c:pt idx="2">
                  <c:v>0.28100000000000003</c:v>
                </c:pt>
                <c:pt idx="3">
                  <c:v>0.33500000000000002</c:v>
                </c:pt>
                <c:pt idx="4">
                  <c:v>0.251621281410464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A09-4BC2-80AC-FA5746A4321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531210607"/>
        <c:axId val="531214351"/>
      </c:barChart>
      <c:catAx>
        <c:axId val="5312106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1214351"/>
        <c:crosses val="autoZero"/>
        <c:auto val="1"/>
        <c:lblAlgn val="ctr"/>
        <c:lblOffset val="100"/>
        <c:noMultiLvlLbl val="0"/>
      </c:catAx>
      <c:valAx>
        <c:axId val="531214351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5312106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>
                <a:solidFill>
                  <a:srgbClr val="595959"/>
                </a:solidFill>
              </a:rPr>
              <a:t>DCI trend</a:t>
            </a:r>
            <a:r>
              <a:rPr lang="en-US" sz="1600" baseline="0">
                <a:solidFill>
                  <a:srgbClr val="595959"/>
                </a:solidFill>
              </a:rPr>
              <a:t> by gender</a:t>
            </a:r>
          </a:p>
          <a:p>
            <a:pPr algn="l">
              <a:defRPr sz="1600">
                <a:solidFill>
                  <a:srgbClr val="595959"/>
                </a:solidFill>
              </a:defRPr>
            </a:pPr>
            <a:r>
              <a:rPr lang="en-US" sz="1000" b="0" i="0" u="none" strike="noStrike" baseline="0">
                <a:effectLst/>
              </a:rPr>
              <a:t>Base: total, n=11,067</a:t>
            </a:r>
            <a:endParaRPr lang="en-US" sz="1000">
              <a:solidFill>
                <a:srgbClr val="595959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2"/>
          <c:order val="0"/>
          <c:tx>
            <c:strRef>
              <c:f>Sheet1!$D$1</c:f>
              <c:strCache>
                <c:ptCount val="1"/>
                <c:pt idx="0">
                  <c:v>Male</c:v>
                </c:pt>
              </c:strCache>
            </c:strRef>
          </c:tx>
          <c:spPr>
            <a:ln w="76200" cap="rnd">
              <a:solidFill>
                <a:srgbClr val="0078D4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:$A$7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5:$D$7</c:f>
              <c:numCache>
                <c:formatCode>0%</c:formatCode>
                <c:ptCount val="3"/>
                <c:pt idx="0">
                  <c:v>0.69099999999999995</c:v>
                </c:pt>
                <c:pt idx="1">
                  <c:v>0.67400000000000004</c:v>
                </c:pt>
                <c:pt idx="2">
                  <c:v>0.6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04A-496B-A197-08CF307C7A66}"/>
            </c:ext>
          </c:extLst>
        </c:ser>
        <c:ser>
          <c:idx val="3"/>
          <c:order val="1"/>
          <c:tx>
            <c:strRef>
              <c:f>Sheet1!$E$1</c:f>
              <c:strCache>
                <c:ptCount val="1"/>
                <c:pt idx="0">
                  <c:v>Female</c:v>
                </c:pt>
              </c:strCache>
            </c:strRef>
          </c:tx>
          <c:spPr>
            <a:ln w="76200" cap="rnd">
              <a:solidFill>
                <a:srgbClr val="50E6FF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:$A$7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5:$E$7</c:f>
              <c:numCache>
                <c:formatCode>0%</c:formatCode>
                <c:ptCount val="3"/>
                <c:pt idx="0">
                  <c:v>0.68300000000000005</c:v>
                </c:pt>
                <c:pt idx="1">
                  <c:v>0.67</c:v>
                </c:pt>
                <c:pt idx="2">
                  <c:v>0.664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04A-496B-A197-08CF307C7A66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59714655"/>
        <c:axId val="359715487"/>
        <c:extLst>
          <c:ext xmlns:c15="http://schemas.microsoft.com/office/drawing/2012/chart" uri="{02D57815-91ED-43cb-92C2-25804820EDAC}">
            <c15:filteredLineSeries>
              <c15:ser>
                <c:idx val="0"/>
                <c:order val="2"/>
                <c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Adults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/>
                    </a:solidFill>
                    <a:ln w="9525">
                      <a:solidFill>
                        <a:schemeClr val="accent1"/>
                      </a:solidFill>
                    </a:ln>
                    <a:effectLst/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t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Sheet1!$A$5:$A$7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19</c:v>
                      </c:pt>
                      <c:pt idx="1">
                        <c:v>2020</c:v>
                      </c:pt>
                      <c:pt idx="2">
                        <c:v>202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1!$B$5:$B$7</c15:sqref>
                        </c15:formulaRef>
                      </c:ext>
                    </c:extLst>
                    <c:numCache>
                      <c:formatCode>0%</c:formatCode>
                      <c:ptCount val="3"/>
                      <c:pt idx="0">
                        <c:v>0.72</c:v>
                      </c:pt>
                      <c:pt idx="1">
                        <c:v>0.71</c:v>
                      </c:pt>
                      <c:pt idx="2">
                        <c:v>0.68500000000000005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7-A04A-496B-A197-08CF307C7A66}"/>
                  </c:ext>
                </c:extLst>
              </c15:ser>
            </c15:filteredLineSeries>
            <c15:filteredLineSeries>
              <c15:ser>
                <c:idx val="1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Teens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/>
                    </a:solidFill>
                    <a:ln w="9525">
                      <a:solidFill>
                        <a:schemeClr val="accent2"/>
                      </a:solidFill>
                    </a:ln>
                    <a:effectLst/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t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5:$A$7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19</c:v>
                      </c:pt>
                      <c:pt idx="1">
                        <c:v>2020</c:v>
                      </c:pt>
                      <c:pt idx="2">
                        <c:v>202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5:$C$7</c15:sqref>
                        </c15:formulaRef>
                      </c:ext>
                    </c:extLst>
                    <c:numCache>
                      <c:formatCode>0%</c:formatCode>
                      <c:ptCount val="3"/>
                      <c:pt idx="0">
                        <c:v>0.66</c:v>
                      </c:pt>
                      <c:pt idx="1">
                        <c:v>0.63</c:v>
                      </c:pt>
                      <c:pt idx="2">
                        <c:v>0.6079999999999999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A04A-496B-A197-08CF307C7A66}"/>
                  </c:ext>
                </c:extLst>
              </c15:ser>
            </c15:filteredLineSeries>
          </c:ext>
        </c:extLst>
      </c:lineChart>
      <c:catAx>
        <c:axId val="3597146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0.73000000000000009"/>
          <c:min val="0.59000000000000008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/>
              <a:t>% Strongly agree or somewhat agree</a:t>
            </a:r>
          </a:p>
          <a:p>
            <a:pPr algn="l">
              <a:defRPr sz="1600"/>
            </a:pPr>
            <a:r>
              <a:rPr lang="en-US" sz="1000" b="0" i="0" u="none" strike="noStrike" baseline="0">
                <a:effectLst/>
              </a:rPr>
              <a:t>Base: total, n=11,067</a:t>
            </a:r>
            <a:endParaRPr lang="en-US" sz="10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eens</c:v>
                </c:pt>
                <c:pt idx="1">
                  <c:v>Adults</c:v>
                </c:pt>
                <c:pt idx="2">
                  <c:v>Male </c:v>
                </c:pt>
                <c:pt idx="3">
                  <c:v>Female</c:v>
                </c:pt>
                <c:pt idx="4">
                  <c:v>Gen Z                         (13-24)</c:v>
                </c:pt>
                <c:pt idx="5">
                  <c:v>Millennials        (25-39)</c:v>
                </c:pt>
                <c:pt idx="6">
                  <c:v>Gen X                    (40-54)</c:v>
                </c:pt>
                <c:pt idx="7">
                  <c:v>Boomers           (55-74)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88400000000000001</c:v>
                </c:pt>
                <c:pt idx="1">
                  <c:v>0.88300000000000001</c:v>
                </c:pt>
                <c:pt idx="2">
                  <c:v>0.871</c:v>
                </c:pt>
                <c:pt idx="3">
                  <c:v>0.89700000000000002</c:v>
                </c:pt>
                <c:pt idx="4">
                  <c:v>0.88</c:v>
                </c:pt>
                <c:pt idx="5">
                  <c:v>0.89</c:v>
                </c:pt>
                <c:pt idx="6">
                  <c:v>0.86</c:v>
                </c:pt>
                <c:pt idx="7">
                  <c:v>0.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0A-43DA-A9DB-2659081D9C1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358738127"/>
        <c:axId val="358742703"/>
      </c:barChart>
      <c:catAx>
        <c:axId val="3587381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8742703"/>
        <c:crosses val="autoZero"/>
        <c:auto val="1"/>
        <c:lblAlgn val="ctr"/>
        <c:lblOffset val="100"/>
        <c:noMultiLvlLbl val="0"/>
      </c:catAx>
      <c:valAx>
        <c:axId val="358742703"/>
        <c:scaling>
          <c:orientation val="minMax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3587381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0" i="0" baseline="0">
                <a:effectLst/>
              </a:rPr>
              <a:t>% Strongly agree or somewhat agree</a:t>
            </a:r>
          </a:p>
          <a:p>
            <a:pPr algn="l">
              <a:defRPr sz="1600"/>
            </a:pPr>
            <a:r>
              <a:rPr lang="en-US" sz="1000" b="0" i="0" u="none" strike="noStrike" baseline="0">
                <a:effectLst/>
              </a:rPr>
              <a:t>Base: total, n=11,067</a:t>
            </a:r>
            <a:endParaRPr lang="en-US" sz="100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eens</c:v>
                </c:pt>
                <c:pt idx="1">
                  <c:v>Adults</c:v>
                </c:pt>
                <c:pt idx="2">
                  <c:v>Male</c:v>
                </c:pt>
                <c:pt idx="3">
                  <c:v>Female</c:v>
                </c:pt>
                <c:pt idx="4">
                  <c:v>Gen Z                         (13-24)</c:v>
                </c:pt>
                <c:pt idx="5">
                  <c:v>Millennials        (25-39)</c:v>
                </c:pt>
                <c:pt idx="6">
                  <c:v>Gen X                    (40-54)</c:v>
                </c:pt>
                <c:pt idx="7">
                  <c:v>Boomers           (55-74)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77400000000000002</c:v>
                </c:pt>
                <c:pt idx="1">
                  <c:v>0.73199999999999998</c:v>
                </c:pt>
                <c:pt idx="2">
                  <c:v>0.73599999999999999</c:v>
                </c:pt>
                <c:pt idx="3">
                  <c:v>0.77</c:v>
                </c:pt>
                <c:pt idx="4">
                  <c:v>0.76100000000000001</c:v>
                </c:pt>
                <c:pt idx="5">
                  <c:v>0.73099999999999998</c:v>
                </c:pt>
                <c:pt idx="6">
                  <c:v>0.73399999999999999</c:v>
                </c:pt>
                <c:pt idx="7">
                  <c:v>0.76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EE-4801-B1F5-8FD215CF24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401291007"/>
        <c:axId val="401276863"/>
      </c:barChart>
      <c:catAx>
        <c:axId val="40129100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1276863"/>
        <c:crosses val="autoZero"/>
        <c:auto val="1"/>
        <c:lblAlgn val="ctr"/>
        <c:lblOffset val="100"/>
        <c:noMultiLvlLbl val="0"/>
      </c:catAx>
      <c:valAx>
        <c:axId val="401276863"/>
        <c:scaling>
          <c:orientation val="minMax"/>
          <c:max val="1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4012910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0" i="0" baseline="0">
                <a:effectLst/>
              </a:rPr>
              <a:t>% Strongly agree or somewhat agree</a:t>
            </a:r>
          </a:p>
          <a:p>
            <a:pPr algn="l">
              <a:defRPr sz="1600"/>
            </a:pPr>
            <a:r>
              <a:rPr lang="en-US" sz="1000" b="0" i="0" u="none" strike="noStrike" baseline="0">
                <a:effectLst/>
              </a:rPr>
              <a:t>Base: total, n=11,067</a:t>
            </a:r>
            <a:endParaRPr lang="en-US" sz="100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eens</c:v>
                </c:pt>
                <c:pt idx="1">
                  <c:v>Adults</c:v>
                </c:pt>
                <c:pt idx="2">
                  <c:v>Male</c:v>
                </c:pt>
                <c:pt idx="3">
                  <c:v>Female</c:v>
                </c:pt>
                <c:pt idx="4">
                  <c:v>Gen Z                         (13-24)</c:v>
                </c:pt>
                <c:pt idx="5">
                  <c:v>Millennials        (25-39)</c:v>
                </c:pt>
                <c:pt idx="6">
                  <c:v>Gen X                    (40-54)</c:v>
                </c:pt>
                <c:pt idx="7">
                  <c:v>Boomers           (55-74)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77</c:v>
                </c:pt>
                <c:pt idx="1">
                  <c:v>0.73</c:v>
                </c:pt>
                <c:pt idx="2">
                  <c:v>0.73</c:v>
                </c:pt>
                <c:pt idx="3">
                  <c:v>0.77</c:v>
                </c:pt>
                <c:pt idx="4">
                  <c:v>0.76</c:v>
                </c:pt>
                <c:pt idx="5">
                  <c:v>0.76</c:v>
                </c:pt>
                <c:pt idx="6">
                  <c:v>0.72</c:v>
                </c:pt>
                <c:pt idx="7">
                  <c:v>0.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EE-4801-B1F5-8FD215CF24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401291007"/>
        <c:axId val="401276863"/>
      </c:barChart>
      <c:catAx>
        <c:axId val="40129100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1276863"/>
        <c:crosses val="autoZero"/>
        <c:auto val="1"/>
        <c:lblAlgn val="ctr"/>
        <c:lblOffset val="100"/>
        <c:noMultiLvlLbl val="0"/>
      </c:catAx>
      <c:valAx>
        <c:axId val="401276863"/>
        <c:scaling>
          <c:orientation val="minMax"/>
          <c:max val="1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4012910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0" i="0" baseline="0">
                <a:effectLst/>
              </a:rPr>
              <a:t>% Strongly agree or somewhat agree</a:t>
            </a:r>
          </a:p>
          <a:p>
            <a:pPr algn="l">
              <a:defRPr sz="1600"/>
            </a:pPr>
            <a:r>
              <a:rPr lang="en-US" sz="1000" b="0" i="0" u="none" strike="noStrike" baseline="0">
                <a:effectLst/>
              </a:rPr>
              <a:t>Base: total, n=11,067</a:t>
            </a:r>
            <a:endParaRPr lang="en-US" sz="100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eens</c:v>
                </c:pt>
                <c:pt idx="1">
                  <c:v>Adults</c:v>
                </c:pt>
                <c:pt idx="2">
                  <c:v>Male</c:v>
                </c:pt>
                <c:pt idx="3">
                  <c:v>Female</c:v>
                </c:pt>
                <c:pt idx="4">
                  <c:v>Gen Z                         (13-24)</c:v>
                </c:pt>
                <c:pt idx="5">
                  <c:v>Millennials        (25-39)</c:v>
                </c:pt>
                <c:pt idx="6">
                  <c:v>Gen X                    (40-54)</c:v>
                </c:pt>
                <c:pt idx="7">
                  <c:v>Boomers           (55-74)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74399999999999999</c:v>
                </c:pt>
                <c:pt idx="1">
                  <c:v>0.69499999999999995</c:v>
                </c:pt>
                <c:pt idx="2">
                  <c:v>0.69799999999999995</c:v>
                </c:pt>
                <c:pt idx="3">
                  <c:v>0.74099999999999999</c:v>
                </c:pt>
                <c:pt idx="4">
                  <c:v>0.72299999999999998</c:v>
                </c:pt>
                <c:pt idx="5">
                  <c:v>0.65600000000000003</c:v>
                </c:pt>
                <c:pt idx="6">
                  <c:v>0.72099999999999997</c:v>
                </c:pt>
                <c:pt idx="7">
                  <c:v>0.795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EE-4801-B1F5-8FD215CF24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401291007"/>
        <c:axId val="401276863"/>
      </c:barChart>
      <c:catAx>
        <c:axId val="40129100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1276863"/>
        <c:crosses val="autoZero"/>
        <c:auto val="1"/>
        <c:lblAlgn val="ctr"/>
        <c:lblOffset val="100"/>
        <c:noMultiLvlLbl val="0"/>
      </c:catAx>
      <c:valAx>
        <c:axId val="401276863"/>
        <c:scaling>
          <c:orientation val="minMax"/>
          <c:max val="1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4012910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0" i="0" baseline="0">
                <a:effectLst/>
              </a:rPr>
              <a:t>% Strongly agree or somewhat agree</a:t>
            </a:r>
          </a:p>
          <a:p>
            <a:pPr algn="l">
              <a:defRPr sz="1600"/>
            </a:pPr>
            <a:r>
              <a:rPr lang="en-US" sz="1000" b="0" i="0" u="none" strike="noStrike" baseline="0">
                <a:effectLst/>
              </a:rPr>
              <a:t>Base: total, n=11,067</a:t>
            </a:r>
            <a:endParaRPr lang="en-US" sz="100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eens</c:v>
                </c:pt>
                <c:pt idx="1">
                  <c:v>Adults</c:v>
                </c:pt>
                <c:pt idx="2">
                  <c:v>Male</c:v>
                </c:pt>
                <c:pt idx="3">
                  <c:v>Female</c:v>
                </c:pt>
                <c:pt idx="4">
                  <c:v>Gen Z                         (13-24)</c:v>
                </c:pt>
                <c:pt idx="5">
                  <c:v>Millennials        (25-39)</c:v>
                </c:pt>
                <c:pt idx="6">
                  <c:v>Gen X                    (40-54)</c:v>
                </c:pt>
                <c:pt idx="7">
                  <c:v>Boomers           (55-74)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45900000000000002</c:v>
                </c:pt>
                <c:pt idx="1">
                  <c:v>0.48199999999999998</c:v>
                </c:pt>
                <c:pt idx="2">
                  <c:v>0.48199999999999998</c:v>
                </c:pt>
                <c:pt idx="3">
                  <c:v>0.45900000000000002</c:v>
                </c:pt>
                <c:pt idx="4">
                  <c:v>0.48648885657417268</c:v>
                </c:pt>
                <c:pt idx="5">
                  <c:v>0.5361567218758202</c:v>
                </c:pt>
                <c:pt idx="6">
                  <c:v>0.42472761644166968</c:v>
                </c:pt>
                <c:pt idx="7">
                  <c:v>0.35147233148418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EE-4801-B1F5-8FD215CF24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401291007"/>
        <c:axId val="401276863"/>
      </c:barChart>
      <c:catAx>
        <c:axId val="40129100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1276863"/>
        <c:crosses val="autoZero"/>
        <c:auto val="1"/>
        <c:lblAlgn val="ctr"/>
        <c:lblOffset val="100"/>
        <c:noMultiLvlLbl val="0"/>
      </c:catAx>
      <c:valAx>
        <c:axId val="401276863"/>
        <c:scaling>
          <c:orientation val="minMax"/>
          <c:max val="1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4012910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0" i="0" baseline="0">
                <a:effectLst/>
              </a:rPr>
              <a:t>% Strongly agree or somewhat agree</a:t>
            </a:r>
          </a:p>
          <a:p>
            <a:pPr algn="l">
              <a:defRPr sz="1600"/>
            </a:pPr>
            <a:r>
              <a:rPr lang="en-US" sz="1000" b="0" i="0" u="none" strike="noStrike" baseline="0">
                <a:effectLst/>
              </a:rPr>
              <a:t>Base: total, n=11,067</a:t>
            </a:r>
            <a:endParaRPr lang="en-US" sz="100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eens</c:v>
                </c:pt>
                <c:pt idx="1">
                  <c:v>Adults</c:v>
                </c:pt>
                <c:pt idx="2">
                  <c:v>Male</c:v>
                </c:pt>
                <c:pt idx="3">
                  <c:v>Female</c:v>
                </c:pt>
                <c:pt idx="4">
                  <c:v>Gen Z                         (13-24)</c:v>
                </c:pt>
                <c:pt idx="5">
                  <c:v>Millennials        (25-39)</c:v>
                </c:pt>
                <c:pt idx="6">
                  <c:v>Gen X                    (40-54)</c:v>
                </c:pt>
                <c:pt idx="7">
                  <c:v>Boomers           (55-74)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376</c:v>
                </c:pt>
                <c:pt idx="1">
                  <c:v>0.38600000000000001</c:v>
                </c:pt>
                <c:pt idx="2">
                  <c:v>0.374</c:v>
                </c:pt>
                <c:pt idx="3">
                  <c:v>0.38800000000000001</c:v>
                </c:pt>
                <c:pt idx="4">
                  <c:v>0.39</c:v>
                </c:pt>
                <c:pt idx="5">
                  <c:v>0.47099999999999997</c:v>
                </c:pt>
                <c:pt idx="6">
                  <c:v>0.34399999999999997</c:v>
                </c:pt>
                <c:pt idx="7">
                  <c:v>0.2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45-4D10-8A87-FB07D8B414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401291007"/>
        <c:axId val="401276863"/>
      </c:barChart>
      <c:catAx>
        <c:axId val="40129100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1276863"/>
        <c:crosses val="autoZero"/>
        <c:auto val="1"/>
        <c:lblAlgn val="ctr"/>
        <c:lblOffset val="100"/>
        <c:noMultiLvlLbl val="0"/>
      </c:catAx>
      <c:valAx>
        <c:axId val="401276863"/>
        <c:scaling>
          <c:orientation val="minMax"/>
          <c:max val="1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4012910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0" i="0" baseline="0">
                <a:effectLst/>
              </a:rPr>
              <a:t>% Strongly agree or somewhat agree</a:t>
            </a:r>
          </a:p>
          <a:p>
            <a:pPr algn="l">
              <a:defRPr sz="1600"/>
            </a:pPr>
            <a:r>
              <a:rPr lang="en-US" sz="1000" b="0" i="0" u="none" strike="noStrike" baseline="0">
                <a:effectLst/>
              </a:rPr>
              <a:t>Base: total, n=11,067</a:t>
            </a:r>
            <a:endParaRPr lang="en-US" sz="100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eens</c:v>
                </c:pt>
                <c:pt idx="1">
                  <c:v>Adults</c:v>
                </c:pt>
                <c:pt idx="2">
                  <c:v>Male</c:v>
                </c:pt>
                <c:pt idx="3">
                  <c:v>Female</c:v>
                </c:pt>
                <c:pt idx="4">
                  <c:v>Gen Z                         (13-24)</c:v>
                </c:pt>
                <c:pt idx="5">
                  <c:v>Millennials        (25-39)</c:v>
                </c:pt>
                <c:pt idx="6">
                  <c:v>Gen X                    (40-54)</c:v>
                </c:pt>
                <c:pt idx="7">
                  <c:v>Boomers           (55-74)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23200000000000001</c:v>
                </c:pt>
                <c:pt idx="1">
                  <c:v>0.193</c:v>
                </c:pt>
                <c:pt idx="2">
                  <c:v>0.23400000000000001</c:v>
                </c:pt>
                <c:pt idx="3">
                  <c:v>0.192</c:v>
                </c:pt>
                <c:pt idx="4">
                  <c:v>0.23400000000000001</c:v>
                </c:pt>
                <c:pt idx="5">
                  <c:v>0.21199999999999999</c:v>
                </c:pt>
                <c:pt idx="6">
                  <c:v>0.17799999999999999</c:v>
                </c:pt>
                <c:pt idx="7">
                  <c:v>0.142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EE-4801-B1F5-8FD215CF24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401291007"/>
        <c:axId val="401276863"/>
      </c:barChart>
      <c:catAx>
        <c:axId val="40129100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1276863"/>
        <c:crosses val="autoZero"/>
        <c:auto val="1"/>
        <c:lblAlgn val="ctr"/>
        <c:lblOffset val="100"/>
        <c:noMultiLvlLbl val="0"/>
      </c:catAx>
      <c:valAx>
        <c:axId val="401276863"/>
        <c:scaling>
          <c:orientation val="minMax"/>
          <c:max val="1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4012910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0" i="0" baseline="0">
                <a:effectLst/>
              </a:rPr>
              <a:t>% Strongly agree or somewhat agree</a:t>
            </a:r>
          </a:p>
          <a:p>
            <a:pPr algn="l">
              <a:defRPr sz="1600"/>
            </a:pPr>
            <a:r>
              <a:rPr lang="en-US" sz="1000" b="0" i="0" u="none" strike="noStrike" baseline="0">
                <a:effectLst/>
              </a:rPr>
              <a:t>Base: total, n=11,067</a:t>
            </a:r>
            <a:endParaRPr lang="en-US" sz="100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eens</c:v>
                </c:pt>
                <c:pt idx="1">
                  <c:v>Adults</c:v>
                </c:pt>
                <c:pt idx="2">
                  <c:v>Male</c:v>
                </c:pt>
                <c:pt idx="3">
                  <c:v>Female</c:v>
                </c:pt>
                <c:pt idx="4">
                  <c:v>Gen Z                         (13-24)</c:v>
                </c:pt>
                <c:pt idx="5">
                  <c:v>Millennials        (25-39)</c:v>
                </c:pt>
                <c:pt idx="6">
                  <c:v>Gen X                    (40-54)</c:v>
                </c:pt>
                <c:pt idx="7">
                  <c:v>Boomers           (55-74)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13100000000000001</c:v>
                </c:pt>
                <c:pt idx="1">
                  <c:v>9.7000000000000003E-2</c:v>
                </c:pt>
                <c:pt idx="2">
                  <c:v>0.13700000000000001</c:v>
                </c:pt>
                <c:pt idx="3">
                  <c:v>9.1999999999999998E-2</c:v>
                </c:pt>
                <c:pt idx="4">
                  <c:v>0.13</c:v>
                </c:pt>
                <c:pt idx="5">
                  <c:v>0.11899999999999999</c:v>
                </c:pt>
                <c:pt idx="6">
                  <c:v>0.08</c:v>
                </c:pt>
                <c:pt idx="7">
                  <c:v>6.6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45-4D10-8A87-FB07D8B414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401291007"/>
        <c:axId val="401276863"/>
      </c:barChart>
      <c:catAx>
        <c:axId val="40129100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1276863"/>
        <c:crosses val="autoZero"/>
        <c:auto val="1"/>
        <c:lblAlgn val="ctr"/>
        <c:lblOffset val="100"/>
        <c:noMultiLvlLbl val="0"/>
      </c:catAx>
      <c:valAx>
        <c:axId val="401276863"/>
        <c:scaling>
          <c:orientation val="minMax"/>
          <c:max val="1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4012910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aseline="0"/>
              <a:t>Kindness increased the most, up 6-pts</a:t>
            </a:r>
          </a:p>
          <a:p>
            <a:pPr algn="l">
              <a:defRPr/>
            </a:pPr>
            <a:r>
              <a:rPr lang="en-US" sz="1000"/>
              <a:t>Base: total, n=11,067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9911035396554984E-2"/>
          <c:y val="0.12048156222293005"/>
          <c:w val="0.68791387767329759"/>
          <c:h val="0.78895296113517266"/>
        </c:manualLayout>
      </c:layout>
      <c:lineChart>
        <c:grouping val="standard"/>
        <c:varyColors val="0"/>
        <c:ser>
          <c:idx val="1"/>
          <c:order val="0"/>
          <c:tx>
            <c:strRef>
              <c:f>Sheet1!$E$1</c:f>
              <c:strCache>
                <c:ptCount val="1"/>
                <c:pt idx="0">
                  <c:v>Kindness</c:v>
                </c:pt>
              </c:strCache>
            </c:strRef>
          </c:tx>
          <c:spPr>
            <a:ln w="762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212-4AC2-ABD2-DFCB51E573B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2:$E$4</c:f>
              <c:numCache>
                <c:formatCode>0%</c:formatCode>
                <c:ptCount val="3"/>
                <c:pt idx="0">
                  <c:v>0.26</c:v>
                </c:pt>
                <c:pt idx="1">
                  <c:v>0.28999999999999998</c:v>
                </c:pt>
                <c:pt idx="2">
                  <c:v>0.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212-4AC2-ABD2-DFCB51E573BE}"/>
            </c:ext>
          </c:extLst>
        </c:ser>
        <c:ser>
          <c:idx val="2"/>
          <c:order val="1"/>
          <c:tx>
            <c:strRef>
              <c:f>Sheet1!$F$1</c:f>
              <c:strCache>
                <c:ptCount val="1"/>
                <c:pt idx="0">
                  <c:v>Empathy</c:v>
                </c:pt>
              </c:strCache>
            </c:strRef>
          </c:tx>
          <c:spPr>
            <a:ln w="762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212-4AC2-ABD2-DFCB51E573B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2:$F$4</c:f>
              <c:numCache>
                <c:formatCode>0%</c:formatCode>
                <c:ptCount val="3"/>
                <c:pt idx="0">
                  <c:v>0.21</c:v>
                </c:pt>
                <c:pt idx="1">
                  <c:v>0.25</c:v>
                </c:pt>
                <c:pt idx="2">
                  <c:v>0.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212-4AC2-ABD2-DFCB51E573BE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678645167"/>
        <c:axId val="678624783"/>
      </c:lineChart>
      <c:catAx>
        <c:axId val="67864516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8624783"/>
        <c:crosses val="autoZero"/>
        <c:auto val="1"/>
        <c:lblAlgn val="ctr"/>
        <c:lblOffset val="100"/>
        <c:noMultiLvlLbl val="0"/>
      </c:catAx>
      <c:valAx>
        <c:axId val="678624783"/>
        <c:scaling>
          <c:orientation val="minMax"/>
          <c:max val="0.75000000000000011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6786451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/>
              <a:t>Freedom</a:t>
            </a:r>
            <a:r>
              <a:rPr lang="en-US" sz="1600" baseline="0"/>
              <a:t> fell the most, down 7-pts.</a:t>
            </a:r>
            <a:endParaRPr lang="en-US" sz="1000" baseline="0"/>
          </a:p>
          <a:p>
            <a:pPr algn="l">
              <a:defRPr sz="1600"/>
            </a:pPr>
            <a:r>
              <a:rPr lang="en-US" sz="1000" baseline="0"/>
              <a:t>Base: total, n=11,067 </a:t>
            </a:r>
            <a:endParaRPr lang="en-US" sz="10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723263297368918"/>
          <c:y val="0.12048156222293005"/>
          <c:w val="0.65365304102745259"/>
          <c:h val="0.78895296113517266"/>
        </c:manualLayout>
      </c:layout>
      <c:line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Respect</c:v>
                </c:pt>
              </c:strCache>
            </c:strRef>
          </c:tx>
          <c:spPr>
            <a:ln w="762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B00-4C24-8BA0-0EEA53ABB9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2:$B$4</c:f>
              <c:numCache>
                <c:formatCode>0%</c:formatCode>
                <c:ptCount val="3"/>
                <c:pt idx="0">
                  <c:v>0.66</c:v>
                </c:pt>
                <c:pt idx="1">
                  <c:v>0.65</c:v>
                </c:pt>
                <c:pt idx="2">
                  <c:v>0.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B00-4C24-8BA0-0EEA53ABB993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Safety</c:v>
                </c:pt>
              </c:strCache>
            </c:strRef>
          </c:tx>
          <c:spPr>
            <a:ln w="762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B00-4C24-8BA0-0EEA53ABB9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2:$C$4</c:f>
              <c:numCache>
                <c:formatCode>0%</c:formatCode>
                <c:ptCount val="3"/>
                <c:pt idx="0">
                  <c:v>0.56999999999999995</c:v>
                </c:pt>
                <c:pt idx="1">
                  <c:v>0.55000000000000004</c:v>
                </c:pt>
                <c:pt idx="2">
                  <c:v>0.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B00-4C24-8BA0-0EEA53ABB993}"/>
            </c:ext>
          </c:extLst>
        </c:ser>
        <c:ser>
          <c:idx val="0"/>
          <c:order val="2"/>
          <c:tx>
            <c:strRef>
              <c:f>Sheet1!$D$1</c:f>
              <c:strCache>
                <c:ptCount val="1"/>
                <c:pt idx="0">
                  <c:v>Civility</c:v>
                </c:pt>
              </c:strCache>
            </c:strRef>
          </c:tx>
          <c:spPr>
            <a:ln w="762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D$2:$D$4</c:f>
              <c:numCache>
                <c:formatCode>0%</c:formatCode>
                <c:ptCount val="3"/>
                <c:pt idx="0">
                  <c:v>0.32</c:v>
                </c:pt>
                <c:pt idx="1">
                  <c:v>0.33</c:v>
                </c:pt>
                <c:pt idx="2">
                  <c:v>0.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BB00-4C24-8BA0-0EEA53ABB99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Freedom</c:v>
                </c:pt>
              </c:strCache>
            </c:strRef>
          </c:tx>
          <c:spPr>
            <a:ln w="7620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BB00-4C24-8BA0-0EEA53ABB9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E$2:$E$4</c:f>
              <c:numCache>
                <c:formatCode>0%</c:formatCode>
                <c:ptCount val="3"/>
                <c:pt idx="0">
                  <c:v>0.33</c:v>
                </c:pt>
                <c:pt idx="1">
                  <c:v>0.28000000000000003</c:v>
                </c:pt>
                <c:pt idx="2">
                  <c:v>0.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BB00-4C24-8BA0-0EEA53ABB993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678645167"/>
        <c:axId val="678624783"/>
      </c:lineChart>
      <c:catAx>
        <c:axId val="67864516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8624783"/>
        <c:crosses val="autoZero"/>
        <c:auto val="1"/>
        <c:lblAlgn val="ctr"/>
        <c:lblOffset val="100"/>
        <c:noMultiLvlLbl val="0"/>
      </c:catAx>
      <c:valAx>
        <c:axId val="678624783"/>
        <c:scaling>
          <c:orientation val="minMax"/>
          <c:max val="0.75000000000000011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6786451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>
                <a:solidFill>
                  <a:srgbClr val="595959"/>
                </a:solidFill>
              </a:rPr>
              <a:t>DCI trend</a:t>
            </a:r>
            <a:r>
              <a:rPr lang="en-US" sz="1600" baseline="0">
                <a:solidFill>
                  <a:srgbClr val="595959"/>
                </a:solidFill>
              </a:rPr>
              <a:t> by adult males vs. teen boys</a:t>
            </a:r>
          </a:p>
          <a:p>
            <a:pPr algn="l">
              <a:defRPr sz="1600">
                <a:solidFill>
                  <a:srgbClr val="595959"/>
                </a:solidFill>
              </a:defRPr>
            </a:pPr>
            <a:r>
              <a:rPr lang="en-US" sz="1000" b="0" i="0" u="none" strike="noStrike" baseline="0">
                <a:effectLst/>
              </a:rPr>
              <a:t>Base: total, n=5,553</a:t>
            </a:r>
            <a:endParaRPr lang="en-US" sz="1000">
              <a:solidFill>
                <a:srgbClr val="595959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Adult Male</c:v>
                </c:pt>
              </c:strCache>
            </c:strRef>
          </c:tx>
          <c:spPr>
            <a:ln w="76200" cap="rnd">
              <a:solidFill>
                <a:srgbClr val="0078D4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5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:$A$7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F$5:$F$7</c:f>
              <c:numCache>
                <c:formatCode>0%</c:formatCode>
                <c:ptCount val="3"/>
                <c:pt idx="0">
                  <c:v>0.72280497937103783</c:v>
                </c:pt>
                <c:pt idx="1">
                  <c:v>0.71715482064684011</c:v>
                </c:pt>
                <c:pt idx="2">
                  <c:v>0.675008282603332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391-4E39-B2EB-9C87C0BDA8B5}"/>
            </c:ext>
          </c:extLst>
        </c:ser>
        <c:ser>
          <c:idx val="5"/>
          <c:order val="5"/>
          <c:tx>
            <c:strRef>
              <c:f>Sheet1!$H$1</c:f>
              <c:strCache>
                <c:ptCount val="1"/>
                <c:pt idx="0">
                  <c:v>Teen boys</c:v>
                </c:pt>
              </c:strCache>
            </c:strRef>
          </c:tx>
          <c:spPr>
            <a:ln w="76200" cap="rnd">
              <a:solidFill>
                <a:srgbClr val="50E6FF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:$A$7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H$5:$H$7</c:f>
              <c:numCache>
                <c:formatCode>0%</c:formatCode>
                <c:ptCount val="3"/>
                <c:pt idx="0">
                  <c:v>0.6581866629034715</c:v>
                </c:pt>
                <c:pt idx="1">
                  <c:v>0.62973620491226634</c:v>
                </c:pt>
                <c:pt idx="2">
                  <c:v>0.581273044489269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3391-4E39-B2EB-9C87C0BDA8B5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59714655"/>
        <c:axId val="359715487"/>
        <c:extLst>
          <c:ext xmlns:c15="http://schemas.microsoft.com/office/drawing/2012/chart" uri="{02D57815-91ED-43cb-92C2-25804820EDAC}">
            <c15:filteredLineSeries>
              <c15:ser>
                <c:idx val="2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Male</c:v>
                      </c:pt>
                    </c:strCache>
                  </c:strRef>
                </c:tx>
                <c:spPr>
                  <a:ln w="76200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circle"/>
                  <c:size val="10"/>
                  <c:spPr>
                    <a:solidFill>
                      <a:schemeClr val="bg1"/>
                    </a:solidFill>
                    <a:ln w="9525">
                      <a:solidFill>
                        <a:schemeClr val="accent3"/>
                      </a:solidFill>
                    </a:ln>
                    <a:effectLst/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t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Sheet1!$A$5:$A$7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19</c:v>
                      </c:pt>
                      <c:pt idx="1">
                        <c:v>2020</c:v>
                      </c:pt>
                      <c:pt idx="2">
                        <c:v>202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1!$D$5:$D$7</c15:sqref>
                        </c15:formulaRef>
                      </c:ext>
                    </c:extLst>
                    <c:numCache>
                      <c:formatCode>0%</c:formatCode>
                      <c:ptCount val="3"/>
                      <c:pt idx="0">
                        <c:v>0.69099999999999995</c:v>
                      </c:pt>
                      <c:pt idx="1">
                        <c:v>0.67400000000000004</c:v>
                      </c:pt>
                      <c:pt idx="2">
                        <c:v>0.628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0-3391-4E39-B2EB-9C87C0BDA8B5}"/>
                  </c:ext>
                </c:extLst>
              </c15:ser>
            </c15:filteredLineSeries>
            <c15:filteredLineSeries>
              <c15:ser>
                <c:idx val="3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  <c:pt idx="0">
                        <c:v>Female</c:v>
                      </c:pt>
                    </c:strCache>
                  </c:strRef>
                </c:tx>
                <c:spPr>
                  <a:ln w="76200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circle"/>
                  <c:size val="10"/>
                  <c:spPr>
                    <a:solidFill>
                      <a:schemeClr val="bg1"/>
                    </a:solidFill>
                    <a:ln w="9525">
                      <a:solidFill>
                        <a:schemeClr val="accent4"/>
                      </a:solidFill>
                    </a:ln>
                    <a:effectLst/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b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5:$A$7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19</c:v>
                      </c:pt>
                      <c:pt idx="1">
                        <c:v>2020</c:v>
                      </c:pt>
                      <c:pt idx="2">
                        <c:v>202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E$5:$E$7</c15:sqref>
                        </c15:formulaRef>
                      </c:ext>
                    </c:extLst>
                    <c:numCache>
                      <c:formatCode>0%</c:formatCode>
                      <c:ptCount val="3"/>
                      <c:pt idx="0">
                        <c:v>0.68300000000000005</c:v>
                      </c:pt>
                      <c:pt idx="1">
                        <c:v>0.67</c:v>
                      </c:pt>
                      <c:pt idx="2">
                        <c:v>0.6640000000000000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1-3391-4E39-B2EB-9C87C0BDA8B5}"/>
                  </c:ext>
                </c:extLst>
              </c15:ser>
            </c15:filteredLineSeries>
            <c15:filteredLineSeries>
              <c15:ser>
                <c:idx val="0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Adults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/>
                    </a:solidFill>
                    <a:ln w="9525">
                      <a:solidFill>
                        <a:schemeClr val="accent1"/>
                      </a:solidFill>
                    </a:ln>
                    <a:effectLst/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t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5:$A$7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19</c:v>
                      </c:pt>
                      <c:pt idx="1">
                        <c:v>2020</c:v>
                      </c:pt>
                      <c:pt idx="2">
                        <c:v>202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B$5:$B$7</c15:sqref>
                        </c15:formulaRef>
                      </c:ext>
                    </c:extLst>
                    <c:numCache>
                      <c:formatCode>0%</c:formatCode>
                      <c:ptCount val="3"/>
                      <c:pt idx="0">
                        <c:v>0.72</c:v>
                      </c:pt>
                      <c:pt idx="1">
                        <c:v>0.71</c:v>
                      </c:pt>
                      <c:pt idx="2">
                        <c:v>0.6850000000000000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3391-4E39-B2EB-9C87C0BDA8B5}"/>
                  </c:ext>
                </c:extLst>
              </c15:ser>
            </c15:filteredLineSeries>
            <c15:filteredLineSeries>
              <c15:ser>
                <c:idx val="1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Teens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/>
                    </a:solidFill>
                    <a:ln w="9525">
                      <a:solidFill>
                        <a:schemeClr val="accent2"/>
                      </a:solidFill>
                    </a:ln>
                    <a:effectLst/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t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5:$A$7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19</c:v>
                      </c:pt>
                      <c:pt idx="1">
                        <c:v>2020</c:v>
                      </c:pt>
                      <c:pt idx="2">
                        <c:v>202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5:$C$7</c15:sqref>
                        </c15:formulaRef>
                      </c:ext>
                    </c:extLst>
                    <c:numCache>
                      <c:formatCode>0%</c:formatCode>
                      <c:ptCount val="3"/>
                      <c:pt idx="0">
                        <c:v>0.66</c:v>
                      </c:pt>
                      <c:pt idx="1">
                        <c:v>0.63</c:v>
                      </c:pt>
                      <c:pt idx="2">
                        <c:v>0.6079999999999999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3391-4E39-B2EB-9C87C0BDA8B5}"/>
                  </c:ext>
                </c:extLst>
              </c15:ser>
            </c15:filteredLineSeries>
          </c:ext>
        </c:extLst>
      </c:lineChart>
      <c:catAx>
        <c:axId val="3597146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in val="0.55000000000000004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u="none">
                <a:solidFill>
                  <a:srgbClr val="595959"/>
                </a:solidFill>
              </a:rPr>
              <a:t>State of civility</a:t>
            </a:r>
            <a:r>
              <a:rPr lang="en-US" sz="1600" u="none" baseline="0">
                <a:solidFill>
                  <a:srgbClr val="595959"/>
                </a:solidFill>
              </a:rPr>
              <a:t> </a:t>
            </a:r>
          </a:p>
          <a:p>
            <a:pPr algn="l">
              <a:defRPr sz="1600">
                <a:solidFill>
                  <a:srgbClr val="595959"/>
                </a:solidFill>
              </a:defRPr>
            </a:pPr>
            <a:r>
              <a:rPr lang="en-US" sz="1000" u="none" baseline="0">
                <a:solidFill>
                  <a:srgbClr val="595959"/>
                </a:solidFill>
              </a:rPr>
              <a:t>(% bad)</a:t>
            </a:r>
            <a:endParaRPr lang="en-US" sz="1000" u="none">
              <a:solidFill>
                <a:srgbClr val="595959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le</c:v>
                </c:pt>
              </c:strCache>
            </c:strRef>
          </c:tx>
          <c:spPr>
            <a:solidFill>
              <a:schemeClr val="accent1"/>
            </a:solidFill>
            <a:ln w="762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Sheet1!$B$7</c:f>
              <c:numCache>
                <c:formatCode>0%</c:formatCode>
                <c:ptCount val="1"/>
                <c:pt idx="0">
                  <c:v>0.26400000000000001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92F5-4AC3-9707-5765A308FF9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emale</c:v>
                </c:pt>
              </c:strCache>
            </c:strRef>
          </c:tx>
          <c:spPr>
            <a:solidFill>
              <a:schemeClr val="accent2"/>
            </a:solidFill>
            <a:ln w="762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Sheet1!$C$7</c:f>
              <c:numCache>
                <c:formatCode>0%</c:formatCode>
                <c:ptCount val="1"/>
                <c:pt idx="0">
                  <c:v>0.3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2F5-4AC3-9707-5765A308FF9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359714655"/>
        <c:axId val="359715487"/>
      </c:barChart>
      <c:catAx>
        <c:axId val="3597146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0.75000000000000011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78D4">
        <a:alpha val="10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u="none">
                <a:solidFill>
                  <a:srgbClr val="595959"/>
                </a:solidFill>
              </a:rPr>
              <a:t>Civility during Covid </a:t>
            </a:r>
            <a:r>
              <a:rPr lang="en-US" sz="1000" u="none">
                <a:solidFill>
                  <a:srgbClr val="595959"/>
                </a:solidFill>
              </a:rPr>
              <a:t>(% worse)</a:t>
            </a:r>
            <a:endParaRPr lang="en-US" sz="1000">
              <a:solidFill>
                <a:srgbClr val="595959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le</c:v>
                </c:pt>
              </c:strCache>
            </c:strRef>
          </c:tx>
          <c:spPr>
            <a:solidFill>
              <a:schemeClr val="accent1"/>
            </a:solidFill>
            <a:ln w="762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Sheet1!$B$7</c:f>
              <c:numCache>
                <c:formatCode>0%</c:formatCode>
                <c:ptCount val="1"/>
                <c:pt idx="0">
                  <c:v>0.28100000000000003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7-A04A-496B-A197-08CF307C7A6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emale</c:v>
                </c:pt>
              </c:strCache>
            </c:strRef>
          </c:tx>
          <c:spPr>
            <a:solidFill>
              <a:schemeClr val="accent2"/>
            </a:solidFill>
            <a:ln w="762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Sheet1!$C$7</c:f>
              <c:numCache>
                <c:formatCode>0%</c:formatCode>
                <c:ptCount val="1"/>
                <c:pt idx="0">
                  <c:v>0.314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8-A04A-496B-A197-08CF307C7A6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359714655"/>
        <c:axId val="359715487"/>
      </c:barChart>
      <c:catAx>
        <c:axId val="3597146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0.75000000000000011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78D4">
        <a:alpha val="10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u="none">
                <a:solidFill>
                  <a:srgbClr val="595959"/>
                </a:solidFill>
              </a:rPr>
              <a:t>Getting even</a:t>
            </a:r>
            <a:r>
              <a:rPr lang="en-US" sz="1600" u="none" baseline="0">
                <a:solidFill>
                  <a:srgbClr val="595959"/>
                </a:solidFill>
              </a:rPr>
              <a:t> is ok*</a:t>
            </a:r>
          </a:p>
          <a:p>
            <a:pPr algn="l">
              <a:defRPr sz="1600">
                <a:solidFill>
                  <a:srgbClr val="595959"/>
                </a:solidFill>
              </a:defRPr>
            </a:pPr>
            <a:r>
              <a:rPr lang="en-US" sz="1000" u="none" baseline="0">
                <a:solidFill>
                  <a:srgbClr val="595959"/>
                </a:solidFill>
              </a:rPr>
              <a:t>% strongly/somewhat agre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le</c:v>
                </c:pt>
              </c:strCache>
              <c:extLst xmlns:c15="http://schemas.microsoft.com/office/drawing/2012/chart"/>
            </c:strRef>
          </c:tx>
          <c:spPr>
            <a:solidFill>
              <a:schemeClr val="accent1"/>
            </a:solidFill>
            <a:ln w="762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</c:f>
              <c:numCache>
                <c:formatCode>General</c:formatCode>
                <c:ptCount val="1"/>
                <c:pt idx="0">
                  <c:v>2021</c:v>
                </c:pt>
              </c:numCache>
              <c:extLst xmlns:c15="http://schemas.microsoft.com/office/drawing/2012/chart"/>
            </c:numRef>
          </c:cat>
          <c:val>
            <c:numRef>
              <c:f>Sheet1!$B$2:$B$2</c:f>
              <c:numCache>
                <c:formatCode>0%</c:formatCode>
                <c:ptCount val="1"/>
                <c:pt idx="0">
                  <c:v>0.23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2286-4911-9535-EDC3F788A5A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emale</c:v>
                </c:pt>
              </c:strCache>
              <c:extLst xmlns:c15="http://schemas.microsoft.com/office/drawing/2012/chart"/>
            </c:strRef>
          </c:tx>
          <c:spPr>
            <a:solidFill>
              <a:schemeClr val="accent2"/>
            </a:solidFill>
            <a:ln w="762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</c:f>
              <c:numCache>
                <c:formatCode>General</c:formatCode>
                <c:ptCount val="1"/>
                <c:pt idx="0">
                  <c:v>2021</c:v>
                </c:pt>
              </c:numCache>
              <c:extLst xmlns:c15="http://schemas.microsoft.com/office/drawing/2012/chart"/>
            </c:numRef>
          </c:cat>
          <c:val>
            <c:numRef>
              <c:f>Sheet1!$C$2:$C$2</c:f>
              <c:numCache>
                <c:formatCode>0%</c:formatCode>
                <c:ptCount val="1"/>
                <c:pt idx="0">
                  <c:v>0.19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1-2286-4911-9535-EDC3F788A5A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359714655"/>
        <c:axId val="359715487"/>
      </c:barChart>
      <c:catAx>
        <c:axId val="3597146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0.75000000000000011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78D4">
        <a:alpha val="10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u="none">
                <a:solidFill>
                  <a:srgbClr val="595959"/>
                </a:solidFill>
              </a:rPr>
              <a:t>DCI: largest gap eve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le</c:v>
                </c:pt>
              </c:strCache>
            </c:strRef>
          </c:tx>
          <c:spPr>
            <a:solidFill>
              <a:schemeClr val="accent1"/>
            </a:solidFill>
            <a:ln w="762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Sheet1!$B$7</c:f>
              <c:numCache>
                <c:formatCode>0%</c:formatCode>
                <c:ptCount val="1"/>
                <c:pt idx="0">
                  <c:v>0.63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9E31-4D37-B705-AB11E3BDB69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emale</c:v>
                </c:pt>
              </c:strCache>
            </c:strRef>
          </c:tx>
          <c:spPr>
            <a:solidFill>
              <a:schemeClr val="accent2"/>
            </a:solidFill>
            <a:ln w="762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7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Sheet1!$C$7</c:f>
              <c:numCache>
                <c:formatCode>0%</c:formatCode>
                <c:ptCount val="1"/>
                <c:pt idx="0">
                  <c:v>0.66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1-9E31-4D37-B705-AB11E3BDB69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359714655"/>
        <c:axId val="359715487"/>
      </c:barChart>
      <c:catAx>
        <c:axId val="3597146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0.75000000000000011"/>
          <c:min val="0.4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78D4">
        <a:alpha val="10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u="none">
                <a:solidFill>
                  <a:srgbClr val="595959"/>
                </a:solidFill>
              </a:rPr>
              <a:t>Share of risks: Total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le</c:v>
                </c:pt>
              </c:strCache>
            </c:strRef>
          </c:tx>
          <c:spPr>
            <a:ln w="762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:$A$7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5:$B$7</c:f>
              <c:numCache>
                <c:formatCode>0%</c:formatCode>
                <c:ptCount val="3"/>
                <c:pt idx="0">
                  <c:v>0.49</c:v>
                </c:pt>
                <c:pt idx="1">
                  <c:v>0.49</c:v>
                </c:pt>
                <c:pt idx="2">
                  <c:v>0.43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92F5-4AC3-9707-5765A308FF9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emale</c:v>
                </c:pt>
              </c:strCache>
            </c:strRef>
          </c:tx>
          <c:spPr>
            <a:ln w="762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:$A$7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5:$C$7</c:f>
              <c:numCache>
                <c:formatCode>0%</c:formatCode>
                <c:ptCount val="3"/>
                <c:pt idx="0">
                  <c:v>0.51</c:v>
                </c:pt>
                <c:pt idx="1">
                  <c:v>0.51</c:v>
                </c:pt>
                <c:pt idx="2">
                  <c:v>0.56999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2F5-4AC3-9707-5765A308FF9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59714655"/>
        <c:axId val="359715487"/>
        <c:extLst/>
      </c:lineChart>
      <c:catAx>
        <c:axId val="3597146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0.70000000000000007"/>
          <c:min val="0.35000000000000003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78D4">
        <a:alpha val="10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u="none">
                <a:solidFill>
                  <a:srgbClr val="595959"/>
                </a:solidFill>
              </a:rPr>
              <a:t>Share of risks: Adults</a:t>
            </a:r>
            <a:endParaRPr lang="en-US" sz="1600">
              <a:solidFill>
                <a:srgbClr val="595959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le</c:v>
                </c:pt>
              </c:strCache>
              <c:extLst xmlns:c15="http://schemas.microsoft.com/office/drawing/2012/chart"/>
            </c:strRef>
          </c:tx>
          <c:spPr>
            <a:ln w="762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:$A$7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  <c:extLst xmlns:c15="http://schemas.microsoft.com/office/drawing/2012/chart"/>
            </c:numRef>
          </c:cat>
          <c:val>
            <c:numRef>
              <c:f>Sheet1!$B$5:$B$7</c:f>
              <c:numCache>
                <c:formatCode>0%</c:formatCode>
                <c:ptCount val="3"/>
                <c:pt idx="0">
                  <c:v>0.49</c:v>
                </c:pt>
                <c:pt idx="1">
                  <c:v>0.49</c:v>
                </c:pt>
                <c:pt idx="2">
                  <c:v>0.44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7-A04A-496B-A197-08CF307C7A6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emale</c:v>
                </c:pt>
              </c:strCache>
              <c:extLst xmlns:c15="http://schemas.microsoft.com/office/drawing/2012/chart"/>
            </c:strRef>
          </c:tx>
          <c:spPr>
            <a:ln w="762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:$A$7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  <c:extLst xmlns:c15="http://schemas.microsoft.com/office/drawing/2012/chart"/>
            </c:numRef>
          </c:cat>
          <c:val>
            <c:numRef>
              <c:f>Sheet1!$C$5:$C$7</c:f>
              <c:numCache>
                <c:formatCode>0%</c:formatCode>
                <c:ptCount val="3"/>
                <c:pt idx="0">
                  <c:v>0.51</c:v>
                </c:pt>
                <c:pt idx="1">
                  <c:v>0.51</c:v>
                </c:pt>
                <c:pt idx="2">
                  <c:v>0.56000000000000005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8-A04A-496B-A197-08CF307C7A66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59714655"/>
        <c:axId val="359715487"/>
        <c:extLst/>
      </c:lineChart>
      <c:catAx>
        <c:axId val="3597146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0.70000000000000007"/>
          <c:min val="0.35000000000000003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78D4">
        <a:alpha val="10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u="none">
                <a:solidFill>
                  <a:srgbClr val="595959"/>
                </a:solidFill>
              </a:rPr>
              <a:t>Share of risks: Teens</a:t>
            </a:r>
            <a:endParaRPr lang="en-US" sz="1600">
              <a:solidFill>
                <a:srgbClr val="595959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le</c:v>
                </c:pt>
              </c:strCache>
              <c:extLst xmlns:c15="http://schemas.microsoft.com/office/drawing/2012/chart"/>
            </c:strRef>
          </c:tx>
          <c:spPr>
            <a:ln w="762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:$A$7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  <c:extLst xmlns:c15="http://schemas.microsoft.com/office/drawing/2012/chart"/>
            </c:numRef>
          </c:cat>
          <c:val>
            <c:numRef>
              <c:f>Sheet1!$B$5:$B$7</c:f>
              <c:numCache>
                <c:formatCode>0%</c:formatCode>
                <c:ptCount val="3"/>
                <c:pt idx="0">
                  <c:v>0.48</c:v>
                </c:pt>
                <c:pt idx="1">
                  <c:v>0.48</c:v>
                </c:pt>
                <c:pt idx="2">
                  <c:v>0.42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2286-4911-9535-EDC3F788A5A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emale</c:v>
                </c:pt>
              </c:strCache>
              <c:extLst xmlns:c15="http://schemas.microsoft.com/office/drawing/2012/chart"/>
            </c:strRef>
          </c:tx>
          <c:spPr>
            <a:ln w="762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:$A$7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  <c:extLst xmlns:c15="http://schemas.microsoft.com/office/drawing/2012/chart"/>
            </c:numRef>
          </c:cat>
          <c:val>
            <c:numRef>
              <c:f>Sheet1!$C$5:$C$7</c:f>
              <c:numCache>
                <c:formatCode>0%</c:formatCode>
                <c:ptCount val="3"/>
                <c:pt idx="0">
                  <c:v>0.52</c:v>
                </c:pt>
                <c:pt idx="1">
                  <c:v>0.52</c:v>
                </c:pt>
                <c:pt idx="2">
                  <c:v>0.57999999999999996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2286-4911-9535-EDC3F788A5AF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59714655"/>
        <c:axId val="359715487"/>
        <c:extLst/>
      </c:lineChart>
      <c:catAx>
        <c:axId val="3597146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0.70000000000000007"/>
          <c:min val="0.35000000000000003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78D4">
        <a:alpha val="10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u="none">
                <a:solidFill>
                  <a:srgbClr val="595959"/>
                </a:solidFill>
              </a:rPr>
              <a:t>DCI</a:t>
            </a:r>
            <a:r>
              <a:rPr lang="en-US" sz="1600">
                <a:solidFill>
                  <a:srgbClr val="595959"/>
                </a:solidFill>
              </a:rPr>
              <a:t> trend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le</c:v>
                </c:pt>
              </c:strCache>
              <c:extLst xmlns:c15="http://schemas.microsoft.com/office/drawing/2012/chart"/>
            </c:strRef>
          </c:tx>
          <c:spPr>
            <a:ln w="762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:$A$7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  <c:extLst xmlns:c15="http://schemas.microsoft.com/office/drawing/2012/chart"/>
            </c:numRef>
          </c:cat>
          <c:val>
            <c:numRef>
              <c:f>Sheet1!$B$5:$B$7</c:f>
              <c:numCache>
                <c:formatCode>0%</c:formatCode>
                <c:ptCount val="3"/>
                <c:pt idx="0">
                  <c:v>0.69</c:v>
                </c:pt>
                <c:pt idx="1">
                  <c:v>0.67</c:v>
                </c:pt>
                <c:pt idx="2">
                  <c:v>0.63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9E31-4D37-B705-AB11E3BDB69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emale</c:v>
                </c:pt>
              </c:strCache>
              <c:extLst xmlns:c15="http://schemas.microsoft.com/office/drawing/2012/chart"/>
            </c:strRef>
          </c:tx>
          <c:spPr>
            <a:ln w="762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:$A$7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  <c:extLst xmlns:c15="http://schemas.microsoft.com/office/drawing/2012/chart"/>
            </c:numRef>
          </c:cat>
          <c:val>
            <c:numRef>
              <c:f>Sheet1!$C$5:$C$7</c:f>
              <c:numCache>
                <c:formatCode>0%</c:formatCode>
                <c:ptCount val="3"/>
                <c:pt idx="0">
                  <c:v>0.69</c:v>
                </c:pt>
                <c:pt idx="1">
                  <c:v>0.67</c:v>
                </c:pt>
                <c:pt idx="2">
                  <c:v>0.66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9E31-4D37-B705-AB11E3BDB697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59714655"/>
        <c:axId val="359715487"/>
        <c:extLst/>
      </c:lineChart>
      <c:catAx>
        <c:axId val="3597146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0.8"/>
          <c:min val="0.4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78D4">
        <a:alpha val="10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u="none">
                <a:solidFill>
                  <a:srgbClr val="595959"/>
                </a:solidFill>
              </a:rPr>
              <a:t>Messaging apps</a:t>
            </a:r>
          </a:p>
          <a:p>
            <a:pPr algn="l">
              <a:defRPr sz="1600">
                <a:solidFill>
                  <a:srgbClr val="595959"/>
                </a:solidFill>
              </a:defRPr>
            </a:pPr>
            <a:r>
              <a:rPr lang="en-US" sz="1000" b="0" i="0" u="none" strike="noStrike" baseline="0">
                <a:effectLst/>
              </a:rPr>
              <a:t>Use several times a day</a:t>
            </a:r>
            <a:endParaRPr lang="en-US" sz="1000" u="none" baseline="0">
              <a:solidFill>
                <a:srgbClr val="595959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le</c:v>
                </c:pt>
              </c:strCache>
            </c:strRef>
          </c:tx>
          <c:spPr>
            <a:solidFill>
              <a:schemeClr val="accent1"/>
            </a:solidFill>
            <a:ln w="762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64900000000000002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92F5-4AC3-9707-5765A308FF9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emale</c:v>
                </c:pt>
              </c:strCache>
            </c:strRef>
          </c:tx>
          <c:spPr>
            <a:solidFill>
              <a:schemeClr val="accent2"/>
            </a:solidFill>
            <a:ln w="762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711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2F5-4AC3-9707-5765A308FF9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359714655"/>
        <c:axId val="359715487"/>
      </c:barChart>
      <c:catAx>
        <c:axId val="3597146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1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78D4">
        <a:alpha val="10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u="none">
                <a:solidFill>
                  <a:srgbClr val="595959"/>
                </a:solidFill>
              </a:rPr>
              <a:t>Discussion sites</a:t>
            </a:r>
          </a:p>
          <a:p>
            <a:pPr algn="l">
              <a:defRPr sz="1600">
                <a:solidFill>
                  <a:srgbClr val="595959"/>
                </a:solidFill>
              </a:defRPr>
            </a:pPr>
            <a:r>
              <a:rPr lang="en-US" sz="1000">
                <a:effectLst/>
              </a:rPr>
              <a:t>Use several times a day</a:t>
            </a:r>
            <a:endParaRPr lang="en-US" sz="1000" u="none">
              <a:solidFill>
                <a:srgbClr val="595959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le</c:v>
                </c:pt>
              </c:strCache>
            </c:strRef>
          </c:tx>
          <c:spPr>
            <a:solidFill>
              <a:schemeClr val="accent1"/>
            </a:solidFill>
            <a:ln w="762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11899999999999999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7-A04A-496B-A197-08CF307C7A6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emale</c:v>
                </c:pt>
              </c:strCache>
            </c:strRef>
          </c:tx>
          <c:spPr>
            <a:solidFill>
              <a:schemeClr val="accent2"/>
            </a:solidFill>
            <a:ln w="762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10299999999999999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8-A04A-496B-A197-08CF307C7A6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359714655"/>
        <c:axId val="359715487"/>
      </c:barChart>
      <c:catAx>
        <c:axId val="3597146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0.75000000000000011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78D4">
        <a:alpha val="10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862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>
                <a:solidFill>
                  <a:srgbClr val="595959"/>
                </a:solidFill>
              </a:rPr>
              <a:t>Teen boys: risks</a:t>
            </a:r>
            <a:r>
              <a:rPr lang="en-US" sz="1600" baseline="0">
                <a:solidFill>
                  <a:srgbClr val="595959"/>
                </a:solidFill>
              </a:rPr>
              <a:t> ranked by </a:t>
            </a:r>
            <a:r>
              <a:rPr lang="en-US" sz="1600">
                <a:solidFill>
                  <a:srgbClr val="595959"/>
                </a:solidFill>
              </a:rPr>
              <a:t>largest YoY changes</a:t>
            </a:r>
          </a:p>
          <a:p>
            <a:pPr algn="l">
              <a:defRPr>
                <a:solidFill>
                  <a:srgbClr val="595959"/>
                </a:solidFill>
              </a:defRPr>
            </a:pPr>
            <a:r>
              <a:rPr lang="en-US" sz="1000">
                <a:solidFill>
                  <a:srgbClr val="595959"/>
                </a:solidFill>
              </a:rPr>
              <a:t>Base: teen boy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862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rolling</c:v>
                </c:pt>
                <c:pt idx="1">
                  <c:v>Unwanted sexting</c:v>
                </c:pt>
                <c:pt idx="2">
                  <c:v>Hate speech</c:v>
                </c:pt>
                <c:pt idx="3">
                  <c:v>Unwanted sexual attention</c:v>
                </c:pt>
                <c:pt idx="4">
                  <c:v>Sexual solicitation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23100000000000001</c:v>
                </c:pt>
                <c:pt idx="1">
                  <c:v>0.21299999999999999</c:v>
                </c:pt>
                <c:pt idx="2">
                  <c:v>0.21299999999999999</c:v>
                </c:pt>
                <c:pt idx="3">
                  <c:v>0.104</c:v>
                </c:pt>
                <c:pt idx="4">
                  <c:v>0.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74-498A-B605-0C7104FC683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rolling</c:v>
                </c:pt>
                <c:pt idx="1">
                  <c:v>Unwanted sexting</c:v>
                </c:pt>
                <c:pt idx="2">
                  <c:v>Hate speech</c:v>
                </c:pt>
                <c:pt idx="3">
                  <c:v>Unwanted sexual attention</c:v>
                </c:pt>
                <c:pt idx="4">
                  <c:v>Sexual solicitation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184</c:v>
                </c:pt>
                <c:pt idx="1">
                  <c:v>0.16400000000000001</c:v>
                </c:pt>
                <c:pt idx="2">
                  <c:v>0.17599999999999999</c:v>
                </c:pt>
                <c:pt idx="3">
                  <c:v>7.9000000000000001E-2</c:v>
                </c:pt>
                <c:pt idx="4">
                  <c:v>7.9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74-498A-B605-0C7104FC68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1507348687"/>
        <c:axId val="1507331215"/>
      </c:barChart>
      <c:catAx>
        <c:axId val="150734868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07331215"/>
        <c:crosses val="autoZero"/>
        <c:auto val="1"/>
        <c:lblAlgn val="ctr"/>
        <c:lblOffset val="100"/>
        <c:noMultiLvlLbl val="0"/>
      </c:catAx>
      <c:valAx>
        <c:axId val="1507331215"/>
        <c:scaling>
          <c:orientation val="minMax"/>
          <c:max val="0.4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15073486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u="none">
                <a:solidFill>
                  <a:srgbClr val="595959"/>
                </a:solidFill>
              </a:rPr>
              <a:t>Gaming sites</a:t>
            </a:r>
          </a:p>
          <a:p>
            <a:pPr algn="l">
              <a:defRPr sz="1600">
                <a:solidFill>
                  <a:srgbClr val="595959"/>
                </a:solidFill>
              </a:defRPr>
            </a:pPr>
            <a:r>
              <a:rPr lang="en-US" sz="1000" b="0" i="0" u="none" strike="noStrike" baseline="0">
                <a:effectLst/>
              </a:rPr>
              <a:t>Use several times a day</a:t>
            </a:r>
            <a:endParaRPr lang="en-US" sz="1000" u="none">
              <a:solidFill>
                <a:srgbClr val="595959"/>
              </a:solidFill>
            </a:endParaRPr>
          </a:p>
          <a:p>
            <a:pPr algn="l">
              <a:defRPr sz="1600">
                <a:solidFill>
                  <a:srgbClr val="595959"/>
                </a:solidFill>
              </a:defRPr>
            </a:pPr>
            <a:endParaRPr lang="en-US" sz="1000">
              <a:solidFill>
                <a:srgbClr val="595959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le</c:v>
                </c:pt>
              </c:strCache>
              <c:extLst xmlns:c15="http://schemas.microsoft.com/office/drawing/2012/chart"/>
            </c:strRef>
          </c:tx>
          <c:spPr>
            <a:solidFill>
              <a:schemeClr val="accent1"/>
            </a:solidFill>
            <a:ln w="762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</c:f>
              <c:numCache>
                <c:formatCode>General</c:formatCode>
                <c:ptCount val="1"/>
                <c:pt idx="0">
                  <c:v>2021</c:v>
                </c:pt>
              </c:numCache>
              <c:extLst xmlns:c15="http://schemas.microsoft.com/office/drawing/2012/chart"/>
            </c:numRef>
          </c:cat>
          <c:val>
            <c:numRef>
              <c:f>Sheet1!$B$2:$B$2</c:f>
              <c:numCache>
                <c:formatCode>0%</c:formatCode>
                <c:ptCount val="1"/>
                <c:pt idx="0">
                  <c:v>0.32400000000000001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2286-4911-9535-EDC3F788A5A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emale</c:v>
                </c:pt>
              </c:strCache>
              <c:extLst xmlns:c15="http://schemas.microsoft.com/office/drawing/2012/chart"/>
            </c:strRef>
          </c:tx>
          <c:spPr>
            <a:solidFill>
              <a:schemeClr val="accent2"/>
            </a:solidFill>
            <a:ln w="762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</c:f>
              <c:numCache>
                <c:formatCode>General</c:formatCode>
                <c:ptCount val="1"/>
                <c:pt idx="0">
                  <c:v>2021</c:v>
                </c:pt>
              </c:numCache>
              <c:extLst xmlns:c15="http://schemas.microsoft.com/office/drawing/2012/chart"/>
            </c:numRef>
          </c:cat>
          <c:val>
            <c:numRef>
              <c:f>Sheet1!$C$2:$C$2</c:f>
              <c:numCache>
                <c:formatCode>0%</c:formatCode>
                <c:ptCount val="1"/>
                <c:pt idx="0">
                  <c:v>0.19400000000000001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1-2286-4911-9535-EDC3F788A5A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359714655"/>
        <c:axId val="359715487"/>
      </c:barChart>
      <c:catAx>
        <c:axId val="3597146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0.75000000000000011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78D4">
        <a:alpha val="10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u="none">
                <a:solidFill>
                  <a:srgbClr val="595959"/>
                </a:solidFill>
              </a:rPr>
              <a:t>Social med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pPr>
            <a:r>
              <a:rPr lang="en-US" sz="1000">
                <a:effectLst/>
              </a:rPr>
              <a:t>Use several times a da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pPr>
            <a:endParaRPr lang="en-US" sz="1600" u="none">
              <a:solidFill>
                <a:srgbClr val="595959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le</c:v>
                </c:pt>
              </c:strCache>
            </c:strRef>
          </c:tx>
          <c:spPr>
            <a:solidFill>
              <a:schemeClr val="accent1"/>
            </a:solidFill>
            <a:ln w="762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59399999999999997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9E31-4D37-B705-AB11E3BDB69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emale</c:v>
                </c:pt>
              </c:strCache>
            </c:strRef>
          </c:tx>
          <c:spPr>
            <a:solidFill>
              <a:schemeClr val="accent2"/>
            </a:solidFill>
            <a:ln w="762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68600000000000005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1-9E31-4D37-B705-AB11E3BDB69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359714655"/>
        <c:axId val="359715487"/>
      </c:barChart>
      <c:catAx>
        <c:axId val="3597146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1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78D4">
        <a:alpha val="10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b="0" i="0" baseline="0">
                <a:effectLst/>
              </a:rPr>
              <a:t>Worry</a:t>
            </a:r>
            <a:r>
              <a:rPr lang="en-US" sz="1800" b="0" i="0" baseline="0">
                <a:effectLst/>
              </a:rPr>
              <a:t> </a:t>
            </a:r>
            <a:r>
              <a:rPr lang="en-US" sz="1000" b="0" i="0" baseline="0">
                <a:effectLst/>
              </a:rPr>
              <a:t>(extremely to somewhat)</a:t>
            </a:r>
            <a:endParaRPr lang="en-US" sz="100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le</c:v>
                </c:pt>
              </c:strCache>
            </c:strRef>
          </c:tx>
          <c:spPr>
            <a:ln w="762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:$A$7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B$5:$B$7</c:f>
              <c:numCache>
                <c:formatCode>0%</c:formatCode>
                <c:ptCount val="3"/>
                <c:pt idx="0">
                  <c:v>0.60599999999999998</c:v>
                </c:pt>
                <c:pt idx="1">
                  <c:v>0.58499999999999996</c:v>
                </c:pt>
                <c:pt idx="2">
                  <c:v>0.57699999999999996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92F5-4AC3-9707-5765A308FF9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emale</c:v>
                </c:pt>
              </c:strCache>
            </c:strRef>
          </c:tx>
          <c:spPr>
            <a:ln w="762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:$A$7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Sheet1!$C$5:$C$7</c:f>
              <c:numCache>
                <c:formatCode>0%</c:formatCode>
                <c:ptCount val="3"/>
                <c:pt idx="0">
                  <c:v>0.66600000000000004</c:v>
                </c:pt>
                <c:pt idx="1">
                  <c:v>0.65</c:v>
                </c:pt>
                <c:pt idx="2">
                  <c:v>0.674000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2F5-4AC3-9707-5765A308FF9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59714655"/>
        <c:axId val="359715487"/>
        <c:extLst/>
      </c:lineChart>
      <c:catAx>
        <c:axId val="3597146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1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78D4">
        <a:alpha val="10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u="none">
                <a:solidFill>
                  <a:srgbClr val="595959"/>
                </a:solidFill>
              </a:rPr>
              <a:t>Consequences </a:t>
            </a:r>
            <a:r>
              <a:rPr lang="en-US" sz="1000" u="none">
                <a:solidFill>
                  <a:srgbClr val="595959"/>
                </a:solidFill>
              </a:rPr>
              <a:t>(any)</a:t>
            </a:r>
            <a:endParaRPr lang="en-US" sz="1000">
              <a:solidFill>
                <a:srgbClr val="595959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le</c:v>
                </c:pt>
              </c:strCache>
              <c:extLst xmlns:c15="http://schemas.microsoft.com/office/drawing/2012/chart"/>
            </c:strRef>
          </c:tx>
          <c:spPr>
            <a:ln w="762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:$A$7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  <c:extLst xmlns:c15="http://schemas.microsoft.com/office/drawing/2012/chart"/>
            </c:numRef>
          </c:cat>
          <c:val>
            <c:numRef>
              <c:f>Sheet1!$B$5:$B$7</c:f>
              <c:numCache>
                <c:formatCode>0%</c:formatCode>
                <c:ptCount val="3"/>
                <c:pt idx="0">
                  <c:v>0.75</c:v>
                </c:pt>
                <c:pt idx="1">
                  <c:v>0.74</c:v>
                </c:pt>
                <c:pt idx="2">
                  <c:v>0.73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9E31-4D37-B705-AB11E3BDB69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emale</c:v>
                </c:pt>
              </c:strCache>
              <c:extLst xmlns:c15="http://schemas.microsoft.com/office/drawing/2012/chart"/>
            </c:strRef>
          </c:tx>
          <c:spPr>
            <a:ln w="762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:$A$7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  <c:extLst xmlns:c15="http://schemas.microsoft.com/office/drawing/2012/chart"/>
            </c:numRef>
          </c:cat>
          <c:val>
            <c:numRef>
              <c:f>Sheet1!$C$5:$C$7</c:f>
              <c:numCache>
                <c:formatCode>0%</c:formatCode>
                <c:ptCount val="3"/>
                <c:pt idx="0">
                  <c:v>0.77</c:v>
                </c:pt>
                <c:pt idx="1">
                  <c:v>0.78</c:v>
                </c:pt>
                <c:pt idx="2">
                  <c:v>0.79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9E31-4D37-B705-AB11E3BDB697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59714655"/>
        <c:axId val="359715487"/>
        <c:extLst/>
      </c:lineChart>
      <c:catAx>
        <c:axId val="3597146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1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78D4">
        <a:alpha val="10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u="none">
                <a:solidFill>
                  <a:srgbClr val="595959"/>
                </a:solidFill>
              </a:rPr>
              <a:t>Pain </a:t>
            </a:r>
            <a:r>
              <a:rPr lang="en-US" sz="1000" u="none">
                <a:solidFill>
                  <a:srgbClr val="595959"/>
                </a:solidFill>
              </a:rPr>
              <a:t>(unbearable/severe)</a:t>
            </a:r>
            <a:endParaRPr lang="en-US" sz="1000">
              <a:solidFill>
                <a:srgbClr val="595959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le</c:v>
                </c:pt>
              </c:strCache>
              <c:extLst xmlns:c15="http://schemas.microsoft.com/office/drawing/2012/chart"/>
            </c:strRef>
          </c:tx>
          <c:spPr>
            <a:ln w="762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:$A$7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  <c:extLst xmlns:c15="http://schemas.microsoft.com/office/drawing/2012/chart"/>
            </c:numRef>
          </c:cat>
          <c:val>
            <c:numRef>
              <c:f>Sheet1!$B$5:$B$7</c:f>
              <c:numCache>
                <c:formatCode>0%</c:formatCode>
                <c:ptCount val="3"/>
                <c:pt idx="0">
                  <c:v>0.34399999999999997</c:v>
                </c:pt>
                <c:pt idx="1">
                  <c:v>0.41</c:v>
                </c:pt>
                <c:pt idx="2">
                  <c:v>0.30599999999999999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0-615D-40FB-83C8-7C37CCA43A5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emale</c:v>
                </c:pt>
              </c:strCache>
              <c:extLst xmlns:c15="http://schemas.microsoft.com/office/drawing/2012/chart"/>
            </c:strRef>
          </c:tx>
          <c:spPr>
            <a:ln w="762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5:$A$7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  <c:extLst xmlns:c15="http://schemas.microsoft.com/office/drawing/2012/chart"/>
            </c:numRef>
          </c:cat>
          <c:val>
            <c:numRef>
              <c:f>Sheet1!$C$5:$C$7</c:f>
              <c:numCache>
                <c:formatCode>0%</c:formatCode>
                <c:ptCount val="3"/>
                <c:pt idx="0">
                  <c:v>0.39800000000000002</c:v>
                </c:pt>
                <c:pt idx="1">
                  <c:v>0.47</c:v>
                </c:pt>
                <c:pt idx="2">
                  <c:v>0.39300000000000002</c:v>
                </c:pt>
              </c:numCache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615D-40FB-83C8-7C37CCA43A5E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59714655"/>
        <c:axId val="359715487"/>
        <c:extLst/>
      </c:lineChart>
      <c:catAx>
        <c:axId val="3597146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1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78D4">
        <a:alpha val="10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b="0" i="0" baseline="0">
                <a:effectLst/>
              </a:rPr>
              <a:t>Worry: top 5</a:t>
            </a:r>
          </a:p>
          <a:p>
            <a:pPr algn="l">
              <a:defRPr sz="1600">
                <a:solidFill>
                  <a:srgbClr val="595959"/>
                </a:solidFill>
              </a:defRPr>
            </a:pPr>
            <a:r>
              <a:rPr lang="en-US" sz="1000" b="0" i="0" baseline="0">
                <a:effectLst/>
              </a:rPr>
              <a:t>Extremely/very/somewhat,  min. 10% risk incidence)</a:t>
            </a:r>
            <a:endParaRPr lang="en-US" sz="100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le</c:v>
                </c:pt>
              </c:strCache>
            </c:strRef>
          </c:tx>
          <c:spPr>
            <a:solidFill>
              <a:schemeClr val="accent1"/>
            </a:solidFill>
            <a:ln w="762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Discrimination</c:v>
                </c:pt>
                <c:pt idx="1">
                  <c:v>Online harassment</c:v>
                </c:pt>
                <c:pt idx="2">
                  <c:v>Cyberbullying</c:v>
                </c:pt>
                <c:pt idx="3">
                  <c:v>Hoaxes, scams &amp; frauds</c:v>
                </c:pt>
                <c:pt idx="4">
                  <c:v>Unwanted sexual attention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60899999999999999</c:v>
                </c:pt>
                <c:pt idx="1">
                  <c:v>0.55470568336344339</c:v>
                </c:pt>
                <c:pt idx="2">
                  <c:v>0.56748279133895108</c:v>
                </c:pt>
                <c:pt idx="3">
                  <c:v>0.52123498193446283</c:v>
                </c:pt>
                <c:pt idx="4">
                  <c:v>0.45940006102153808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92F5-4AC3-9707-5765A308FF9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emale</c:v>
                </c:pt>
              </c:strCache>
            </c:strRef>
          </c:tx>
          <c:spPr>
            <a:solidFill>
              <a:schemeClr val="accent2"/>
            </a:solidFill>
            <a:ln w="762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Discrimination</c:v>
                </c:pt>
                <c:pt idx="1">
                  <c:v>Online harassment</c:v>
                </c:pt>
                <c:pt idx="2">
                  <c:v>Cyberbullying</c:v>
                </c:pt>
                <c:pt idx="3">
                  <c:v>Hoaxes, scams &amp; frauds</c:v>
                </c:pt>
                <c:pt idx="4">
                  <c:v>Unwanted sexual attention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65600000000000003</c:v>
                </c:pt>
                <c:pt idx="1">
                  <c:v>0.64795364884884254</c:v>
                </c:pt>
                <c:pt idx="2">
                  <c:v>0.63170424308920092</c:v>
                </c:pt>
                <c:pt idx="3">
                  <c:v>0.60744395396479978</c:v>
                </c:pt>
                <c:pt idx="4">
                  <c:v>0.607336425593668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2F5-4AC3-9707-5765A308FF9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359714655"/>
        <c:axId val="359715487"/>
      </c:barChart>
      <c:catAx>
        <c:axId val="359714655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0.75000000000000011"/>
          <c:min val="0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78D4">
        <a:alpha val="10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u="none">
                <a:solidFill>
                  <a:srgbClr val="595959"/>
                </a:solidFill>
              </a:rPr>
              <a:t>Consequences: top 5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le</c:v>
                </c:pt>
              </c:strCache>
              <c:extLst xmlns:c15="http://schemas.microsoft.com/office/drawing/2012/chart"/>
            </c:strRef>
          </c:tx>
          <c:spPr>
            <a:solidFill>
              <a:schemeClr val="accent1"/>
            </a:solidFill>
            <a:ln w="762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Less trust of people online</c:v>
                </c:pt>
                <c:pt idx="1">
                  <c:v>Less participation in social media</c:v>
                </c:pt>
                <c:pt idx="2">
                  <c:v>Less trust of people offline</c:v>
                </c:pt>
                <c:pt idx="3">
                  <c:v>Lower self-esteem</c:v>
                </c:pt>
                <c:pt idx="4">
                  <c:v>Lost sleep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4</c:v>
                </c:pt>
                <c:pt idx="1">
                  <c:v>0.38</c:v>
                </c:pt>
                <c:pt idx="2">
                  <c:v>0.34</c:v>
                </c:pt>
                <c:pt idx="3">
                  <c:v>0.27</c:v>
                </c:pt>
                <c:pt idx="4">
                  <c:v>0.24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9E31-4D37-B705-AB11E3BDB69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emale</c:v>
                </c:pt>
              </c:strCache>
              <c:extLst xmlns:c15="http://schemas.microsoft.com/office/drawing/2012/chart"/>
            </c:strRef>
          </c:tx>
          <c:spPr>
            <a:solidFill>
              <a:schemeClr val="accent2"/>
            </a:solidFill>
            <a:ln w="762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Less trust of people online</c:v>
                </c:pt>
                <c:pt idx="1">
                  <c:v>Less participation in social media</c:v>
                </c:pt>
                <c:pt idx="2">
                  <c:v>Less trust of people offline</c:v>
                </c:pt>
                <c:pt idx="3">
                  <c:v>Lower self-esteem</c:v>
                </c:pt>
                <c:pt idx="4">
                  <c:v>Lost sleep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5</c:v>
                </c:pt>
                <c:pt idx="1">
                  <c:v>0.46</c:v>
                </c:pt>
                <c:pt idx="2">
                  <c:v>0.41</c:v>
                </c:pt>
                <c:pt idx="3">
                  <c:v>0.41</c:v>
                </c:pt>
                <c:pt idx="4">
                  <c:v>0.41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1-9E31-4D37-B705-AB11E3BDB69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359714655"/>
        <c:axId val="359715487"/>
      </c:barChart>
      <c:catAx>
        <c:axId val="359714655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0.75000000000000011"/>
          <c:min val="0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78D4">
        <a:alpha val="10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u="none">
                <a:solidFill>
                  <a:srgbClr val="595959"/>
                </a:solidFill>
              </a:rPr>
              <a:t>Pain: top 5</a:t>
            </a:r>
          </a:p>
          <a:p>
            <a:pPr algn="l">
              <a:defRPr sz="1600">
                <a:solidFill>
                  <a:srgbClr val="595959"/>
                </a:solidFill>
              </a:defRPr>
            </a:pPr>
            <a:r>
              <a:rPr lang="en-US" sz="1000" u="none">
                <a:solidFill>
                  <a:srgbClr val="595959"/>
                </a:solidFill>
              </a:rPr>
              <a:t>unbearable/severe, (min</a:t>
            </a:r>
            <a:r>
              <a:rPr lang="en-US" sz="1000" b="0" i="0" u="none" strike="noStrike" baseline="0">
                <a:effectLst/>
              </a:rPr>
              <a:t>. 10% risk incidence</a:t>
            </a:r>
            <a:r>
              <a:rPr lang="en-US" sz="1000" u="none">
                <a:solidFill>
                  <a:srgbClr val="595959"/>
                </a:solidFill>
              </a:rPr>
              <a:t>)</a:t>
            </a:r>
            <a:endParaRPr lang="en-US" sz="1000">
              <a:solidFill>
                <a:srgbClr val="595959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le</c:v>
                </c:pt>
              </c:strCache>
              <c:extLst xmlns:c15="http://schemas.microsoft.com/office/drawing/2012/chart"/>
            </c:strRef>
          </c:tx>
          <c:spPr>
            <a:solidFill>
              <a:schemeClr val="accent1"/>
            </a:solidFill>
            <a:ln w="762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Discrimination</c:v>
                </c:pt>
                <c:pt idx="1">
                  <c:v>Cyberbullying</c:v>
                </c:pt>
                <c:pt idx="2">
                  <c:v>Online harassment</c:v>
                </c:pt>
                <c:pt idx="3">
                  <c:v>Unwanted sexual attention</c:v>
                </c:pt>
                <c:pt idx="4">
                  <c:v>Microaggression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33700000000000002</c:v>
                </c:pt>
                <c:pt idx="1">
                  <c:v>0.29199999999999998</c:v>
                </c:pt>
                <c:pt idx="2">
                  <c:v>0.28500000000000003</c:v>
                </c:pt>
                <c:pt idx="3">
                  <c:v>0.17299999999999999</c:v>
                </c:pt>
                <c:pt idx="4">
                  <c:v>0.19600000000000001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615D-40FB-83C8-7C37CCA43A5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emale</c:v>
                </c:pt>
              </c:strCache>
              <c:extLst xmlns:c15="http://schemas.microsoft.com/office/drawing/2012/chart"/>
            </c:strRef>
          </c:tx>
          <c:spPr>
            <a:solidFill>
              <a:schemeClr val="accent2"/>
            </a:solidFill>
            <a:ln w="762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Discrimination</c:v>
                </c:pt>
                <c:pt idx="1">
                  <c:v>Cyberbullying</c:v>
                </c:pt>
                <c:pt idx="2">
                  <c:v>Online harassment</c:v>
                </c:pt>
                <c:pt idx="3">
                  <c:v>Unwanted sexual attention</c:v>
                </c:pt>
                <c:pt idx="4">
                  <c:v>Microaggression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40600000000000003</c:v>
                </c:pt>
                <c:pt idx="1">
                  <c:v>0.36749999999999999</c:v>
                </c:pt>
                <c:pt idx="2">
                  <c:v>0.309</c:v>
                </c:pt>
                <c:pt idx="3">
                  <c:v>0.30299999999999999</c:v>
                </c:pt>
                <c:pt idx="4">
                  <c:v>0.23399999999999999</c:v>
                </c:pt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1-615D-40FB-83C8-7C37CCA43A5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359714655"/>
        <c:axId val="359715487"/>
      </c:barChart>
      <c:catAx>
        <c:axId val="359714655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0.75000000000000011"/>
          <c:min val="0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78D4">
        <a:alpha val="10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/>
              <a:t>Teens blame incivility equally on people</a:t>
            </a:r>
            <a:r>
              <a:rPr lang="en-US" sz="1600" baseline="0"/>
              <a:t> their age or a little older</a:t>
            </a:r>
            <a:endParaRPr lang="en-US" sz="16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People around my age</c:v>
                </c:pt>
                <c:pt idx="1">
                  <c:v>Someone who is a little older than me                 (ages 18-24)</c:v>
                </c:pt>
                <c:pt idx="2">
                  <c:v>Someone who is older than me                             (ages 25-40)</c:v>
                </c:pt>
                <c:pt idx="3">
                  <c:v>Someone who is a lot older than me                   (age 40+)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38100000000000001</c:v>
                </c:pt>
                <c:pt idx="1">
                  <c:v>0.37</c:v>
                </c:pt>
                <c:pt idx="2">
                  <c:v>0.184</c:v>
                </c:pt>
                <c:pt idx="3">
                  <c:v>6.4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F4-4ABF-94A0-94F6535E51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oy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People around my age</c:v>
                </c:pt>
                <c:pt idx="1">
                  <c:v>Someone who is a little older than me                 (ages 18-24)</c:v>
                </c:pt>
                <c:pt idx="2">
                  <c:v>Someone who is older than me                             (ages 25-40)</c:v>
                </c:pt>
                <c:pt idx="3">
                  <c:v>Someone who is a lot older than me                   (age 40+)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38100000000000001</c:v>
                </c:pt>
                <c:pt idx="1">
                  <c:v>0.37</c:v>
                </c:pt>
                <c:pt idx="2">
                  <c:v>0.184</c:v>
                </c:pt>
                <c:pt idx="3">
                  <c:v>6.4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2F4-4ABF-94A0-94F6535E510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irls</c:v>
                </c:pt>
              </c:strCache>
            </c:strRef>
          </c:tx>
          <c:spPr>
            <a:solidFill>
              <a:srgbClr val="107C1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People around my age</c:v>
                </c:pt>
                <c:pt idx="1">
                  <c:v>Someone who is a little older than me                 (ages 18-24)</c:v>
                </c:pt>
                <c:pt idx="2">
                  <c:v>Someone who is older than me                             (ages 25-40)</c:v>
                </c:pt>
                <c:pt idx="3">
                  <c:v>Someone who is a lot older than me                   (age 40+)</c:v>
                </c:pt>
              </c:strCache>
            </c:strRef>
          </c:cat>
          <c:val>
            <c:numRef>
              <c:f>Sheet1!$D$2:$D$5</c:f>
              <c:numCache>
                <c:formatCode>0%</c:formatCode>
                <c:ptCount val="4"/>
                <c:pt idx="0">
                  <c:v>0.38600000000000001</c:v>
                </c:pt>
                <c:pt idx="1">
                  <c:v>0.36799999999999999</c:v>
                </c:pt>
                <c:pt idx="2">
                  <c:v>0.17699999999999999</c:v>
                </c:pt>
                <c:pt idx="3">
                  <c:v>6.90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2F4-4ABF-94A0-94F6535E51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770325023"/>
        <c:axId val="770329183"/>
      </c:barChart>
      <c:catAx>
        <c:axId val="77032502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0329183"/>
        <c:crosses val="autoZero"/>
        <c:auto val="1"/>
        <c:lblAlgn val="ctr"/>
        <c:lblOffset val="100"/>
        <c:noMultiLvlLbl val="0"/>
      </c:catAx>
      <c:valAx>
        <c:axId val="770329183"/>
        <c:scaling>
          <c:orientation val="minMax"/>
          <c:max val="0.5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7703250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0" i="0" u="none" strike="noStrike" baseline="0">
                <a:effectLst/>
              </a:rPr>
              <a:t>Adult 18-24 males &amp; females disagree about who’s responsible for incivility</a:t>
            </a:r>
            <a:endParaRPr lang="en-US" sz="16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People younger than me</c:v>
                </c:pt>
                <c:pt idx="1">
                  <c:v>People around my age</c:v>
                </c:pt>
                <c:pt idx="2">
                  <c:v>Someone who is a little older than me                             (ages 25-40)</c:v>
                </c:pt>
                <c:pt idx="3">
                  <c:v>Someone who is a lot older than me                   (age 40+)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27900000000000003</c:v>
                </c:pt>
                <c:pt idx="1">
                  <c:v>0.35</c:v>
                </c:pt>
                <c:pt idx="2">
                  <c:v>0.28999999999999998</c:v>
                </c:pt>
                <c:pt idx="3">
                  <c:v>8.2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6F-4156-BF49-CCAD65C1234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al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People younger than me</c:v>
                </c:pt>
                <c:pt idx="1">
                  <c:v>People around my age</c:v>
                </c:pt>
                <c:pt idx="2">
                  <c:v>Someone who is a little older than me                             (ages 25-40)</c:v>
                </c:pt>
                <c:pt idx="3">
                  <c:v>Someone who is a lot older than me                   (age 40+)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33689337615007209</c:v>
                </c:pt>
                <c:pt idx="1">
                  <c:v>0.36542968980794088</c:v>
                </c:pt>
                <c:pt idx="2">
                  <c:v>0.22910152089977376</c:v>
                </c:pt>
                <c:pt idx="3">
                  <c:v>6.857541314221332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96F-4156-BF49-CCAD65C1234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emal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People younger than me</c:v>
                </c:pt>
                <c:pt idx="1">
                  <c:v>People around my age</c:v>
                </c:pt>
                <c:pt idx="2">
                  <c:v>Someone who is a little older than me                             (ages 25-40)</c:v>
                </c:pt>
                <c:pt idx="3">
                  <c:v>Someone who is a lot older than me                   (age 40+)</c:v>
                </c:pt>
              </c:strCache>
            </c:strRef>
          </c:cat>
          <c:val>
            <c:numRef>
              <c:f>Sheet1!$D$2:$D$5</c:f>
              <c:numCache>
                <c:formatCode>0%</c:formatCode>
                <c:ptCount val="4"/>
                <c:pt idx="0">
                  <c:v>0.22941030446630961</c:v>
                </c:pt>
                <c:pt idx="1">
                  <c:v>0.33650386870366267</c:v>
                </c:pt>
                <c:pt idx="2">
                  <c:v>0.34080470603047702</c:v>
                </c:pt>
                <c:pt idx="3">
                  <c:v>9.328112079955061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96F-4156-BF49-CCAD65C1234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401245663"/>
        <c:axId val="401248159"/>
      </c:barChart>
      <c:catAx>
        <c:axId val="4012456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1248159"/>
        <c:crosses val="autoZero"/>
        <c:auto val="1"/>
        <c:lblAlgn val="ctr"/>
        <c:lblOffset val="100"/>
        <c:noMultiLvlLbl val="0"/>
      </c:catAx>
      <c:valAx>
        <c:axId val="401248159"/>
        <c:scaling>
          <c:orientation val="minMax"/>
          <c:max val="0.5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40124566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>
                <a:solidFill>
                  <a:srgbClr val="595959"/>
                </a:solidFill>
              </a:rPr>
              <a:t>Adult men: risks ranked by largest YoY changes</a:t>
            </a:r>
          </a:p>
          <a:p>
            <a:pPr algn="l">
              <a:defRPr sz="1600">
                <a:solidFill>
                  <a:srgbClr val="595959"/>
                </a:solidFill>
              </a:defRPr>
            </a:pPr>
            <a:r>
              <a:rPr lang="en-US" sz="1000" b="0" i="0" u="none" strike="noStrike" baseline="0">
                <a:effectLst/>
              </a:rPr>
              <a:t>Base: adult men</a:t>
            </a:r>
            <a:endParaRPr lang="en-US" sz="1000">
              <a:solidFill>
                <a:srgbClr val="595959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6026878667423814E-2"/>
          <c:y val="0.16426119965858779"/>
          <c:w val="0.94794624266515237"/>
          <c:h val="0.57682349658886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Unwanted sexting</c:v>
                </c:pt>
                <c:pt idx="1">
                  <c:v>Hate speech</c:v>
                </c:pt>
                <c:pt idx="2">
                  <c:v>Damage to personal rep</c:v>
                </c:pt>
                <c:pt idx="3">
                  <c:v>Hoaxes, scams &amp; frauds</c:v>
                </c:pt>
                <c:pt idx="4">
                  <c:v>Online harassment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28199999999999997</c:v>
                </c:pt>
                <c:pt idx="1">
                  <c:v>0.21299999999999999</c:v>
                </c:pt>
                <c:pt idx="2">
                  <c:v>0.114</c:v>
                </c:pt>
                <c:pt idx="3">
                  <c:v>0.40300000000000002</c:v>
                </c:pt>
                <c:pt idx="4">
                  <c:v>0.142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AB-46C7-B3CB-41CAF20B456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Unwanted sexting</c:v>
                </c:pt>
                <c:pt idx="1">
                  <c:v>Hate speech</c:v>
                </c:pt>
                <c:pt idx="2">
                  <c:v>Damage to personal rep</c:v>
                </c:pt>
                <c:pt idx="3">
                  <c:v>Hoaxes, scams &amp; frauds</c:v>
                </c:pt>
                <c:pt idx="4">
                  <c:v>Online harassment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254</c:v>
                </c:pt>
                <c:pt idx="1">
                  <c:v>0.187</c:v>
                </c:pt>
                <c:pt idx="2">
                  <c:v>8.7999999999999995E-2</c:v>
                </c:pt>
                <c:pt idx="3">
                  <c:v>0.379</c:v>
                </c:pt>
                <c:pt idx="4">
                  <c:v>0.1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FAB-46C7-B3CB-41CAF20B45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1507348687"/>
        <c:axId val="1507331215"/>
      </c:barChart>
      <c:catAx>
        <c:axId val="15073486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07331215"/>
        <c:crosses val="autoZero"/>
        <c:auto val="1"/>
        <c:lblAlgn val="ctr"/>
        <c:lblOffset val="100"/>
        <c:noMultiLvlLbl val="0"/>
      </c:catAx>
      <c:valAx>
        <c:axId val="1507331215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5073486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D74-48E6-91A3-8F2BBAA9CBB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D74-48E6-91A3-8F2BBAA9CBB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D74-48E6-91A3-8F2BBAA9CBB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88200000000000001</c:v>
                </c:pt>
                <c:pt idx="1">
                  <c:v>0.117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D74-48E6-91A3-8F2BBAA9CB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9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323-4D0F-9965-EA5AA953B42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323-4D0F-9965-EA5AA953B42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323-4D0F-9965-EA5AA953B42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22</c:v>
                </c:pt>
                <c:pt idx="1">
                  <c:v>0.3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323-4D0F-9965-EA5AA953B4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9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1E-4BEF-BB0E-0BD9624E783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C1E-4BEF-BB0E-0BD9624E783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C1E-4BEF-BB0E-0BD9624E783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More civil</c:v>
                </c:pt>
                <c:pt idx="1">
                  <c:v>Same</c:v>
                </c:pt>
                <c:pt idx="2">
                  <c:v>Less civil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51</c:v>
                </c:pt>
                <c:pt idx="1">
                  <c:v>0.45700000000000002</c:v>
                </c:pt>
                <c:pt idx="2">
                  <c:v>2.9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C1E-4BEF-BB0E-0BD9624E78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9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D74-48E6-91A3-8F2BBAA9CBB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D74-48E6-91A3-8F2BBAA9CBB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D74-48E6-91A3-8F2BBAA9CBB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More civil</c:v>
                </c:pt>
                <c:pt idx="1">
                  <c:v>Same</c:v>
                </c:pt>
                <c:pt idx="2">
                  <c:v>Less civil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55031086015546282</c:v>
                </c:pt>
                <c:pt idx="1">
                  <c:v>0.39943783869042454</c:v>
                </c:pt>
                <c:pt idx="2">
                  <c:v>5.0251301154112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D74-48E6-91A3-8F2BBAA9CB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9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1E-4BEF-BB0E-0BD9624E783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C1E-4BEF-BB0E-0BD9624E783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C1E-4BEF-BB0E-0BD9624E783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73799999999999999</c:v>
                </c:pt>
                <c:pt idx="1">
                  <c:v>0.262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C1E-4BEF-BB0E-0BD9624E78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9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D74-48E6-91A3-8F2BBAA9CBB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D74-48E6-91A3-8F2BBAA9CBB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D74-48E6-91A3-8F2BBAA9CBB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76800000000000002</c:v>
                </c:pt>
                <c:pt idx="1">
                  <c:v>0.232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D74-48E6-91A3-8F2BBAA9CB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9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1E-4BEF-BB0E-0BD9624E783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C1E-4BEF-BB0E-0BD9624E783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C1E-4BEF-BB0E-0BD9624E783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82899999999999996</c:v>
                </c:pt>
                <c:pt idx="1">
                  <c:v>0.17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C1E-4BEF-BB0E-0BD9624E78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9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D74-48E6-91A3-8F2BBAA9CBB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D74-48E6-91A3-8F2BBAA9CBB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D74-48E6-91A3-8F2BBAA9CBB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3400000000000001</c:v>
                </c:pt>
                <c:pt idx="1">
                  <c:v>0.365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D74-48E6-91A3-8F2BBAA9CB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9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1E-4BEF-BB0E-0BD9624E783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C1E-4BEF-BB0E-0BD9624E783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C1E-4BEF-BB0E-0BD9624E783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83499999999999996</c:v>
                </c:pt>
                <c:pt idx="1">
                  <c:v>0.164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C1E-4BEF-BB0E-0BD9624E78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9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D74-48E6-91A3-8F2BBAA9CBB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D74-48E6-91A3-8F2BBAA9CBB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D74-48E6-91A3-8F2BBAA9CBB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7400000000000004</c:v>
                </c:pt>
                <c:pt idx="1">
                  <c:v>0.32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D74-48E6-91A3-8F2BBAA9CB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9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862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>
                <a:solidFill>
                  <a:srgbClr val="595959"/>
                </a:solidFill>
              </a:rPr>
              <a:t>Top 10 DCI</a:t>
            </a:r>
          </a:p>
          <a:p>
            <a:pPr algn="l">
              <a:defRPr>
                <a:solidFill>
                  <a:srgbClr val="595959"/>
                </a:solidFill>
              </a:defRPr>
            </a:pPr>
            <a:r>
              <a:rPr lang="en-US" sz="1000">
                <a:solidFill>
                  <a:srgbClr val="595959"/>
                </a:solidFill>
              </a:rPr>
              <a:t>Base: total, n=11,067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862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Netherlands</c:v>
                </c:pt>
                <c:pt idx="1">
                  <c:v>Germany</c:v>
                </c:pt>
                <c:pt idx="2">
                  <c:v>United Kingdom</c:v>
                </c:pt>
                <c:pt idx="3">
                  <c:v>Canada</c:v>
                </c:pt>
                <c:pt idx="4">
                  <c:v>Singapore</c:v>
                </c:pt>
                <c:pt idx="5">
                  <c:v>United States</c:v>
                </c:pt>
                <c:pt idx="6">
                  <c:v>France</c:v>
                </c:pt>
                <c:pt idx="7">
                  <c:v>Australia</c:v>
                </c:pt>
                <c:pt idx="8">
                  <c:v>Chile</c:v>
                </c:pt>
                <c:pt idx="9">
                  <c:v>Italy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0.51900000000000002</c:v>
                </c:pt>
                <c:pt idx="1">
                  <c:v>0.54600000000000004</c:v>
                </c:pt>
                <c:pt idx="2">
                  <c:v>0.54900000000000004</c:v>
                </c:pt>
                <c:pt idx="3">
                  <c:v>0.57299999999999995</c:v>
                </c:pt>
                <c:pt idx="4">
                  <c:v>0.57399999999999995</c:v>
                </c:pt>
                <c:pt idx="5">
                  <c:v>0.58479999999999999</c:v>
                </c:pt>
                <c:pt idx="6">
                  <c:v>0.59699999999999998</c:v>
                </c:pt>
                <c:pt idx="7">
                  <c:v>0.61199999999999999</c:v>
                </c:pt>
                <c:pt idx="8">
                  <c:v>0.62</c:v>
                </c:pt>
                <c:pt idx="9">
                  <c:v>0.643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9F-447D-90EC-209FD4E2BAE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1507348687"/>
        <c:axId val="1507331215"/>
      </c:barChart>
      <c:catAx>
        <c:axId val="1507348687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07331215"/>
        <c:crosses val="autoZero"/>
        <c:auto val="1"/>
        <c:lblAlgn val="ctr"/>
        <c:lblOffset val="100"/>
        <c:noMultiLvlLbl val="0"/>
      </c:catAx>
      <c:valAx>
        <c:axId val="1507331215"/>
        <c:scaling>
          <c:orientation val="minMax"/>
          <c:max val="0.8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15073486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3-5-Often to occasionally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1E-4BEF-BB0E-0BD9624E783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C1E-4BEF-BB0E-0BD9624E783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C1E-4BEF-BB0E-0BD9624E783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Online</c:v>
                </c:pt>
                <c:pt idx="1">
                  <c:v>In-person</c:v>
                </c:pt>
                <c:pt idx="2">
                  <c:v>Social media</c:v>
                </c:pt>
              </c:strCache>
            </c:strRef>
          </c:cat>
          <c:val>
            <c:numRef>
              <c:f>Sheet1!$B$2:$D$2</c:f>
              <c:numCache>
                <c:formatCode>0%</c:formatCode>
                <c:ptCount val="3"/>
                <c:pt idx="0">
                  <c:v>0.33200000000000002</c:v>
                </c:pt>
                <c:pt idx="1">
                  <c:v>0.36</c:v>
                </c:pt>
                <c:pt idx="2">
                  <c:v>0.616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C1E-4BEF-BB0E-0BD9624E7832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chemeClr val="accent2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Online</c:v>
                </c:pt>
                <c:pt idx="1">
                  <c:v>In-person</c:v>
                </c:pt>
                <c:pt idx="2">
                  <c:v>Social media</c:v>
                </c:pt>
              </c:strCache>
            </c:strRef>
          </c:cat>
          <c:val>
            <c:numRef>
              <c:f>Sheet1!$B$3:$D$3</c:f>
              <c:numCache>
                <c:formatCode>0%</c:formatCode>
                <c:ptCount val="3"/>
                <c:pt idx="0">
                  <c:v>0.19900000000000001</c:v>
                </c:pt>
                <c:pt idx="1">
                  <c:v>0.222</c:v>
                </c:pt>
                <c:pt idx="2">
                  <c:v>0.1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535-4464-9095-5815F45E6D4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1-Never</c:v>
                </c:pt>
              </c:strCache>
            </c:strRef>
          </c:tx>
          <c:spPr>
            <a:solidFill>
              <a:schemeClr val="accent3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Online</c:v>
                </c:pt>
                <c:pt idx="1">
                  <c:v>In-person</c:v>
                </c:pt>
                <c:pt idx="2">
                  <c:v>Social media</c:v>
                </c:pt>
              </c:strCache>
            </c:strRef>
          </c:cat>
          <c:val>
            <c:numRef>
              <c:f>Sheet1!$B$4:$D$4</c:f>
              <c:numCache>
                <c:formatCode>0%</c:formatCode>
                <c:ptCount val="3"/>
                <c:pt idx="0">
                  <c:v>0.46899999999999997</c:v>
                </c:pt>
                <c:pt idx="1">
                  <c:v>0.41699999999999998</c:v>
                </c:pt>
                <c:pt idx="2">
                  <c:v>0.194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A9E-408F-A327-8387C24BF1D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359764991"/>
        <c:axId val="359773311"/>
      </c:barChart>
      <c:catAx>
        <c:axId val="35976499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73311"/>
        <c:crosses val="autoZero"/>
        <c:auto val="1"/>
        <c:lblAlgn val="ctr"/>
        <c:lblOffset val="100"/>
        <c:noMultiLvlLbl val="0"/>
      </c:catAx>
      <c:valAx>
        <c:axId val="35977331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649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3-5-Often to ocassionally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D79-44BF-B788-04A5C2EC2516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D79-44BF-B788-04A5C2EC251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D79-44BF-B788-04A5C2EC251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Online</c:v>
                </c:pt>
                <c:pt idx="1">
                  <c:v>In-person</c:v>
                </c:pt>
                <c:pt idx="2">
                  <c:v>Social media</c:v>
                </c:pt>
              </c:strCache>
            </c:strRef>
          </c:cat>
          <c:val>
            <c:numRef>
              <c:f>Sheet1!$B$2:$D$2</c:f>
              <c:numCache>
                <c:formatCode>0%</c:formatCode>
                <c:ptCount val="3"/>
                <c:pt idx="0">
                  <c:v>0.35</c:v>
                </c:pt>
                <c:pt idx="1">
                  <c:v>0.47</c:v>
                </c:pt>
                <c:pt idx="2">
                  <c:v>0.64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D79-44BF-B788-04A5C2EC2516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chemeClr val="accent2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Online</c:v>
                </c:pt>
                <c:pt idx="1">
                  <c:v>In-person</c:v>
                </c:pt>
                <c:pt idx="2">
                  <c:v>Social media</c:v>
                </c:pt>
              </c:strCache>
            </c:strRef>
          </c:cat>
          <c:val>
            <c:numRef>
              <c:f>Sheet1!$B$3:$D$3</c:f>
              <c:numCache>
                <c:formatCode>0%</c:formatCode>
                <c:ptCount val="3"/>
                <c:pt idx="0">
                  <c:v>0.23</c:v>
                </c:pt>
                <c:pt idx="1">
                  <c:v>0.25</c:v>
                </c:pt>
                <c:pt idx="2">
                  <c:v>0.206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79-44BF-B788-04A5C2EC2516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1-Never</c:v>
                </c:pt>
              </c:strCache>
            </c:strRef>
          </c:tx>
          <c:spPr>
            <a:solidFill>
              <a:schemeClr val="accent3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Online</c:v>
                </c:pt>
                <c:pt idx="1">
                  <c:v>In-person</c:v>
                </c:pt>
                <c:pt idx="2">
                  <c:v>Social media</c:v>
                </c:pt>
              </c:strCache>
            </c:strRef>
          </c:cat>
          <c:val>
            <c:numRef>
              <c:f>Sheet1!$B$4:$D$4</c:f>
              <c:numCache>
                <c:formatCode>0%</c:formatCode>
                <c:ptCount val="3"/>
                <c:pt idx="0">
                  <c:v>0.42</c:v>
                </c:pt>
                <c:pt idx="1">
                  <c:v>0.28000000000000003</c:v>
                </c:pt>
                <c:pt idx="2">
                  <c:v>0.145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D79-44BF-B788-04A5C2EC251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359764991"/>
        <c:axId val="359773311"/>
      </c:barChart>
      <c:catAx>
        <c:axId val="35976499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73311"/>
        <c:crosses val="autoZero"/>
        <c:auto val="1"/>
        <c:lblAlgn val="ctr"/>
        <c:lblOffset val="100"/>
        <c:noMultiLvlLbl val="0"/>
      </c:catAx>
      <c:valAx>
        <c:axId val="35977331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649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ave not heard of i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B$2:$B$6</c:f>
              <c:numCache>
                <c:formatCode>0%</c:formatCode>
                <c:ptCount val="5"/>
                <c:pt idx="0">
                  <c:v>0.76</c:v>
                </c:pt>
                <c:pt idx="1">
                  <c:v>0.73</c:v>
                </c:pt>
                <c:pt idx="2">
                  <c:v>0.67</c:v>
                </c:pt>
                <c:pt idx="3">
                  <c:v>0.71</c:v>
                </c:pt>
                <c:pt idx="4">
                  <c:v>0.703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526-4B4A-BE6E-28EF1317A9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Know the name onl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C$2:$C$6</c:f>
              <c:numCache>
                <c:formatCode>0%</c:formatCode>
                <c:ptCount val="5"/>
                <c:pt idx="0">
                  <c:v>0.14000000000000001</c:v>
                </c:pt>
                <c:pt idx="1">
                  <c:v>0.16</c:v>
                </c:pt>
                <c:pt idx="2">
                  <c:v>0.18</c:v>
                </c:pt>
                <c:pt idx="3">
                  <c:v>0.17</c:v>
                </c:pt>
                <c:pt idx="4">
                  <c:v>0.17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526-4B4A-BE6E-28EF1317A9A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now a little about i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D$2:$D$6</c:f>
              <c:numCache>
                <c:formatCode>0%</c:formatCode>
                <c:ptCount val="5"/>
                <c:pt idx="0">
                  <c:v>0.08</c:v>
                </c:pt>
                <c:pt idx="1">
                  <c:v>0.09</c:v>
                </c:pt>
                <c:pt idx="2">
                  <c:v>0.11</c:v>
                </c:pt>
                <c:pt idx="3">
                  <c:v>0.1</c:v>
                </c:pt>
                <c:pt idx="4">
                  <c:v>9.9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526-4B4A-BE6E-28EF1317A9A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Know it well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E$2:$E$6</c:f>
              <c:numCache>
                <c:formatCode>0%</c:formatCode>
                <c:ptCount val="5"/>
                <c:pt idx="0">
                  <c:v>0.02</c:v>
                </c:pt>
                <c:pt idx="1">
                  <c:v>0.02</c:v>
                </c:pt>
                <c:pt idx="2">
                  <c:v>0.03</c:v>
                </c:pt>
                <c:pt idx="3">
                  <c:v>0.02</c:v>
                </c:pt>
                <c:pt idx="4">
                  <c:v>2.1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526-4B4A-BE6E-28EF1317A9A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681525295"/>
        <c:axId val="681524047"/>
      </c:barChart>
      <c:catAx>
        <c:axId val="6815252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1524047"/>
        <c:crosses val="autoZero"/>
        <c:auto val="1"/>
        <c:lblAlgn val="ctr"/>
        <c:lblOffset val="100"/>
        <c:noMultiLvlLbl val="0"/>
      </c:catAx>
      <c:valAx>
        <c:axId val="6815240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152529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3</c:f>
              <c:strCache>
                <c:ptCount val="22"/>
                <c:pt idx="0">
                  <c:v>NL</c:v>
                </c:pt>
                <c:pt idx="1">
                  <c:v>DE</c:v>
                </c:pt>
                <c:pt idx="2">
                  <c:v>UK</c:v>
                </c:pt>
                <c:pt idx="3">
                  <c:v>CA</c:v>
                </c:pt>
                <c:pt idx="4">
                  <c:v>SG</c:v>
                </c:pt>
                <c:pt idx="5">
                  <c:v>US</c:v>
                </c:pt>
                <c:pt idx="6">
                  <c:v>FR</c:v>
                </c:pt>
                <c:pt idx="7">
                  <c:v>AU</c:v>
                </c:pt>
                <c:pt idx="8">
                  <c:v>CL</c:v>
                </c:pt>
                <c:pt idx="9">
                  <c:v>IT</c:v>
                </c:pt>
                <c:pt idx="10">
                  <c:v>PL</c:v>
                </c:pt>
                <c:pt idx="11">
                  <c:v>IE</c:v>
                </c:pt>
                <c:pt idx="12">
                  <c:v>PH</c:v>
                </c:pt>
                <c:pt idx="13">
                  <c:v>MX</c:v>
                </c:pt>
                <c:pt idx="14">
                  <c:v>SE</c:v>
                </c:pt>
                <c:pt idx="15">
                  <c:v>HU</c:v>
                </c:pt>
                <c:pt idx="16">
                  <c:v>BR</c:v>
                </c:pt>
                <c:pt idx="17">
                  <c:v>IN</c:v>
                </c:pt>
                <c:pt idx="18">
                  <c:v>PE</c:v>
                </c:pt>
                <c:pt idx="19">
                  <c:v>AR</c:v>
                </c:pt>
                <c:pt idx="20">
                  <c:v>RU</c:v>
                </c:pt>
                <c:pt idx="21">
                  <c:v>CO</c:v>
                </c:pt>
              </c:strCache>
            </c:strRef>
          </c:cat>
          <c:val>
            <c:numRef>
              <c:f>Sheet1!$B$2:$B$23</c:f>
              <c:numCache>
                <c:formatCode>0%</c:formatCode>
                <c:ptCount val="22"/>
                <c:pt idx="0">
                  <c:v>0.51900000000000002</c:v>
                </c:pt>
                <c:pt idx="1">
                  <c:v>0.54600000000000004</c:v>
                </c:pt>
                <c:pt idx="2">
                  <c:v>0.54900000000000004</c:v>
                </c:pt>
                <c:pt idx="3">
                  <c:v>0.57299999999999995</c:v>
                </c:pt>
                <c:pt idx="4">
                  <c:v>0.57399999999999995</c:v>
                </c:pt>
                <c:pt idx="5">
                  <c:v>0.58479999999999999</c:v>
                </c:pt>
                <c:pt idx="6">
                  <c:v>0.59699999999999998</c:v>
                </c:pt>
                <c:pt idx="7">
                  <c:v>0.61199999999999999</c:v>
                </c:pt>
                <c:pt idx="8">
                  <c:v>0.62</c:v>
                </c:pt>
                <c:pt idx="9">
                  <c:v>0.64300000000000002</c:v>
                </c:pt>
                <c:pt idx="10">
                  <c:v>0.65400000000000003</c:v>
                </c:pt>
                <c:pt idx="11">
                  <c:v>0.65469999999999995</c:v>
                </c:pt>
                <c:pt idx="12">
                  <c:v>0.66300000000000003</c:v>
                </c:pt>
                <c:pt idx="13">
                  <c:v>0.68400000000000005</c:v>
                </c:pt>
                <c:pt idx="14">
                  <c:v>0.69899999999999995</c:v>
                </c:pt>
                <c:pt idx="15">
                  <c:v>0.70399999999999996</c:v>
                </c:pt>
                <c:pt idx="16">
                  <c:v>0.71199999999999997</c:v>
                </c:pt>
                <c:pt idx="17">
                  <c:v>0.71399999999999997</c:v>
                </c:pt>
                <c:pt idx="18">
                  <c:v>0.72</c:v>
                </c:pt>
                <c:pt idx="19">
                  <c:v>0.72</c:v>
                </c:pt>
                <c:pt idx="20">
                  <c:v>0.74099999999999999</c:v>
                </c:pt>
                <c:pt idx="21">
                  <c:v>0.76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41-411B-892D-1D91855B58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2055085615"/>
        <c:axId val="2055078543"/>
      </c:barChart>
      <c:catAx>
        <c:axId val="2055085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5078543"/>
        <c:crosses val="autoZero"/>
        <c:auto val="1"/>
        <c:lblAlgn val="ctr"/>
        <c:lblOffset val="100"/>
        <c:noMultiLvlLbl val="0"/>
      </c:catAx>
      <c:valAx>
        <c:axId val="2055078543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20550856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Sheet1!$A$3:$A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A$3:$A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DF93-4B9B-87FB-B066A345ACC2}"/>
            </c:ext>
          </c:extLst>
        </c:ser>
        <c:ser>
          <c:idx val="1"/>
          <c:order val="1"/>
          <c:spPr>
            <a:ln w="76200" cap="rnd">
              <a:solidFill>
                <a:srgbClr val="0078D4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:$A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3:$B$6</c:f>
              <c:numCache>
                <c:formatCode>0%</c:formatCode>
                <c:ptCount val="4"/>
                <c:pt idx="0">
                  <c:v>0.30554703001896749</c:v>
                </c:pt>
                <c:pt idx="1">
                  <c:v>0.28199999999999997</c:v>
                </c:pt>
                <c:pt idx="2">
                  <c:v>0.34399999999999997</c:v>
                </c:pt>
                <c:pt idx="3">
                  <c:v>0.3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F93-4B9B-87FB-B066A345AC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26661048"/>
        <c:axId val="626662968"/>
        <c:extLst/>
      </c:lineChart>
      <c:catAx>
        <c:axId val="6266610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6662968"/>
        <c:crosses val="autoZero"/>
        <c:auto val="1"/>
        <c:lblAlgn val="ctr"/>
        <c:lblOffset val="100"/>
        <c:noMultiLvlLbl val="0"/>
      </c:catAx>
      <c:valAx>
        <c:axId val="626662968"/>
        <c:scaling>
          <c:orientation val="minMax"/>
          <c:max val="0.70000000000000007"/>
          <c:min val="0.1"/>
        </c:scaling>
        <c:delete val="1"/>
        <c:axPos val="l"/>
        <c:numFmt formatCode="General" sourceLinked="1"/>
        <c:majorTickMark val="out"/>
        <c:minorTickMark val="none"/>
        <c:tickLblPos val="nextTo"/>
        <c:crossAx val="626661048"/>
        <c:crosses val="autoZero"/>
        <c:crossBetween val="between"/>
      </c:valAx>
      <c:spPr>
        <a:solidFill>
          <a:srgbClr val="0078D4">
            <a:alpha val="9804"/>
          </a:srgbClr>
        </a:solidFill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Sheet1!$A$3:$A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A$3:$A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FD36-4776-B359-2C0599FE25E4}"/>
            </c:ext>
          </c:extLst>
        </c:ser>
        <c:ser>
          <c:idx val="1"/>
          <c:order val="1"/>
          <c:spPr>
            <a:ln w="76200" cap="rnd">
              <a:solidFill>
                <a:srgbClr val="0078D4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:$A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3:$B$6</c:f>
              <c:numCache>
                <c:formatCode>0%</c:formatCode>
                <c:ptCount val="4"/>
                <c:pt idx="0">
                  <c:v>0.24105252114233014</c:v>
                </c:pt>
                <c:pt idx="1">
                  <c:v>0.214</c:v>
                </c:pt>
                <c:pt idx="2">
                  <c:v>0.253</c:v>
                </c:pt>
                <c:pt idx="3">
                  <c:v>0.262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D36-4776-B359-2C0599FE25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26661048"/>
        <c:axId val="626662968"/>
        <c:extLst/>
      </c:lineChart>
      <c:catAx>
        <c:axId val="6266610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6662968"/>
        <c:crosses val="autoZero"/>
        <c:auto val="1"/>
        <c:lblAlgn val="ctr"/>
        <c:lblOffset val="100"/>
        <c:noMultiLvlLbl val="0"/>
      </c:catAx>
      <c:valAx>
        <c:axId val="626662968"/>
        <c:scaling>
          <c:orientation val="minMax"/>
          <c:max val="0.70000000000000007"/>
          <c:min val="0.1"/>
        </c:scaling>
        <c:delete val="1"/>
        <c:axPos val="l"/>
        <c:numFmt formatCode="General" sourceLinked="1"/>
        <c:majorTickMark val="out"/>
        <c:minorTickMark val="none"/>
        <c:tickLblPos val="nextTo"/>
        <c:crossAx val="626661048"/>
        <c:crosses val="autoZero"/>
        <c:crossBetween val="between"/>
      </c:valAx>
      <c:spPr>
        <a:solidFill>
          <a:srgbClr val="0078D4">
            <a:alpha val="9804"/>
          </a:srgbClr>
        </a:solidFill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Sheet1!$A$3:$A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A$3:$A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4D4B-4F24-8824-7DE289EE4670}"/>
            </c:ext>
          </c:extLst>
        </c:ser>
        <c:ser>
          <c:idx val="1"/>
          <c:order val="1"/>
          <c:spPr>
            <a:ln w="76200" cap="rnd">
              <a:solidFill>
                <a:srgbClr val="0078D4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:$A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3:$B$6</c:f>
              <c:numCache>
                <c:formatCode>0%</c:formatCode>
                <c:ptCount val="4"/>
                <c:pt idx="0">
                  <c:v>0.15521617398447013</c:v>
                </c:pt>
                <c:pt idx="1">
                  <c:v>0.157</c:v>
                </c:pt>
                <c:pt idx="2">
                  <c:v>0.214</c:v>
                </c:pt>
                <c:pt idx="3">
                  <c:v>0.2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D4B-4F24-8824-7DE289EE46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26661048"/>
        <c:axId val="626662968"/>
        <c:extLst/>
      </c:lineChart>
      <c:catAx>
        <c:axId val="6266610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6662968"/>
        <c:crosses val="autoZero"/>
        <c:auto val="1"/>
        <c:lblAlgn val="ctr"/>
        <c:lblOffset val="100"/>
        <c:noMultiLvlLbl val="0"/>
      </c:catAx>
      <c:valAx>
        <c:axId val="626662968"/>
        <c:scaling>
          <c:orientation val="minMax"/>
          <c:max val="0.70000000000000007"/>
          <c:min val="0.1"/>
        </c:scaling>
        <c:delete val="1"/>
        <c:axPos val="l"/>
        <c:numFmt formatCode="General" sourceLinked="1"/>
        <c:majorTickMark val="out"/>
        <c:minorTickMark val="none"/>
        <c:tickLblPos val="nextTo"/>
        <c:crossAx val="626661048"/>
        <c:crosses val="autoZero"/>
        <c:crossBetween val="between"/>
      </c:valAx>
      <c:spPr>
        <a:solidFill>
          <a:srgbClr val="0078D4">
            <a:alpha val="9804"/>
          </a:srgbClr>
        </a:solidFill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Sheet1!$A$3:$A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A$3:$A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BAF0-4E0A-8436-2282BE002075}"/>
            </c:ext>
          </c:extLst>
        </c:ser>
        <c:ser>
          <c:idx val="1"/>
          <c:order val="1"/>
          <c:spPr>
            <a:ln w="76200" cap="rnd">
              <a:solidFill>
                <a:srgbClr val="0078D4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:$A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3:$B$6</c:f>
              <c:numCache>
                <c:formatCode>0%</c:formatCode>
                <c:ptCount val="4"/>
                <c:pt idx="0">
                  <c:v>0.15126744307401382</c:v>
                </c:pt>
                <c:pt idx="1">
                  <c:v>0.14399999999999999</c:v>
                </c:pt>
                <c:pt idx="2">
                  <c:v>0.20100000000000001</c:v>
                </c:pt>
                <c:pt idx="3">
                  <c:v>0.202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AF0-4E0A-8436-2282BE0020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26661048"/>
        <c:axId val="626662968"/>
        <c:extLst/>
      </c:lineChart>
      <c:catAx>
        <c:axId val="6266610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6662968"/>
        <c:crosses val="autoZero"/>
        <c:auto val="1"/>
        <c:lblAlgn val="ctr"/>
        <c:lblOffset val="100"/>
        <c:noMultiLvlLbl val="0"/>
      </c:catAx>
      <c:valAx>
        <c:axId val="626662968"/>
        <c:scaling>
          <c:orientation val="minMax"/>
          <c:max val="0.70000000000000007"/>
          <c:min val="0.1"/>
        </c:scaling>
        <c:delete val="1"/>
        <c:axPos val="l"/>
        <c:numFmt formatCode="General" sourceLinked="1"/>
        <c:majorTickMark val="out"/>
        <c:minorTickMark val="none"/>
        <c:tickLblPos val="nextTo"/>
        <c:crossAx val="626661048"/>
        <c:crosses val="autoZero"/>
        <c:crossBetween val="between"/>
      </c:valAx>
      <c:spPr>
        <a:solidFill>
          <a:srgbClr val="0078D4">
            <a:alpha val="9804"/>
          </a:srgbClr>
        </a:solidFill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Sheet1!$A$3:$A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A$3:$A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7E69-40D0-BAB3-6D649704C900}"/>
            </c:ext>
          </c:extLst>
        </c:ser>
        <c:ser>
          <c:idx val="1"/>
          <c:order val="1"/>
          <c:spPr>
            <a:ln w="76200" cap="rnd">
              <a:solidFill>
                <a:srgbClr val="0078D4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:$A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3:$B$6</c:f>
              <c:numCache>
                <c:formatCode>0%</c:formatCode>
                <c:ptCount val="4"/>
                <c:pt idx="0">
                  <c:v>0.51</c:v>
                </c:pt>
                <c:pt idx="1">
                  <c:v>0.5</c:v>
                </c:pt>
                <c:pt idx="2">
                  <c:v>0.56999999999999995</c:v>
                </c:pt>
                <c:pt idx="3">
                  <c:v>0.55700000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E69-40D0-BAB3-6D649704C9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26661048"/>
        <c:axId val="626662968"/>
        <c:extLst/>
      </c:lineChart>
      <c:catAx>
        <c:axId val="6266610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6662968"/>
        <c:crosses val="autoZero"/>
        <c:auto val="1"/>
        <c:lblAlgn val="ctr"/>
        <c:lblOffset val="100"/>
        <c:noMultiLvlLbl val="0"/>
      </c:catAx>
      <c:valAx>
        <c:axId val="626662968"/>
        <c:scaling>
          <c:orientation val="minMax"/>
          <c:max val="0.70000000000000007"/>
          <c:min val="0.1"/>
        </c:scaling>
        <c:delete val="1"/>
        <c:axPos val="l"/>
        <c:numFmt formatCode="General" sourceLinked="1"/>
        <c:majorTickMark val="out"/>
        <c:minorTickMark val="none"/>
        <c:tickLblPos val="nextTo"/>
        <c:crossAx val="626661048"/>
        <c:crosses val="autoZero"/>
        <c:crossBetween val="between"/>
      </c:valAx>
      <c:spPr>
        <a:solidFill>
          <a:srgbClr val="0078D4">
            <a:alpha val="9804"/>
          </a:srgbClr>
        </a:solidFill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>
                <a:solidFill>
                  <a:srgbClr val="595959"/>
                </a:solidFill>
              </a:rPr>
              <a:t>Sources of ri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pPr>
            <a:r>
              <a:rPr lang="en-US" sz="1000" b="0" i="0" baseline="0">
                <a:effectLst/>
              </a:rPr>
              <a:t>Base: experienced a risk, n=7,154</a:t>
            </a:r>
            <a:endParaRPr lang="en-US" sz="1000">
              <a:effectLst/>
            </a:endParaRPr>
          </a:p>
        </c:rich>
      </c:tx>
      <c:layout>
        <c:manualLayout>
          <c:xMode val="edge"/>
          <c:yMode val="edge"/>
          <c:x val="8.0035409774961597E-2"/>
          <c:y val="1.751185497426308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tranger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1:$F$1</c:f>
              <c:strCach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strCache>
            </c:strRef>
          </c:cat>
          <c:val>
            <c:numRef>
              <c:f>Sheet1!$C$2:$F$2</c:f>
              <c:numCache>
                <c:formatCode>0%</c:formatCode>
                <c:ptCount val="4"/>
                <c:pt idx="0">
                  <c:v>0.37</c:v>
                </c:pt>
                <c:pt idx="1">
                  <c:v>0.39</c:v>
                </c:pt>
                <c:pt idx="2">
                  <c:v>0.40600000000000003</c:v>
                </c:pt>
                <c:pt idx="3">
                  <c:v>0.394973165090245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83-4FA1-ADD4-4D5ACB4C5FC6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Know online onl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1:$F$1</c:f>
              <c:strCach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strCache>
            </c:strRef>
          </c:cat>
          <c:val>
            <c:numRef>
              <c:f>Sheet1!$C$3:$F$3</c:f>
              <c:numCache>
                <c:formatCode>0%</c:formatCode>
                <c:ptCount val="4"/>
                <c:pt idx="0">
                  <c:v>0.26</c:v>
                </c:pt>
                <c:pt idx="1">
                  <c:v>0.27</c:v>
                </c:pt>
                <c:pt idx="2">
                  <c:v>0.31</c:v>
                </c:pt>
                <c:pt idx="3">
                  <c:v>0.291430811251489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E83-4FA1-ADD4-4D5ACB4C5FC6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Aquaintanc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1:$F$1</c:f>
              <c:strCach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strCache>
            </c:strRef>
          </c:cat>
          <c:val>
            <c:numRef>
              <c:f>Sheet1!$C$4:$F$4</c:f>
              <c:numCache>
                <c:formatCode>0%</c:formatCode>
                <c:ptCount val="4"/>
                <c:pt idx="0">
                  <c:v>0.21</c:v>
                </c:pt>
                <c:pt idx="1">
                  <c:v>0.23</c:v>
                </c:pt>
                <c:pt idx="2">
                  <c:v>0.24</c:v>
                </c:pt>
                <c:pt idx="3">
                  <c:v>0.248231476356593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E83-4FA1-ADD4-4D5ACB4C5FC6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Co-workers, colleague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1:$F$1</c:f>
              <c:strCach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strCache>
            </c:strRef>
          </c:cat>
          <c:val>
            <c:numRef>
              <c:f>Sheet1!$C$5:$F$5</c:f>
              <c:numCache>
                <c:formatCode>0%</c:formatCode>
                <c:ptCount val="4"/>
                <c:pt idx="0">
                  <c:v>0.09</c:v>
                </c:pt>
                <c:pt idx="1">
                  <c:v>0.09</c:v>
                </c:pt>
                <c:pt idx="2">
                  <c:v>0.106</c:v>
                </c:pt>
                <c:pt idx="3">
                  <c:v>0.100641765118419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E83-4FA1-ADD4-4D5ACB4C5FC6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Friends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1:$F$1</c:f>
              <c:strCach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strCache>
            </c:strRef>
          </c:cat>
          <c:val>
            <c:numRef>
              <c:f>Sheet1!$C$6:$F$6</c:f>
              <c:numCache>
                <c:formatCode>0%</c:formatCode>
                <c:ptCount val="4"/>
                <c:pt idx="0">
                  <c:v>0.2</c:v>
                </c:pt>
                <c:pt idx="1">
                  <c:v>0.21</c:v>
                </c:pt>
                <c:pt idx="2">
                  <c:v>0.21899999999999997</c:v>
                </c:pt>
                <c:pt idx="3">
                  <c:v>0.231097834529675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E83-4FA1-ADD4-4D5ACB4C5FC6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Family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1:$F$1</c:f>
              <c:strCach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strCache>
            </c:strRef>
          </c:cat>
          <c:val>
            <c:numRef>
              <c:f>Sheet1!$C$7:$F$7</c:f>
              <c:numCache>
                <c:formatCode>0%</c:formatCode>
                <c:ptCount val="4"/>
                <c:pt idx="0">
                  <c:v>0.08</c:v>
                </c:pt>
                <c:pt idx="1">
                  <c:v>0.09</c:v>
                </c:pt>
                <c:pt idx="2">
                  <c:v>9.1999999999999998E-2</c:v>
                </c:pt>
                <c:pt idx="3">
                  <c:v>0.100468994147542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E83-4FA1-ADD4-4D5ACB4C5FC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876024239"/>
        <c:axId val="876026735"/>
      </c:barChart>
      <c:catAx>
        <c:axId val="8760242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6026735"/>
        <c:crosses val="autoZero"/>
        <c:auto val="1"/>
        <c:lblAlgn val="ctr"/>
        <c:lblOffset val="100"/>
        <c:noMultiLvlLbl val="0"/>
      </c:catAx>
      <c:valAx>
        <c:axId val="876026735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8760242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862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>
                <a:solidFill>
                  <a:srgbClr val="595959"/>
                </a:solidFill>
              </a:rPr>
              <a:t>36% of geos significantly improved DCI</a:t>
            </a:r>
          </a:p>
          <a:p>
            <a:pPr algn="l">
              <a:defRPr>
                <a:solidFill>
                  <a:srgbClr val="595959"/>
                </a:solidFill>
              </a:defRPr>
            </a:pPr>
            <a:r>
              <a:rPr lang="en-US" sz="1000">
                <a:solidFill>
                  <a:srgbClr val="595959"/>
                </a:solidFill>
              </a:rPr>
              <a:t>YoY change in DCI*, Base: total, n=11,067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862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Mexico</c:v>
                </c:pt>
                <c:pt idx="1">
                  <c:v>Germany</c:v>
                </c:pt>
                <c:pt idx="2">
                  <c:v>Russia</c:v>
                </c:pt>
                <c:pt idx="3">
                  <c:v>Ireland</c:v>
                </c:pt>
                <c:pt idx="4">
                  <c:v>Canada</c:v>
                </c:pt>
                <c:pt idx="5">
                  <c:v>Chile</c:v>
                </c:pt>
                <c:pt idx="6">
                  <c:v>Poland</c:v>
                </c:pt>
                <c:pt idx="7">
                  <c:v>Sweden</c:v>
                </c:pt>
              </c:strCache>
            </c:strRef>
          </c:cat>
          <c:val>
            <c:numRef>
              <c:f>Sheet1!$B$2:$B$9</c:f>
              <c:numCache>
                <c:formatCode>0</c:formatCode>
                <c:ptCount val="8"/>
                <c:pt idx="0">
                  <c:v>7</c:v>
                </c:pt>
                <c:pt idx="1">
                  <c:v>7</c:v>
                </c:pt>
                <c:pt idx="2">
                  <c:v>6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4</c:v>
                </c:pt>
                <c:pt idx="7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A8-4CC9-9592-D8064660C9A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1507348687"/>
        <c:axId val="1507331215"/>
      </c:barChart>
      <c:catAx>
        <c:axId val="1507348687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07331215"/>
        <c:crosses val="autoZero"/>
        <c:auto val="1"/>
        <c:lblAlgn val="ctr"/>
        <c:lblOffset val="100"/>
        <c:noMultiLvlLbl val="0"/>
      </c:catAx>
      <c:valAx>
        <c:axId val="1507331215"/>
        <c:scaling>
          <c:orientation val="minMax"/>
          <c:max val="10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out"/>
        <c:minorTickMark val="none"/>
        <c:tickLblPos val="nextTo"/>
        <c:crossAx val="15073486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>
                <a:solidFill>
                  <a:srgbClr val="595959"/>
                </a:solidFill>
              </a:rPr>
              <a:t>How</a:t>
            </a:r>
            <a:r>
              <a:rPr lang="en-US" sz="1600" baseline="0">
                <a:solidFill>
                  <a:srgbClr val="595959"/>
                </a:solidFill>
              </a:rPr>
              <a:t> recently did the risk occu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pPr>
            <a:r>
              <a:rPr lang="en-US" sz="1000" b="0" i="0" baseline="0">
                <a:effectLst/>
              </a:rPr>
              <a:t>Base: experienced a risk, n=7,154</a:t>
            </a:r>
            <a:endParaRPr lang="en-US" sz="1000">
              <a:effectLst/>
            </a:endParaRPr>
          </a:p>
        </c:rich>
      </c:tx>
      <c:layout>
        <c:manualLayout>
          <c:xMode val="edge"/>
          <c:yMode val="edge"/>
          <c:x val="5.3266179005730822E-2"/>
          <c:y val="1.751185497426308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Past Week</c:v>
                </c:pt>
              </c:strCache>
            </c:strRef>
          </c:tx>
          <c:spPr>
            <a:ln w="762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E$1</c:f>
              <c:strCach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strCache>
            </c:strRef>
          </c:cat>
          <c:val>
            <c:numRef>
              <c:f>Sheet1!$B$2:$E$2</c:f>
              <c:numCache>
                <c:formatCode>0%</c:formatCode>
                <c:ptCount val="4"/>
                <c:pt idx="0">
                  <c:v>0.1</c:v>
                </c:pt>
                <c:pt idx="1">
                  <c:v>0.12</c:v>
                </c:pt>
                <c:pt idx="2">
                  <c:v>0.16</c:v>
                </c:pt>
                <c:pt idx="3">
                  <c:v>0.146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5A7-4A21-A50D-37349A3A4659}"/>
            </c:ext>
          </c:extLst>
        </c:ser>
        <c:ser>
          <c:idx val="3"/>
          <c:order val="1"/>
          <c:tx>
            <c:strRef>
              <c:f>Sheet1!$A$3</c:f>
              <c:strCache>
                <c:ptCount val="1"/>
                <c:pt idx="0">
                  <c:v>Past Month</c:v>
                </c:pt>
              </c:strCache>
            </c:strRef>
          </c:tx>
          <c:spPr>
            <a:ln w="7620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E$1</c:f>
              <c:strCach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strCache>
            </c:strRef>
          </c:cat>
          <c:val>
            <c:numRef>
              <c:f>Sheet1!$B$3:$E$3</c:f>
              <c:numCache>
                <c:formatCode>0%</c:formatCode>
                <c:ptCount val="4"/>
                <c:pt idx="0">
                  <c:v>0.2</c:v>
                </c:pt>
                <c:pt idx="1">
                  <c:v>0.28000000000000003</c:v>
                </c:pt>
                <c:pt idx="2">
                  <c:v>0.28999999999999998</c:v>
                </c:pt>
                <c:pt idx="3">
                  <c:v>0.2710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5A7-4A21-A50D-37349A3A4659}"/>
            </c:ext>
          </c:extLst>
        </c:ser>
        <c:ser>
          <c:idx val="0"/>
          <c:order val="2"/>
          <c:tx>
            <c:strRef>
              <c:f>Sheet1!$A$4</c:f>
              <c:strCache>
                <c:ptCount val="1"/>
                <c:pt idx="0">
                  <c:v>Past Year</c:v>
                </c:pt>
              </c:strCache>
            </c:strRef>
          </c:tx>
          <c:spPr>
            <a:ln w="762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E$1</c:f>
              <c:strCach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strCache>
            </c:strRef>
          </c:cat>
          <c:val>
            <c:numRef>
              <c:f>Sheet1!$B$4:$E$4</c:f>
              <c:numCache>
                <c:formatCode>0%</c:formatCode>
                <c:ptCount val="4"/>
                <c:pt idx="0">
                  <c:v>0.36</c:v>
                </c:pt>
                <c:pt idx="1">
                  <c:v>0.47</c:v>
                </c:pt>
                <c:pt idx="2">
                  <c:v>0.42</c:v>
                </c:pt>
                <c:pt idx="3">
                  <c:v>0.3960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5A7-4A21-A50D-37349A3A4659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59714655"/>
        <c:axId val="359715487"/>
        <c:extLst/>
      </c:lineChart>
      <c:catAx>
        <c:axId val="3597146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0.5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Use several times a da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&gt;1x/da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Messaging/texting apps</c:v>
                </c:pt>
                <c:pt idx="1">
                  <c:v>Social media apps</c:v>
                </c:pt>
                <c:pt idx="2">
                  <c:v>Personal email</c:v>
                </c:pt>
                <c:pt idx="3">
                  <c:v>Online gaming</c:v>
                </c:pt>
                <c:pt idx="4">
                  <c:v>Personal video calls</c:v>
                </c:pt>
                <c:pt idx="5">
                  <c:v>Forums &amp; discussion sites</c:v>
                </c:pt>
                <c:pt idx="6">
                  <c:v>Online dating                 (adults)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68100000000000005</c:v>
                </c:pt>
                <c:pt idx="1">
                  <c:v>0.64</c:v>
                </c:pt>
                <c:pt idx="2">
                  <c:v>0.53400000000000003</c:v>
                </c:pt>
                <c:pt idx="3">
                  <c:v>0.25900000000000001</c:v>
                </c:pt>
                <c:pt idx="4">
                  <c:v>0.19700000000000001</c:v>
                </c:pt>
                <c:pt idx="5">
                  <c:v>0.111</c:v>
                </c:pt>
                <c:pt idx="6">
                  <c:v>4.7E-2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88D1-4BB0-9C6B-B19288AF851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x/day</c:v>
                </c:pt>
              </c:strCache>
            </c:strRef>
          </c:tx>
          <c:spPr>
            <a:solidFill>
              <a:srgbClr val="51E5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Messaging/texting apps</c:v>
                </c:pt>
                <c:pt idx="1">
                  <c:v>Social media apps</c:v>
                </c:pt>
                <c:pt idx="2">
                  <c:v>Personal email</c:v>
                </c:pt>
                <c:pt idx="3">
                  <c:v>Online gaming</c:v>
                </c:pt>
                <c:pt idx="4">
                  <c:v>Personal video calls</c:v>
                </c:pt>
                <c:pt idx="5">
                  <c:v>Forums &amp; discussion sites</c:v>
                </c:pt>
                <c:pt idx="6">
                  <c:v>Online dating                 (adults)</c:v>
                </c:pt>
              </c:strCache>
            </c:strRef>
          </c:cat>
          <c:val>
            <c:numRef>
              <c:f>Sheet1!$C$2:$C$8</c:f>
              <c:numCache>
                <c:formatCode>0%</c:formatCode>
                <c:ptCount val="7"/>
                <c:pt idx="0">
                  <c:v>0.16400000000000001</c:v>
                </c:pt>
                <c:pt idx="1">
                  <c:v>0.19900000000000001</c:v>
                </c:pt>
                <c:pt idx="2">
                  <c:v>0.25700000000000001</c:v>
                </c:pt>
                <c:pt idx="3">
                  <c:v>0.214</c:v>
                </c:pt>
                <c:pt idx="4">
                  <c:v>0.246</c:v>
                </c:pt>
                <c:pt idx="5">
                  <c:v>0.17</c:v>
                </c:pt>
                <c:pt idx="6">
                  <c:v>6.0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FE-4D30-911E-7C4D5ABEC6D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&lt;1x /da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Messaging/texting apps</c:v>
                </c:pt>
                <c:pt idx="1">
                  <c:v>Social media apps</c:v>
                </c:pt>
                <c:pt idx="2">
                  <c:v>Personal email</c:v>
                </c:pt>
                <c:pt idx="3">
                  <c:v>Online gaming</c:v>
                </c:pt>
                <c:pt idx="4">
                  <c:v>Personal video calls</c:v>
                </c:pt>
                <c:pt idx="5">
                  <c:v>Forums &amp; discussion sites</c:v>
                </c:pt>
                <c:pt idx="6">
                  <c:v>Online dating                 (adults)</c:v>
                </c:pt>
              </c:strCache>
            </c:strRef>
          </c:cat>
          <c:val>
            <c:numRef>
              <c:f>Sheet1!$D$2:$D$8</c:f>
              <c:numCache>
                <c:formatCode>0%</c:formatCode>
                <c:ptCount val="7"/>
                <c:pt idx="0">
                  <c:v>0.1</c:v>
                </c:pt>
                <c:pt idx="1">
                  <c:v>0.10100000000000001</c:v>
                </c:pt>
                <c:pt idx="2">
                  <c:v>0.16900000000000001</c:v>
                </c:pt>
                <c:pt idx="3">
                  <c:v>0.20599999999999999</c:v>
                </c:pt>
                <c:pt idx="4">
                  <c:v>0.36399999999999999</c:v>
                </c:pt>
                <c:pt idx="5">
                  <c:v>0.317</c:v>
                </c:pt>
                <c:pt idx="6">
                  <c:v>0.10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AB-49A7-BB90-318B99FE54C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Don't us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Messaging/texting apps</c:v>
                </c:pt>
                <c:pt idx="1">
                  <c:v>Social media apps</c:v>
                </c:pt>
                <c:pt idx="2">
                  <c:v>Personal email</c:v>
                </c:pt>
                <c:pt idx="3">
                  <c:v>Online gaming</c:v>
                </c:pt>
                <c:pt idx="4">
                  <c:v>Personal video calls</c:v>
                </c:pt>
                <c:pt idx="5">
                  <c:v>Forums &amp; discussion sites</c:v>
                </c:pt>
                <c:pt idx="6">
                  <c:v>Online dating                 (adults)</c:v>
                </c:pt>
              </c:strCache>
            </c:strRef>
          </c:cat>
          <c:val>
            <c:numRef>
              <c:f>Sheet1!$E$2:$E$8</c:f>
              <c:numCache>
                <c:formatCode>0%</c:formatCode>
                <c:ptCount val="7"/>
                <c:pt idx="0">
                  <c:v>4.5999999999999999E-2</c:v>
                </c:pt>
                <c:pt idx="1">
                  <c:v>0.06</c:v>
                </c:pt>
                <c:pt idx="2">
                  <c:v>0.04</c:v>
                </c:pt>
                <c:pt idx="3">
                  <c:v>0.32</c:v>
                </c:pt>
                <c:pt idx="4">
                  <c:v>0.193</c:v>
                </c:pt>
                <c:pt idx="5">
                  <c:v>0.40200000000000002</c:v>
                </c:pt>
                <c:pt idx="6">
                  <c:v>0.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AB-49A7-BB90-318B99FE54C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2030418799"/>
        <c:axId val="2030438351"/>
        <c:extLst/>
      </c:barChart>
      <c:catAx>
        <c:axId val="203041879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30438351"/>
        <c:crosses val="autoZero"/>
        <c:auto val="1"/>
        <c:lblAlgn val="ctr"/>
        <c:lblOffset val="100"/>
        <c:noMultiLvlLbl val="0"/>
      </c:catAx>
      <c:valAx>
        <c:axId val="203043835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304187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ett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7</c:f>
              <c:strCache>
                <c:ptCount val="26"/>
                <c:pt idx="0">
                  <c:v>PH</c:v>
                </c:pt>
                <c:pt idx="1">
                  <c:v>IN</c:v>
                </c:pt>
                <c:pt idx="2">
                  <c:v>SG</c:v>
                </c:pt>
                <c:pt idx="3">
                  <c:v>SE</c:v>
                </c:pt>
                <c:pt idx="4">
                  <c:v>AU</c:v>
                </c:pt>
                <c:pt idx="6">
                  <c:v>BR</c:v>
                </c:pt>
                <c:pt idx="7">
                  <c:v>CL</c:v>
                </c:pt>
                <c:pt idx="8">
                  <c:v>AR </c:v>
                </c:pt>
                <c:pt idx="9">
                  <c:v>PE</c:v>
                </c:pt>
                <c:pt idx="10">
                  <c:v>MX</c:v>
                </c:pt>
                <c:pt idx="11">
                  <c:v>CO</c:v>
                </c:pt>
                <c:pt idx="13">
                  <c:v>IT</c:v>
                </c:pt>
                <c:pt idx="14">
                  <c:v>DE</c:v>
                </c:pt>
                <c:pt idx="15">
                  <c:v>NL</c:v>
                </c:pt>
                <c:pt idx="16">
                  <c:v>IE</c:v>
                </c:pt>
                <c:pt idx="17">
                  <c:v>FR</c:v>
                </c:pt>
                <c:pt idx="18">
                  <c:v>UK</c:v>
                </c:pt>
                <c:pt idx="20">
                  <c:v>PL</c:v>
                </c:pt>
                <c:pt idx="21">
                  <c:v>HU</c:v>
                </c:pt>
                <c:pt idx="22">
                  <c:v>RU</c:v>
                </c:pt>
                <c:pt idx="24">
                  <c:v>CA</c:v>
                </c:pt>
                <c:pt idx="25">
                  <c:v>US</c:v>
                </c:pt>
              </c:strCache>
            </c:strRef>
          </c:cat>
          <c:val>
            <c:numRef>
              <c:f>Sheet1!$B$2:$B$27</c:f>
              <c:numCache>
                <c:formatCode>0%</c:formatCode>
                <c:ptCount val="26"/>
                <c:pt idx="0">
                  <c:v>0.19</c:v>
                </c:pt>
                <c:pt idx="1">
                  <c:v>0.34200000000000003</c:v>
                </c:pt>
                <c:pt idx="2">
                  <c:v>0.16200000000000001</c:v>
                </c:pt>
                <c:pt idx="3">
                  <c:v>0.128</c:v>
                </c:pt>
                <c:pt idx="4">
                  <c:v>0.129</c:v>
                </c:pt>
                <c:pt idx="6">
                  <c:v>0.25600000000000001</c:v>
                </c:pt>
                <c:pt idx="7">
                  <c:v>0.20300000000000001</c:v>
                </c:pt>
                <c:pt idx="8">
                  <c:v>0.191</c:v>
                </c:pt>
                <c:pt idx="9">
                  <c:v>0.3</c:v>
                </c:pt>
                <c:pt idx="10">
                  <c:v>0.29600000000000004</c:v>
                </c:pt>
                <c:pt idx="11">
                  <c:v>0.35</c:v>
                </c:pt>
                <c:pt idx="13">
                  <c:v>0.114</c:v>
                </c:pt>
                <c:pt idx="14">
                  <c:v>7.6999999999999999E-2</c:v>
                </c:pt>
                <c:pt idx="15">
                  <c:v>0.105</c:v>
                </c:pt>
                <c:pt idx="16">
                  <c:v>0.14599999999999999</c:v>
                </c:pt>
                <c:pt idx="17">
                  <c:v>0.114</c:v>
                </c:pt>
                <c:pt idx="18">
                  <c:v>0.121</c:v>
                </c:pt>
                <c:pt idx="20">
                  <c:v>8.4000000000000005E-2</c:v>
                </c:pt>
                <c:pt idx="21">
                  <c:v>0.124</c:v>
                </c:pt>
                <c:pt idx="22">
                  <c:v>0.11900000000000001</c:v>
                </c:pt>
                <c:pt idx="24">
                  <c:v>7.400000000000001E-2</c:v>
                </c:pt>
                <c:pt idx="25">
                  <c:v>0.144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18-4CD7-9971-C33476FBFB8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nchange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7</c:f>
              <c:strCache>
                <c:ptCount val="26"/>
                <c:pt idx="0">
                  <c:v>PH</c:v>
                </c:pt>
                <c:pt idx="1">
                  <c:v>IN</c:v>
                </c:pt>
                <c:pt idx="2">
                  <c:v>SG</c:v>
                </c:pt>
                <c:pt idx="3">
                  <c:v>SE</c:v>
                </c:pt>
                <c:pt idx="4">
                  <c:v>AU</c:v>
                </c:pt>
                <c:pt idx="6">
                  <c:v>BR</c:v>
                </c:pt>
                <c:pt idx="7">
                  <c:v>CL</c:v>
                </c:pt>
                <c:pt idx="8">
                  <c:v>AR </c:v>
                </c:pt>
                <c:pt idx="9">
                  <c:v>PE</c:v>
                </c:pt>
                <c:pt idx="10">
                  <c:v>MX</c:v>
                </c:pt>
                <c:pt idx="11">
                  <c:v>CO</c:v>
                </c:pt>
                <c:pt idx="13">
                  <c:v>IT</c:v>
                </c:pt>
                <c:pt idx="14">
                  <c:v>DE</c:v>
                </c:pt>
                <c:pt idx="15">
                  <c:v>NL</c:v>
                </c:pt>
                <c:pt idx="16">
                  <c:v>IE</c:v>
                </c:pt>
                <c:pt idx="17">
                  <c:v>FR</c:v>
                </c:pt>
                <c:pt idx="18">
                  <c:v>UK</c:v>
                </c:pt>
                <c:pt idx="20">
                  <c:v>PL</c:v>
                </c:pt>
                <c:pt idx="21">
                  <c:v>HU</c:v>
                </c:pt>
                <c:pt idx="22">
                  <c:v>RU</c:v>
                </c:pt>
                <c:pt idx="24">
                  <c:v>CA</c:v>
                </c:pt>
                <c:pt idx="25">
                  <c:v>US</c:v>
                </c:pt>
              </c:strCache>
            </c:strRef>
          </c:cat>
          <c:val>
            <c:numRef>
              <c:f>Sheet1!$C$2:$C$27</c:f>
              <c:numCache>
                <c:formatCode>0%</c:formatCode>
                <c:ptCount val="26"/>
                <c:pt idx="0">
                  <c:v>0.30700000000000005</c:v>
                </c:pt>
                <c:pt idx="1">
                  <c:v>0.32099999999999995</c:v>
                </c:pt>
                <c:pt idx="2">
                  <c:v>0.58700000000000008</c:v>
                </c:pt>
                <c:pt idx="3">
                  <c:v>0.64</c:v>
                </c:pt>
                <c:pt idx="4">
                  <c:v>0.69400000000000006</c:v>
                </c:pt>
                <c:pt idx="6">
                  <c:v>0.32599999999999996</c:v>
                </c:pt>
                <c:pt idx="7">
                  <c:v>0.49200000000000005</c:v>
                </c:pt>
                <c:pt idx="8">
                  <c:v>0.53099999999999992</c:v>
                </c:pt>
                <c:pt idx="9">
                  <c:v>0.41700000000000004</c:v>
                </c:pt>
                <c:pt idx="10">
                  <c:v>0.42700000000000005</c:v>
                </c:pt>
                <c:pt idx="11">
                  <c:v>0.43</c:v>
                </c:pt>
                <c:pt idx="13">
                  <c:v>0.48200000000000004</c:v>
                </c:pt>
                <c:pt idx="14">
                  <c:v>0.56899999999999995</c:v>
                </c:pt>
                <c:pt idx="15">
                  <c:v>0.57700000000000007</c:v>
                </c:pt>
                <c:pt idx="16">
                  <c:v>0.57600000000000007</c:v>
                </c:pt>
                <c:pt idx="17">
                  <c:v>0.68400000000000005</c:v>
                </c:pt>
                <c:pt idx="18">
                  <c:v>0.69799999999999995</c:v>
                </c:pt>
                <c:pt idx="20">
                  <c:v>0.502</c:v>
                </c:pt>
                <c:pt idx="21">
                  <c:v>0.51100000000000001</c:v>
                </c:pt>
                <c:pt idx="22">
                  <c:v>0.65</c:v>
                </c:pt>
                <c:pt idx="24">
                  <c:v>0.66200000000000003</c:v>
                </c:pt>
                <c:pt idx="25">
                  <c:v>0.616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2F-4F5A-9F61-CE37A563C4A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ors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7</c:f>
              <c:strCache>
                <c:ptCount val="26"/>
                <c:pt idx="0">
                  <c:v>PH</c:v>
                </c:pt>
                <c:pt idx="1">
                  <c:v>IN</c:v>
                </c:pt>
                <c:pt idx="2">
                  <c:v>SG</c:v>
                </c:pt>
                <c:pt idx="3">
                  <c:v>SE</c:v>
                </c:pt>
                <c:pt idx="4">
                  <c:v>AU</c:v>
                </c:pt>
                <c:pt idx="6">
                  <c:v>BR</c:v>
                </c:pt>
                <c:pt idx="7">
                  <c:v>CL</c:v>
                </c:pt>
                <c:pt idx="8">
                  <c:v>AR </c:v>
                </c:pt>
                <c:pt idx="9">
                  <c:v>PE</c:v>
                </c:pt>
                <c:pt idx="10">
                  <c:v>MX</c:v>
                </c:pt>
                <c:pt idx="11">
                  <c:v>CO</c:v>
                </c:pt>
                <c:pt idx="13">
                  <c:v>IT</c:v>
                </c:pt>
                <c:pt idx="14">
                  <c:v>DE</c:v>
                </c:pt>
                <c:pt idx="15">
                  <c:v>NL</c:v>
                </c:pt>
                <c:pt idx="16">
                  <c:v>IE</c:v>
                </c:pt>
                <c:pt idx="17">
                  <c:v>FR</c:v>
                </c:pt>
                <c:pt idx="18">
                  <c:v>UK</c:v>
                </c:pt>
                <c:pt idx="20">
                  <c:v>PL</c:v>
                </c:pt>
                <c:pt idx="21">
                  <c:v>HU</c:v>
                </c:pt>
                <c:pt idx="22">
                  <c:v>RU</c:v>
                </c:pt>
                <c:pt idx="24">
                  <c:v>CA</c:v>
                </c:pt>
                <c:pt idx="25">
                  <c:v>US</c:v>
                </c:pt>
              </c:strCache>
            </c:strRef>
          </c:cat>
          <c:val>
            <c:numRef>
              <c:f>Sheet1!$D$2:$D$27</c:f>
              <c:numCache>
                <c:formatCode>0%</c:formatCode>
                <c:ptCount val="26"/>
                <c:pt idx="0">
                  <c:v>0.503</c:v>
                </c:pt>
                <c:pt idx="1">
                  <c:v>0.33700000000000002</c:v>
                </c:pt>
                <c:pt idx="2">
                  <c:v>0.251</c:v>
                </c:pt>
                <c:pt idx="3">
                  <c:v>0.23199999999999998</c:v>
                </c:pt>
                <c:pt idx="4">
                  <c:v>0.17699999999999999</c:v>
                </c:pt>
                <c:pt idx="6">
                  <c:v>0.41799999999999998</c:v>
                </c:pt>
                <c:pt idx="7">
                  <c:v>0.30499999999999999</c:v>
                </c:pt>
                <c:pt idx="8">
                  <c:v>0.29799999999999999</c:v>
                </c:pt>
                <c:pt idx="9">
                  <c:v>0.28300000000000003</c:v>
                </c:pt>
                <c:pt idx="10">
                  <c:v>0.27699999999999997</c:v>
                </c:pt>
                <c:pt idx="11">
                  <c:v>0.22</c:v>
                </c:pt>
                <c:pt idx="13">
                  <c:v>0.40399999999999997</c:v>
                </c:pt>
                <c:pt idx="14">
                  <c:v>0.35399999999999998</c:v>
                </c:pt>
                <c:pt idx="15">
                  <c:v>0.318</c:v>
                </c:pt>
                <c:pt idx="16">
                  <c:v>0.27800000000000002</c:v>
                </c:pt>
                <c:pt idx="17">
                  <c:v>0.20199999999999999</c:v>
                </c:pt>
                <c:pt idx="18">
                  <c:v>0.18100000000000002</c:v>
                </c:pt>
                <c:pt idx="20">
                  <c:v>0.41399999999999998</c:v>
                </c:pt>
                <c:pt idx="21">
                  <c:v>0.36499999999999999</c:v>
                </c:pt>
                <c:pt idx="22">
                  <c:v>0.23100000000000001</c:v>
                </c:pt>
                <c:pt idx="24">
                  <c:v>0.26400000000000001</c:v>
                </c:pt>
                <c:pt idx="25">
                  <c:v>0.23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82F-4F5A-9F61-CE37A563C4A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531210607"/>
        <c:axId val="531214351"/>
      </c:barChart>
      <c:catAx>
        <c:axId val="53121060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1214351"/>
        <c:crosses val="autoZero"/>
        <c:auto val="1"/>
        <c:lblAlgn val="ctr"/>
        <c:lblOffset val="100"/>
        <c:noMultiLvlLbl val="0"/>
      </c:catAx>
      <c:valAx>
        <c:axId val="53121435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12106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>
                <a:effectLst/>
              </a:rPr>
              <a:t>Online civility during work meetings vs. non-work interactions </a:t>
            </a:r>
          </a:p>
          <a:p>
            <a:pPr algn="l">
              <a:defRPr/>
            </a:pPr>
            <a:r>
              <a:rPr lang="en-US" sz="1000">
                <a:effectLst/>
              </a:rPr>
              <a:t>Base: participated in online meetings, n=2256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re civil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C1E-4BEF-BB0E-0BD9624E783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C1E-4BEF-BB0E-0BD9624E783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C1E-4BEF-BB0E-0BD9624E783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otal</c:v>
                </c:pt>
                <c:pt idx="1">
                  <c:v>Gen Z (18-24)</c:v>
                </c:pt>
                <c:pt idx="2">
                  <c:v>Millennials (25-39)</c:v>
                </c:pt>
                <c:pt idx="3">
                  <c:v>Gen X (40-54)</c:v>
                </c:pt>
                <c:pt idx="4">
                  <c:v>Boomers (55-74)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51</c:v>
                </c:pt>
                <c:pt idx="1">
                  <c:v>0.55400000000000005</c:v>
                </c:pt>
                <c:pt idx="2">
                  <c:v>0.52800000000000002</c:v>
                </c:pt>
                <c:pt idx="3">
                  <c:v>0.504</c:v>
                </c:pt>
                <c:pt idx="4">
                  <c:v>0.476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C1E-4BEF-BB0E-0BD9624E783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ame level of civility</c:v>
                </c:pt>
              </c:strCache>
            </c:strRef>
          </c:tx>
          <c:spPr>
            <a:solidFill>
              <a:schemeClr val="accent2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otal</c:v>
                </c:pt>
                <c:pt idx="1">
                  <c:v>Gen Z (18-24)</c:v>
                </c:pt>
                <c:pt idx="2">
                  <c:v>Millennials (25-39)</c:v>
                </c:pt>
                <c:pt idx="3">
                  <c:v>Gen X (40-54)</c:v>
                </c:pt>
                <c:pt idx="4">
                  <c:v>Boomers (55-74)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45700000000000002</c:v>
                </c:pt>
                <c:pt idx="1">
                  <c:v>0.40699999999999997</c:v>
                </c:pt>
                <c:pt idx="2">
                  <c:v>0.439</c:v>
                </c:pt>
                <c:pt idx="3">
                  <c:v>0.46899999999999997</c:v>
                </c:pt>
                <c:pt idx="4">
                  <c:v>0.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093-4FB0-8C91-6A5F05CD0C7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ess civil</c:v>
                </c:pt>
              </c:strCache>
            </c:strRef>
          </c:tx>
          <c:spPr>
            <a:solidFill>
              <a:schemeClr val="accent3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otal</c:v>
                </c:pt>
                <c:pt idx="1">
                  <c:v>Gen Z (18-24)</c:v>
                </c:pt>
                <c:pt idx="2">
                  <c:v>Millennials (25-39)</c:v>
                </c:pt>
                <c:pt idx="3">
                  <c:v>Gen X (40-54)</c:v>
                </c:pt>
                <c:pt idx="4">
                  <c:v>Boomers (55-74)</c:v>
                </c:pt>
              </c:strCache>
            </c:strRef>
          </c:cat>
          <c:val>
            <c:numRef>
              <c:f>Sheet1!$D$2:$D$6</c:f>
              <c:numCache>
                <c:formatCode>0%</c:formatCode>
                <c:ptCount val="5"/>
                <c:pt idx="0">
                  <c:v>0.03</c:v>
                </c:pt>
                <c:pt idx="1">
                  <c:v>0.03</c:v>
                </c:pt>
                <c:pt idx="2">
                  <c:v>0.03</c:v>
                </c:pt>
                <c:pt idx="3">
                  <c:v>0.03</c:v>
                </c:pt>
                <c:pt idx="4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64-4277-A2B2-43EB3EE92D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531214767"/>
        <c:axId val="531213103"/>
      </c:barChart>
      <c:catAx>
        <c:axId val="53121476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1213103"/>
        <c:crosses val="autoZero"/>
        <c:auto val="1"/>
        <c:lblAlgn val="ctr"/>
        <c:lblOffset val="100"/>
        <c:noMultiLvlLbl val="0"/>
      </c:catAx>
      <c:valAx>
        <c:axId val="531213103"/>
        <c:scaling>
          <c:orientation val="minMax"/>
          <c:max val="0.70000000000000007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5312147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>
                <a:effectLst/>
              </a:rPr>
              <a:t>Online civility during classes vs. non-class interactions </a:t>
            </a:r>
          </a:p>
          <a:p>
            <a:pPr algn="l">
              <a:defRPr/>
            </a:pPr>
            <a:r>
              <a:rPr lang="en-US" sz="1000">
                <a:effectLst/>
              </a:rPr>
              <a:t>Base: participated in online classes, n=5470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re civil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8AA-4722-8E9C-488516F389C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8AA-4722-8E9C-488516F389CA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8AA-4722-8E9C-488516F389C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otal</c:v>
                </c:pt>
                <c:pt idx="1">
                  <c:v>Gen Z (18-24)</c:v>
                </c:pt>
                <c:pt idx="2">
                  <c:v>Millennials (25-39)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55000000000000004</c:v>
                </c:pt>
                <c:pt idx="1">
                  <c:v>0.55000000000000004</c:v>
                </c:pt>
                <c:pt idx="2">
                  <c:v>0.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8AA-4722-8E9C-488516F389C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ame level of civility</c:v>
                </c:pt>
              </c:strCache>
            </c:strRef>
          </c:tx>
          <c:spPr>
            <a:solidFill>
              <a:schemeClr val="accent2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otal</c:v>
                </c:pt>
                <c:pt idx="1">
                  <c:v>Gen Z (18-24)</c:v>
                </c:pt>
                <c:pt idx="2">
                  <c:v>Millennials (25-39)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39</c:v>
                </c:pt>
                <c:pt idx="1">
                  <c:v>0.4</c:v>
                </c:pt>
                <c:pt idx="2">
                  <c:v>0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8AA-4722-8E9C-488516F389C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ess civil</c:v>
                </c:pt>
              </c:strCache>
            </c:strRef>
          </c:tx>
          <c:spPr>
            <a:solidFill>
              <a:schemeClr val="accent3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otal</c:v>
                </c:pt>
                <c:pt idx="1">
                  <c:v>Gen Z (18-24)</c:v>
                </c:pt>
                <c:pt idx="2">
                  <c:v>Millennials (25-39)</c:v>
                </c:pt>
              </c:strCache>
            </c:strRef>
          </c:cat>
          <c:val>
            <c:numRef>
              <c:f>Sheet1!$D$2:$D$4</c:f>
              <c:numCache>
                <c:formatCode>0%</c:formatCode>
                <c:ptCount val="3"/>
                <c:pt idx="0">
                  <c:v>0.05</c:v>
                </c:pt>
                <c:pt idx="1">
                  <c:v>0.05</c:v>
                </c:pt>
                <c:pt idx="2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8AA-4722-8E9C-488516F389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531214767"/>
        <c:axId val="531213103"/>
      </c:barChart>
      <c:catAx>
        <c:axId val="53121476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1213103"/>
        <c:crosses val="autoZero"/>
        <c:auto val="1"/>
        <c:lblAlgn val="ctr"/>
        <c:lblOffset val="100"/>
        <c:noMultiLvlLbl val="0"/>
      </c:catAx>
      <c:valAx>
        <c:axId val="531213103"/>
        <c:scaling>
          <c:orientation val="minMax"/>
          <c:max val="0.70000000000000007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5312147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>
                <a:solidFill>
                  <a:srgbClr val="595959"/>
                </a:solidFill>
              </a:rPr>
              <a:t>Civility during Covid rating (% better), Unadjusted</a:t>
            </a:r>
            <a:r>
              <a:rPr lang="en-US" sz="1600" baseline="0">
                <a:solidFill>
                  <a:srgbClr val="595959"/>
                </a:solidFill>
              </a:rPr>
              <a:t> vs. Adjusted</a:t>
            </a:r>
            <a:endParaRPr lang="en-US" sz="1600">
              <a:solidFill>
                <a:srgbClr val="595959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0-2021 change</c:v>
                </c:pt>
                <c:pt idx="1">
                  <c:v>2020-2021 change (Adjusted)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6</c:v>
                </c:pt>
                <c:pt idx="1">
                  <c:v>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20-4E95-A629-1FC41EF5BD4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0-2021 change</c:v>
                </c:pt>
                <c:pt idx="1">
                  <c:v>2020-2021 change (Adjusted)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0.17</c:v>
                </c:pt>
                <c:pt idx="1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20-4E95-A629-1FC41EF5BD4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58259375"/>
        <c:axId val="358242319"/>
      </c:barChart>
      <c:catAx>
        <c:axId val="3582593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8242319"/>
        <c:crosses val="autoZero"/>
        <c:auto val="1"/>
        <c:lblAlgn val="ctr"/>
        <c:lblOffset val="100"/>
        <c:noMultiLvlLbl val="0"/>
      </c:catAx>
      <c:valAx>
        <c:axId val="358242319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3582593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u="none">
                <a:solidFill>
                  <a:srgbClr val="595959"/>
                </a:solidFill>
              </a:rPr>
              <a:t>Confidence with managing risks was up 3-pts. YoY</a:t>
            </a:r>
            <a:endParaRPr lang="en-US" sz="1000">
              <a:solidFill>
                <a:srgbClr val="595959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Extremely/very confident</c:v>
                </c:pt>
              </c:strCache>
            </c:strRef>
          </c:tx>
          <c:spPr>
            <a:ln w="76200" cap="rnd">
              <a:solidFill>
                <a:srgbClr val="0078D4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rgbClr val="0078D4"/>
                </a:solidFill>
              </a:ln>
              <a:effectLst/>
            </c:spPr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DE4-4984-A214-14659A48DB4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DE4-4984-A214-14659A48DB4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DE4-4984-A214-14659A48DB49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DE4-4984-A214-14659A48DB49}"/>
                </c:ext>
              </c:extLst>
            </c:dLbl>
            <c:dLbl>
              <c:idx val="4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ADE4-4984-A214-14659A48DB49}"/>
                </c:ext>
              </c:extLst>
            </c:dLbl>
            <c:dLbl>
              <c:idx val="5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ADE4-4984-A214-14659A48DB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:$A$7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B$3:$B$7</c:f>
              <c:numCache>
                <c:formatCode>0%</c:formatCode>
                <c:ptCount val="5"/>
                <c:pt idx="0">
                  <c:v>0.46</c:v>
                </c:pt>
                <c:pt idx="1">
                  <c:v>0.48</c:v>
                </c:pt>
                <c:pt idx="2">
                  <c:v>0.5</c:v>
                </c:pt>
                <c:pt idx="3">
                  <c:v>0.44</c:v>
                </c:pt>
                <c:pt idx="4">
                  <c:v>0.47399999999999998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9E31-4D37-B705-AB11E3BDB697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Teens</c:v>
                </c:pt>
              </c:strCache>
            </c:strRef>
          </c:tx>
          <c:spPr>
            <a:ln w="28575" cap="rnd">
              <a:solidFill>
                <a:srgbClr val="107C1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rgbClr val="107C10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DE4-4984-A214-14659A48DB4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DE4-4984-A214-14659A48DB4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DE4-4984-A214-14659A48DB49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DE4-4984-A214-14659A48DB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:$A$7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C$3:$C$7</c:f>
              <c:numCache>
                <c:formatCode>0%</c:formatCode>
                <c:ptCount val="5"/>
                <c:pt idx="0">
                  <c:v>0.46</c:v>
                </c:pt>
                <c:pt idx="1">
                  <c:v>0.46</c:v>
                </c:pt>
                <c:pt idx="2">
                  <c:v>0.48</c:v>
                </c:pt>
                <c:pt idx="3">
                  <c:v>0.42</c:v>
                </c:pt>
                <c:pt idx="4">
                  <c:v>0.4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DE4-4984-A214-14659A48DB49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Adults</c:v>
                </c:pt>
              </c:strCache>
            </c:strRef>
          </c:tx>
          <c:spPr>
            <a:ln w="28575" cap="rnd">
              <a:solidFill>
                <a:srgbClr val="51E5FF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rgbClr val="51E5FF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ADE4-4984-A214-14659A48DB4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DE4-4984-A214-14659A48DB4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DE4-4984-A214-14659A48DB49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DE4-4984-A214-14659A48DB49}"/>
                </c:ext>
              </c:extLst>
            </c:dLbl>
            <c:dLbl>
              <c:idx val="4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DE4-4984-A214-14659A48DB49}"/>
                </c:ext>
              </c:extLst>
            </c:dLbl>
            <c:dLbl>
              <c:idx val="5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ADE4-4984-A214-14659A48DB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:$A$7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D$3:$D$7</c:f>
              <c:numCache>
                <c:formatCode>0%</c:formatCode>
                <c:ptCount val="5"/>
                <c:pt idx="0">
                  <c:v>0.46</c:v>
                </c:pt>
                <c:pt idx="1">
                  <c:v>0.5</c:v>
                </c:pt>
                <c:pt idx="2">
                  <c:v>0.52</c:v>
                </c:pt>
                <c:pt idx="3">
                  <c:v>0.46</c:v>
                </c:pt>
                <c:pt idx="4">
                  <c:v>0.508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DE4-4984-A214-14659A48DB49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59714655"/>
        <c:axId val="359715487"/>
        <c:extLst/>
      </c:lineChart>
      <c:catAx>
        <c:axId val="3597146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0.60000000000000009"/>
          <c:min val="0.4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78D4">
        <a:alpha val="10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0" i="0" u="none" strike="noStrike" kern="1200" spc="0" baseline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pPr>
            <a:r>
              <a:rPr lang="en-US" sz="1600" u="none">
                <a:solidFill>
                  <a:srgbClr val="595959"/>
                </a:solidFill>
              </a:rPr>
              <a:t>Knowing where to find help</a:t>
            </a:r>
            <a:r>
              <a:rPr lang="en-US" sz="1600" u="none" baseline="0">
                <a:solidFill>
                  <a:srgbClr val="595959"/>
                </a:solidFill>
              </a:rPr>
              <a:t> held steady at 50%</a:t>
            </a:r>
            <a:endParaRPr lang="en-US" sz="1000">
              <a:solidFill>
                <a:srgbClr val="595959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0" i="0" u="none" strike="noStrike" kern="1200" spc="0" baseline="0">
              <a:solidFill>
                <a:srgbClr val="595959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Yes</c:v>
                </c:pt>
              </c:strCache>
            </c:strRef>
          </c:tx>
          <c:spPr>
            <a:ln w="76200" cap="rnd">
              <a:solidFill>
                <a:srgbClr val="0078D4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/>
              </a:solidFill>
              <a:ln w="9525">
                <a:solidFill>
                  <a:srgbClr val="0078D4"/>
                </a:solidFill>
              </a:ln>
              <a:effectLst/>
            </c:spPr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754-49EF-B919-B0AE24AE2F4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754-49EF-B919-B0AE24AE2F4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754-49EF-B919-B0AE24AE2F49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754-49EF-B919-B0AE24AE2F49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754-49EF-B919-B0AE24AE2F49}"/>
                </c:ext>
              </c:extLst>
            </c:dLbl>
            <c:dLbl>
              <c:idx val="5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754-49EF-B919-B0AE24AE2F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:$A$7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B$3:$B$7</c:f>
              <c:numCache>
                <c:formatCode>0%</c:formatCode>
                <c:ptCount val="5"/>
                <c:pt idx="0">
                  <c:v>0.45</c:v>
                </c:pt>
                <c:pt idx="1">
                  <c:v>0.49</c:v>
                </c:pt>
                <c:pt idx="2">
                  <c:v>0.52</c:v>
                </c:pt>
                <c:pt idx="3">
                  <c:v>0.51</c:v>
                </c:pt>
                <c:pt idx="4">
                  <c:v>0.504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6-7754-49EF-B919-B0AE24AE2F49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Teen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rgbClr val="107C10"/>
                </a:solidFill>
              </a:ln>
              <a:effectLst/>
            </c:spPr>
          </c:marker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754-49EF-B919-B0AE24AE2F4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754-49EF-B919-B0AE24AE2F49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754-49EF-B919-B0AE24AE2F49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754-49EF-B919-B0AE24AE2F49}"/>
                </c:ext>
              </c:extLst>
            </c:dLbl>
            <c:dLbl>
              <c:idx val="5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7754-49EF-B919-B0AE24AE2F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:$A$7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C$3:$C$7</c:f>
              <c:numCache>
                <c:formatCode>0%</c:formatCode>
                <c:ptCount val="5"/>
                <c:pt idx="0">
                  <c:v>0.56000000000000005</c:v>
                </c:pt>
                <c:pt idx="1">
                  <c:v>0.6</c:v>
                </c:pt>
                <c:pt idx="2">
                  <c:v>0.65</c:v>
                </c:pt>
                <c:pt idx="3">
                  <c:v>0.64</c:v>
                </c:pt>
                <c:pt idx="4">
                  <c:v>0.634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7754-49EF-B919-B0AE24AE2F49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Adults</c:v>
                </c:pt>
              </c:strCache>
            </c:strRef>
          </c:tx>
          <c:spPr>
            <a:ln w="28575" cap="rnd">
              <a:solidFill>
                <a:srgbClr val="51E5FF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rgbClr val="51E5FF"/>
                </a:solidFill>
              </a:ln>
              <a:effectLst/>
            </c:spPr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7754-49EF-B919-B0AE24AE2F4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7754-49EF-B919-B0AE24AE2F4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7754-49EF-B919-B0AE24AE2F49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7754-49EF-B919-B0AE24AE2F49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7754-49EF-B919-B0AE24AE2F49}"/>
                </c:ext>
              </c:extLst>
            </c:dLbl>
            <c:dLbl>
              <c:idx val="5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7754-49EF-B919-B0AE24AE2F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3:$A$7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D$3:$D$7</c:f>
              <c:numCache>
                <c:formatCode>0%</c:formatCode>
                <c:ptCount val="5"/>
                <c:pt idx="0">
                  <c:v>0.33</c:v>
                </c:pt>
                <c:pt idx="1">
                  <c:v>0.37</c:v>
                </c:pt>
                <c:pt idx="2">
                  <c:v>0.39</c:v>
                </c:pt>
                <c:pt idx="3">
                  <c:v>0.38</c:v>
                </c:pt>
                <c:pt idx="4">
                  <c:v>0.3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7754-49EF-B919-B0AE24AE2F49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59714655"/>
        <c:axId val="359715487"/>
        <c:extLst/>
      </c:lineChart>
      <c:catAx>
        <c:axId val="3597146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715487"/>
        <c:crosses val="autoZero"/>
        <c:auto val="1"/>
        <c:lblAlgn val="ctr"/>
        <c:lblOffset val="100"/>
        <c:noMultiLvlLbl val="0"/>
      </c:catAx>
      <c:valAx>
        <c:axId val="359715487"/>
        <c:scaling>
          <c:orientation val="minMax"/>
          <c:max val="0.70000000000000007"/>
          <c:min val="0.30000000000000004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59714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078D4">
        <a:alpha val="10000"/>
      </a:srgb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7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4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5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6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7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8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9027</cdr:x>
      <cdr:y>0.64947</cdr:y>
    </cdr:from>
    <cdr:to>
      <cdr:x>0.72884</cdr:x>
      <cdr:y>0.88673</cdr:y>
    </cdr:to>
    <cdr:sp macro="" textlink="">
      <cdr:nvSpPr>
        <cdr:cNvPr id="2" name="Rectangle 1">
          <a:extLst xmlns:a="http://schemas.openxmlformats.org/drawingml/2006/main">
            <a:ext uri="{FF2B5EF4-FFF2-40B4-BE49-F238E27FC236}">
              <a16:creationId xmlns:a16="http://schemas.microsoft.com/office/drawing/2014/main" id="{E2FC1274-E542-4438-8DC4-2DCE3F249A42}"/>
            </a:ext>
          </a:extLst>
        </cdr:cNvPr>
        <cdr:cNvSpPr/>
      </cdr:nvSpPr>
      <cdr:spPr bwMode="auto">
        <a:xfrm xmlns:a="http://schemas.openxmlformats.org/drawingml/2006/main">
          <a:off x="6156668" y="2826057"/>
          <a:ext cx="1445321" cy="1032388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1">
            <a:alpha val="20000"/>
          </a:schemeClr>
        </a:solidFill>
        <a:ln xmlns:a="http://schemas.openxmlformats.org/drawingml/2006/main">
          <a:noFill/>
          <a:headEnd type="none" w="med" len="med"/>
          <a:tailEnd type="none" w="med" len="med"/>
        </a:ln>
        <a:effectLst xmlns:a="http://schemas.openxmlformats.org/drawingml/2006/main"/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Overflow="overflow" horzOverflow="overflow" vert="horz" wrap="square" lIns="182880" tIns="146304" rIns="182880" bIns="146304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AF7BC6-F0D5-4E7D-A118-8E057CE16828}" type="datetime8">
              <a:rPr lang="en-US" smtClean="0">
                <a:latin typeface="Segoe UI" pitchFamily="34" charset="0"/>
              </a:rPr>
              <a:t>12/17/2021 10:51 PM</a:t>
            </a:fld>
            <a:endParaRPr lang="en-US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7593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82122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3271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3190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61874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9437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ighest deaths per million ranking: </a:t>
            </a: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eru,</a:t>
            </a:r>
            <a:r>
              <a:rPr lang="en-US"/>
              <a:t> </a:t>
            </a: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Hungary,</a:t>
            </a:r>
            <a:r>
              <a:rPr lang="en-US"/>
              <a:t> </a:t>
            </a: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taly,</a:t>
            </a:r>
            <a:r>
              <a:rPr lang="en-US"/>
              <a:t> </a:t>
            </a: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razil,</a:t>
            </a:r>
            <a:r>
              <a:rPr lang="en-US"/>
              <a:t> </a:t>
            </a: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nited Kingdom,</a:t>
            </a:r>
            <a:r>
              <a:rPr lang="en-US"/>
              <a:t> </a:t>
            </a: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oland,</a:t>
            </a:r>
            <a:r>
              <a:rPr lang="en-US"/>
              <a:t> </a:t>
            </a: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nited States,</a:t>
            </a:r>
            <a:r>
              <a:rPr lang="en-US"/>
              <a:t> </a:t>
            </a: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exico,</a:t>
            </a:r>
            <a:r>
              <a:rPr lang="en-US"/>
              <a:t> </a:t>
            </a: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Germany,</a:t>
            </a:r>
            <a:r>
              <a:rPr lang="en-US"/>
              <a:t> </a:t>
            </a: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lombia</a:t>
            </a:r>
            <a:r>
              <a:rPr lang="en-US"/>
              <a:t>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6566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109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6395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800" i="1"/>
              <a:t>Icon credits from the Noun project</a:t>
            </a:r>
          </a:p>
          <a:p>
            <a:r>
              <a:rPr lang="en-US" sz="800" i="1"/>
              <a:t>Normal curve by </a:t>
            </a:r>
            <a:r>
              <a:rPr lang="en-US" sz="800" i="1" err="1"/>
              <a:t>Davo</a:t>
            </a:r>
            <a:r>
              <a:rPr lang="en-US" sz="800" i="1"/>
              <a:t> Sime</a:t>
            </a:r>
          </a:p>
          <a:p>
            <a:r>
              <a:rPr lang="en-US" sz="800" i="1"/>
              <a:t>Cyberbullying by Martins </a:t>
            </a:r>
            <a:r>
              <a:rPr lang="en-US" sz="800" i="1" err="1"/>
              <a:t>Ratkus</a:t>
            </a:r>
            <a:endParaRPr lang="en-US" sz="800" i="1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4545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sz="90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48802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>
                <a:latin typeface="Segoe UI" panose="020B0502040204020203" pitchFamily="34" charset="0"/>
                <a:cs typeface="Segoe UI" panose="020B0502040204020203" pitchFamily="34" charset="0"/>
              </a:rPr>
              <a:t>First time Turkey &amp; South Africa were not in the study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011393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54780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695492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368645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n-US" sz="900" b="0" i="0" u="none" strike="noStrike">
                <a:solidFill>
                  <a:srgbClr val="000000"/>
                </a:solidFill>
                <a:effectLst/>
                <a:latin typeface="+mn-lt"/>
              </a:rPr>
              <a:t>“Teasing others on social media or through messages is fun” </a:t>
            </a:r>
            <a:r>
              <a:rPr lang="en-US"/>
              <a:t>(male – 14% vs. female - 9%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832971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153301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eens: social media, (F-72%, M-62%), Messaging (F-75%, M-69%)</a:t>
            </a:r>
          </a:p>
          <a:p>
            <a:r>
              <a:rPr lang="en-US"/>
              <a:t>Adults: social media, (F-66%, M-57%), Messaging (F-68%, M-60%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2109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17611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33837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26154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We added these items in part for the MS Teams group – exploring 1) participation levels; 2) whether online meetings/classes are viewed as more civil; and 3) whether these more formal online interactions promote more civility in other online interactions.  A final question was added to validate hypothesis 2 by comparing incidence of incivility in online meetings/classes vs. their in-person counterparts – as well as vs. social media interactions.</a:t>
            </a:r>
          </a:p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49162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0275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ata confirm participation rates in formal online sessions were high.</a:t>
            </a:r>
          </a:p>
          <a:p>
            <a:r>
              <a:rPr lang="en-US"/>
              <a:t>Millennials &amp; Gen Z most likely to have had online meetings. No differences by gender. </a:t>
            </a:r>
          </a:p>
          <a:p>
            <a:r>
              <a:rPr lang="en-US"/>
              <a:t>Australia (59%) one of the few countries not high on online classes (France, Singapore, Russia 75-79%)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45351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ypothesis 2 is confirmed – people do see these online meetings and classes as more civil.   </a:t>
            </a:r>
          </a:p>
          <a:p>
            <a:r>
              <a:rPr lang="en-US"/>
              <a:t>Gen Z &amp; Millennials were the most positive about civility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56092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Hypothesis 3: Do these effects carry over’ into other online interactions – is also strongly confirmed.</a:t>
            </a:r>
          </a:p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91592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e benefits aren’t limited to just those who felt online meetings were more civil. 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37370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ere’s even more of a bump among teens who say </a:t>
            </a:r>
            <a:r>
              <a:rPr lang="en-US" err="1"/>
              <a:t>‘the</a:t>
            </a:r>
            <a:r>
              <a:rPr lang="en-US"/>
              <a:t> same’ vs adults.</a:t>
            </a:r>
          </a:p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208357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second approach to measuring online vs in person civility again confirms that online meetings and classes have less incivility – especially in the classroom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53359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62837B-94EB-47C3-9786-97B8129C13A4}" type="slidenum">
              <a:rPr lang="en-US" smtClean="0"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34336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Females reported more consequences than males 79% vs. 73%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72482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eens more than adults (94% vs. 89%) and female adults more than adult males to take action (91% vs. 87%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81634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illennials (61%) most likely to take action followed by </a:t>
            </a:r>
            <a:r>
              <a:rPr lang="en-US" err="1"/>
              <a:t>GenZ</a:t>
            </a:r>
            <a:r>
              <a:rPr lang="en-US"/>
              <a:t> (59%), </a:t>
            </a:r>
            <a:r>
              <a:rPr lang="en-US" err="1"/>
              <a:t>GenX</a:t>
            </a:r>
            <a:r>
              <a:rPr lang="en-US"/>
              <a:t> (55%), Boomers (48%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58193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42011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ales more positive than females (33% vs. 28%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459154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75671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ample sizes too small to report on Gen X &amp; Boomers participating in online classes</a:t>
            </a:r>
          </a:p>
          <a:p>
            <a:r>
              <a:rPr lang="en-US"/>
              <a:t>No difference by gender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629706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81921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33"/>
              </a:spcAft>
              <a:buClrTx/>
              <a:buSzTx/>
              <a:buFontTx/>
              <a:buNone/>
              <a:tabLst/>
              <a:defRPr/>
            </a:pPr>
            <a:endParaRPr lang="en-US" b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6122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revious best: Teen boys, 60% in 2018, Adult men, 67% in 2017</a:t>
            </a:r>
          </a:p>
          <a:p>
            <a:r>
              <a:rPr lang="en-US"/>
              <a:t>Teen girls 2019-2021=(66%, 63%, 63%), Adult women 2019-2021=(72%, 71%, 70%) 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7347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527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hile DCI was 75% in 2019</a:t>
            </a:r>
          </a:p>
          <a:p>
            <a:r>
              <a:rPr lang="en-US"/>
              <a:t>42% of geos improved DCI in 2020, 0% improved in 2019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3279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ales more confident than females (53% vs. 42%)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08413A8-5751-49C4-A1EE-6DF953373A35}" type="datetime8">
              <a:rPr lang="en-US" smtClean="0"/>
              <a:t>12/17/2021 10:51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3283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>
            <a:extLst>
              <a:ext uri="{FF2B5EF4-FFF2-40B4-BE49-F238E27FC236}">
                <a16:creationId xmlns:a16="http://schemas.microsoft.com/office/drawing/2014/main" id="{7396ACE7-F558-4C66-AE7E-E2762CCA2F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4FA1B2A-D344-B547-A7FD-B994845BD2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6588"/>
            <a:ext cx="6957925" cy="21839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None/>
              <a:defRPr sz="14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6th Edition, 2021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B4ACCF3-A7CA-E74E-A817-16D1AB39F3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199" y="2536580"/>
            <a:ext cx="6970233" cy="997196"/>
          </a:xfrm>
          <a:noFill/>
          <a:ln>
            <a:solidFill>
              <a:schemeClr val="bg1"/>
            </a:solidFill>
          </a:ln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ivility, Safety &amp;</a:t>
            </a:r>
            <a:br>
              <a:rPr lang="en-US"/>
            </a:br>
            <a:r>
              <a:rPr lang="en-US"/>
              <a:t>Interaction Onlin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A679FF3-0B82-4D60-9363-60B19B5AB5CE}"/>
              </a:ext>
            </a:extLst>
          </p:cNvPr>
          <p:cNvSpPr txBox="1"/>
          <p:nvPr userDrawn="1"/>
        </p:nvSpPr>
        <p:spPr>
          <a:xfrm>
            <a:off x="501694" y="6566825"/>
            <a:ext cx="335269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crosoft confidential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" name="Picture 8" descr="A close up of a sign&#10;&#10;Description generated with high confidence">
            <a:extLst>
              <a:ext uri="{FF2B5EF4-FFF2-40B4-BE49-F238E27FC236}">
                <a16:creationId xmlns:a16="http://schemas.microsoft.com/office/drawing/2014/main" id="{ACBFE1F3-8F2C-4C3C-A85F-753B6F44010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9450" y="6434430"/>
            <a:ext cx="723902" cy="274320"/>
          </a:xfrm>
          <a:prstGeom prst="rect">
            <a:avLst/>
          </a:prstGeom>
        </p:spPr>
      </p:pic>
      <p:pic>
        <p:nvPicPr>
          <p:cNvPr id="14" name="Picture 13" descr="Background pattern&#10;&#10;Description automatically generated">
            <a:extLst>
              <a:ext uri="{FF2B5EF4-FFF2-40B4-BE49-F238E27FC236}">
                <a16:creationId xmlns:a16="http://schemas.microsoft.com/office/drawing/2014/main" id="{A5E81DD0-FAB4-491B-A046-A22313DE449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 rot="16200000">
            <a:off x="5858954" y="90771"/>
            <a:ext cx="4716260" cy="667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5981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quare photo 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3357A2CD-13C2-084F-9F22-4650E8B75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2536580"/>
            <a:ext cx="4171950" cy="99719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Section title square photo layout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615A8A9-814B-4342-B073-488640215E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2042" y="3968253"/>
            <a:ext cx="4164583" cy="2183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None/>
              <a:defRPr sz="14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1E2A391-CCB0-104D-AEB8-A071C05F5FC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334000" y="0"/>
            <a:ext cx="6858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lnSpc>
                <a:spcPct val="200000"/>
              </a:lnSpc>
              <a:buNone/>
              <a:defRPr sz="2000" b="1">
                <a:solidFill>
                  <a:srgbClr val="0D0D0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A104026-9736-FA45-9EBB-2BFF3D847043}"/>
              </a:ext>
            </a:extLst>
          </p:cNvPr>
          <p:cNvSpPr txBox="1"/>
          <p:nvPr userDrawn="1"/>
        </p:nvSpPr>
        <p:spPr>
          <a:xfrm>
            <a:off x="595885" y="6648880"/>
            <a:ext cx="4571779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A60CAA2C-59EC-4BAF-ADE0-46F2C7CDD5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Title of presentation or section titl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37429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quare photo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82042" y="3968253"/>
            <a:ext cx="4164583" cy="2183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None/>
              <a:defRPr sz="1400" spc="0" baseline="0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5AC9123-83D5-40EB-9340-6F0D320AF1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2536580"/>
            <a:ext cx="4171950" cy="99719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90000"/>
              </a:lnSpc>
              <a:defRPr sz="3600" spc="-50" baseline="0">
                <a:solidFill>
                  <a:srgbClr val="000000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Section title square photo layout 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D7E2CE7E-B17F-CD40-8027-65647CBD47B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334000" y="0"/>
            <a:ext cx="6858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lnSpc>
                <a:spcPct val="200000"/>
              </a:lnSpc>
              <a:buNone/>
              <a:defRPr sz="2000" b="1">
                <a:solidFill>
                  <a:srgbClr val="0D0D0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A22570-B9A9-E74C-A4A1-05E61C275203}"/>
              </a:ext>
            </a:extLst>
          </p:cNvPr>
          <p:cNvSpPr txBox="1"/>
          <p:nvPr userDrawn="1"/>
        </p:nvSpPr>
        <p:spPr>
          <a:xfrm>
            <a:off x="595885" y="6648880"/>
            <a:ext cx="4571779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A60CAA2C-59EC-4BAF-ADE0-46F2C7CDD5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Title of presentation or section titl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5573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1 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B53945C-F73F-4543-952B-B9CA8D1DE9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2042" y="3968253"/>
            <a:ext cx="4164583" cy="2183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None/>
              <a:defRPr sz="14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357A2CD-13C2-084F-9F22-4650E8B75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3035178"/>
            <a:ext cx="417195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5145798-B73B-B34E-9C06-5CFD5E3A1FE3}"/>
              </a:ext>
            </a:extLst>
          </p:cNvPr>
          <p:cNvSpPr/>
          <p:nvPr userDrawn="1"/>
        </p:nvSpPr>
        <p:spPr bwMode="auto">
          <a:xfrm>
            <a:off x="1" y="6575383"/>
            <a:ext cx="12192000" cy="291068"/>
          </a:xfrm>
          <a:prstGeom prst="rect">
            <a:avLst/>
          </a:prstGeom>
          <a:solidFill>
            <a:srgbClr val="505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D768164-EEDA-F840-B198-E09A7422D167}"/>
              </a:ext>
            </a:extLst>
          </p:cNvPr>
          <p:cNvSpPr txBox="1"/>
          <p:nvPr userDrawn="1"/>
        </p:nvSpPr>
        <p:spPr>
          <a:xfrm>
            <a:off x="595885" y="6648880"/>
            <a:ext cx="4571779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A60CAA2C-59EC-4BAF-ADE0-46F2C7CDD5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D877519-B62C-49FC-BB16-73D718AE66EC}"/>
              </a:ext>
            </a:extLst>
          </p:cNvPr>
          <p:cNvSpPr txBox="1"/>
          <p:nvPr userDrawn="1"/>
        </p:nvSpPr>
        <p:spPr>
          <a:xfrm>
            <a:off x="8243425" y="6648880"/>
            <a:ext cx="335269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crosoft confidential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3817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5AC9123-83D5-40EB-9340-6F0D320AF1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2743200"/>
            <a:ext cx="417195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bg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EBA66A-4D0D-4244-9EB7-5DFA0788D1A0}"/>
              </a:ext>
            </a:extLst>
          </p:cNvPr>
          <p:cNvSpPr txBox="1"/>
          <p:nvPr userDrawn="1"/>
        </p:nvSpPr>
        <p:spPr>
          <a:xfrm>
            <a:off x="595885" y="6648880"/>
            <a:ext cx="4571779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A60CAA2C-59EC-4BAF-ADE0-46F2C7CDD5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9190356-7986-44F6-9E89-70E458504BB4}"/>
              </a:ext>
            </a:extLst>
          </p:cNvPr>
          <p:cNvSpPr txBox="1"/>
          <p:nvPr userDrawn="1"/>
        </p:nvSpPr>
        <p:spPr>
          <a:xfrm>
            <a:off x="8243425" y="6648880"/>
            <a:ext cx="335269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crosoft confidential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858E6B-0BB4-4322-B811-325B500D1190}"/>
              </a:ext>
            </a:extLst>
          </p:cNvPr>
          <p:cNvSpPr/>
          <p:nvPr userDrawn="1"/>
        </p:nvSpPr>
        <p:spPr bwMode="auto">
          <a:xfrm>
            <a:off x="5335939" y="0"/>
            <a:ext cx="6858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59896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5AC9123-83D5-40EB-9340-6F0D320AF1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2743200"/>
            <a:ext cx="417195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bg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EBA66A-4D0D-4244-9EB7-5DFA0788D1A0}"/>
              </a:ext>
            </a:extLst>
          </p:cNvPr>
          <p:cNvSpPr txBox="1"/>
          <p:nvPr userDrawn="1"/>
        </p:nvSpPr>
        <p:spPr>
          <a:xfrm>
            <a:off x="595885" y="6648880"/>
            <a:ext cx="4571779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A60CAA2C-59EC-4BAF-ADE0-46F2C7CDD5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9190356-7986-44F6-9E89-70E458504BB4}"/>
              </a:ext>
            </a:extLst>
          </p:cNvPr>
          <p:cNvSpPr txBox="1"/>
          <p:nvPr userDrawn="1"/>
        </p:nvSpPr>
        <p:spPr>
          <a:xfrm>
            <a:off x="8243425" y="6648880"/>
            <a:ext cx="335269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crosoft confidential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858E6B-0BB4-4322-B811-325B500D1190}"/>
              </a:ext>
            </a:extLst>
          </p:cNvPr>
          <p:cNvSpPr/>
          <p:nvPr userDrawn="1"/>
        </p:nvSpPr>
        <p:spPr bwMode="auto">
          <a:xfrm>
            <a:off x="5335939" y="0"/>
            <a:ext cx="6858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97330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F9EBA66A-4D0D-4244-9EB7-5DFA0788D1A0}"/>
              </a:ext>
            </a:extLst>
          </p:cNvPr>
          <p:cNvSpPr txBox="1"/>
          <p:nvPr userDrawn="1"/>
        </p:nvSpPr>
        <p:spPr>
          <a:xfrm>
            <a:off x="595885" y="6648880"/>
            <a:ext cx="4571779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A60CAA2C-59EC-4BAF-ADE0-46F2C7CDD5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9190356-7986-44F6-9E89-70E458504BB4}"/>
              </a:ext>
            </a:extLst>
          </p:cNvPr>
          <p:cNvSpPr txBox="1"/>
          <p:nvPr userDrawn="1"/>
        </p:nvSpPr>
        <p:spPr>
          <a:xfrm>
            <a:off x="8243425" y="6648880"/>
            <a:ext cx="335269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crosoft confidential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858E6B-0BB4-4322-B811-325B500D1190}"/>
              </a:ext>
            </a:extLst>
          </p:cNvPr>
          <p:cNvSpPr/>
          <p:nvPr userDrawn="1"/>
        </p:nvSpPr>
        <p:spPr bwMode="auto">
          <a:xfrm>
            <a:off x="5335939" y="0"/>
            <a:ext cx="6858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ECB6E7B-8D2C-4455-9EBB-6A880F5DE5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2743200"/>
            <a:ext cx="417195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bg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611519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5AC9123-83D5-40EB-9340-6F0D320AF1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2743200"/>
            <a:ext cx="417195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bg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EBA66A-4D0D-4244-9EB7-5DFA0788D1A0}"/>
              </a:ext>
            </a:extLst>
          </p:cNvPr>
          <p:cNvSpPr txBox="1"/>
          <p:nvPr userDrawn="1"/>
        </p:nvSpPr>
        <p:spPr>
          <a:xfrm>
            <a:off x="595885" y="6648880"/>
            <a:ext cx="4571779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A60CAA2C-59EC-4BAF-ADE0-46F2C7CDD5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9190356-7986-44F6-9E89-70E458504BB4}"/>
              </a:ext>
            </a:extLst>
          </p:cNvPr>
          <p:cNvSpPr txBox="1"/>
          <p:nvPr userDrawn="1"/>
        </p:nvSpPr>
        <p:spPr>
          <a:xfrm>
            <a:off x="8243425" y="6648880"/>
            <a:ext cx="335269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crosoft confidential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858E6B-0BB4-4322-B811-325B500D1190}"/>
              </a:ext>
            </a:extLst>
          </p:cNvPr>
          <p:cNvSpPr/>
          <p:nvPr userDrawn="1"/>
        </p:nvSpPr>
        <p:spPr bwMode="auto">
          <a:xfrm>
            <a:off x="5335939" y="0"/>
            <a:ext cx="6858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21685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5AC9123-83D5-40EB-9340-6F0D320AF1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2743200"/>
            <a:ext cx="417195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bg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EBA66A-4D0D-4244-9EB7-5DFA0788D1A0}"/>
              </a:ext>
            </a:extLst>
          </p:cNvPr>
          <p:cNvSpPr txBox="1"/>
          <p:nvPr userDrawn="1"/>
        </p:nvSpPr>
        <p:spPr>
          <a:xfrm>
            <a:off x="595885" y="6648880"/>
            <a:ext cx="4571779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A60CAA2C-59EC-4BAF-ADE0-46F2C7CDD5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9190356-7986-44F6-9E89-70E458504BB4}"/>
              </a:ext>
            </a:extLst>
          </p:cNvPr>
          <p:cNvSpPr txBox="1"/>
          <p:nvPr userDrawn="1"/>
        </p:nvSpPr>
        <p:spPr>
          <a:xfrm>
            <a:off x="8243425" y="6648880"/>
            <a:ext cx="335269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crosoft confidential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858E6B-0BB4-4322-B811-325B500D1190}"/>
              </a:ext>
            </a:extLst>
          </p:cNvPr>
          <p:cNvSpPr/>
          <p:nvPr userDrawn="1"/>
        </p:nvSpPr>
        <p:spPr bwMode="auto">
          <a:xfrm>
            <a:off x="5120640" y="0"/>
            <a:ext cx="7223760" cy="6858000"/>
          </a:xfrm>
          <a:prstGeom prst="rect">
            <a:avLst/>
          </a:prstGeom>
          <a:blipFill>
            <a:blip r:embed="rId2"/>
            <a:stretch>
              <a:fillRect l="-11130" r="-10389"/>
            </a:stretch>
          </a:blip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88390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5AC9123-83D5-40EB-9340-6F0D320AF1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2743200"/>
            <a:ext cx="417195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bg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EBA66A-4D0D-4244-9EB7-5DFA0788D1A0}"/>
              </a:ext>
            </a:extLst>
          </p:cNvPr>
          <p:cNvSpPr txBox="1"/>
          <p:nvPr userDrawn="1"/>
        </p:nvSpPr>
        <p:spPr>
          <a:xfrm>
            <a:off x="595885" y="6648880"/>
            <a:ext cx="4571779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A60CAA2C-59EC-4BAF-ADE0-46F2C7CDD5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9190356-7986-44F6-9E89-70E458504BB4}"/>
              </a:ext>
            </a:extLst>
          </p:cNvPr>
          <p:cNvSpPr txBox="1"/>
          <p:nvPr userDrawn="1"/>
        </p:nvSpPr>
        <p:spPr>
          <a:xfrm>
            <a:off x="8243425" y="6648880"/>
            <a:ext cx="335269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crosoft confidential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858E6B-0BB4-4322-B811-325B500D1190}"/>
              </a:ext>
            </a:extLst>
          </p:cNvPr>
          <p:cNvSpPr/>
          <p:nvPr userDrawn="1"/>
        </p:nvSpPr>
        <p:spPr bwMode="auto">
          <a:xfrm>
            <a:off x="5061509" y="0"/>
            <a:ext cx="7223760" cy="6858000"/>
          </a:xfrm>
          <a:prstGeom prst="rect">
            <a:avLst/>
          </a:prstGeom>
          <a:blipFill>
            <a:blip r:embed="rId2"/>
            <a:stretch>
              <a:fillRect l="263" r="1003"/>
            </a:stretch>
          </a:blip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98342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5AC9123-83D5-40EB-9340-6F0D320AF1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2743200"/>
            <a:ext cx="417195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bg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EBA66A-4D0D-4244-9EB7-5DFA0788D1A0}"/>
              </a:ext>
            </a:extLst>
          </p:cNvPr>
          <p:cNvSpPr txBox="1"/>
          <p:nvPr userDrawn="1"/>
        </p:nvSpPr>
        <p:spPr>
          <a:xfrm>
            <a:off x="595885" y="6648880"/>
            <a:ext cx="4571779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A60CAA2C-59EC-4BAF-ADE0-46F2C7CDD5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9190356-7986-44F6-9E89-70E458504BB4}"/>
              </a:ext>
            </a:extLst>
          </p:cNvPr>
          <p:cNvSpPr txBox="1"/>
          <p:nvPr userDrawn="1"/>
        </p:nvSpPr>
        <p:spPr>
          <a:xfrm>
            <a:off x="8243425" y="6648880"/>
            <a:ext cx="335269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crosoft confidential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858E6B-0BB4-4322-B811-325B500D1190}"/>
              </a:ext>
            </a:extLst>
          </p:cNvPr>
          <p:cNvSpPr/>
          <p:nvPr userDrawn="1"/>
        </p:nvSpPr>
        <p:spPr bwMode="auto">
          <a:xfrm>
            <a:off x="5061509" y="0"/>
            <a:ext cx="7223760" cy="6858000"/>
          </a:xfrm>
          <a:prstGeom prst="rect">
            <a:avLst/>
          </a:prstGeom>
          <a:blipFill>
            <a:blip r:embed="rId2"/>
            <a:stretch>
              <a:fillRect l="263" r="1003"/>
            </a:stretch>
          </a:blip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367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2DD02D-8F12-40DF-8DD4-E1AC993F8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36F1E3-75B3-40EA-B1D8-F788E07FF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A8EC0AE-BB76-4B4D-B36B-5EBE8C63BE88}"/>
              </a:ext>
            </a:extLst>
          </p:cNvPr>
          <p:cNvSpPr txBox="1">
            <a:spLocks/>
          </p:cNvSpPr>
          <p:nvPr userDrawn="1"/>
        </p:nvSpPr>
        <p:spPr>
          <a:xfrm>
            <a:off x="9377516" y="648416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0244608-00C3-40F0-91E3-BE5CB4D2860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980DA85-386E-4940-B89D-672F2A508891}"/>
              </a:ext>
            </a:extLst>
          </p:cNvPr>
          <p:cNvSpPr>
            <a:spLocks/>
          </p:cNvSpPr>
          <p:nvPr userDrawn="1"/>
        </p:nvSpPr>
        <p:spPr bwMode="auto">
          <a:xfrm>
            <a:off x="6150721" y="-1230"/>
            <a:ext cx="6035040" cy="684929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FBAA8B2-ACF0-417A-84DF-2AF604C9D977}"/>
              </a:ext>
            </a:extLst>
          </p:cNvPr>
          <p:cNvSpPr txBox="1"/>
          <p:nvPr userDrawn="1"/>
        </p:nvSpPr>
        <p:spPr>
          <a:xfrm>
            <a:off x="595885" y="6648880"/>
            <a:ext cx="4571779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A60CAA2C-59EC-4BAF-ADE0-46F2C7CDD5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68018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5AC9123-83D5-40EB-9340-6F0D320AF1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2743200"/>
            <a:ext cx="417195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bg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EBA66A-4D0D-4244-9EB7-5DFA0788D1A0}"/>
              </a:ext>
            </a:extLst>
          </p:cNvPr>
          <p:cNvSpPr txBox="1"/>
          <p:nvPr userDrawn="1"/>
        </p:nvSpPr>
        <p:spPr>
          <a:xfrm>
            <a:off x="595885" y="6648880"/>
            <a:ext cx="4571779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A60CAA2C-59EC-4BAF-ADE0-46F2C7CDD5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9190356-7986-44F6-9E89-70E458504BB4}"/>
              </a:ext>
            </a:extLst>
          </p:cNvPr>
          <p:cNvSpPr txBox="1"/>
          <p:nvPr userDrawn="1"/>
        </p:nvSpPr>
        <p:spPr>
          <a:xfrm>
            <a:off x="8243425" y="6648880"/>
            <a:ext cx="335269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crosoft confidential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09627F6-CB7D-4823-A71B-407161FF0328}"/>
              </a:ext>
            </a:extLst>
          </p:cNvPr>
          <p:cNvGrpSpPr/>
          <p:nvPr userDrawn="1"/>
        </p:nvGrpSpPr>
        <p:grpSpPr>
          <a:xfrm>
            <a:off x="5061509" y="0"/>
            <a:ext cx="7223760" cy="6858000"/>
            <a:chOff x="5061509" y="0"/>
            <a:chExt cx="7223760" cy="685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8858E6B-0BB4-4322-B811-325B500D1190}"/>
                </a:ext>
              </a:extLst>
            </p:cNvPr>
            <p:cNvSpPr/>
            <p:nvPr userDrawn="1"/>
          </p:nvSpPr>
          <p:spPr bwMode="auto">
            <a:xfrm>
              <a:off x="5061509" y="0"/>
              <a:ext cx="7223760" cy="685800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" name="Picture 12" descr="A picture containing icon&#10;&#10;Description automatically generated">
              <a:extLst>
                <a:ext uri="{FF2B5EF4-FFF2-40B4-BE49-F238E27FC236}">
                  <a16:creationId xmlns:a16="http://schemas.microsoft.com/office/drawing/2014/main" id="{1DF5043C-EFD8-42CD-A5A6-62DD3EFE586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768389" y="1266825"/>
              <a:ext cx="3810000" cy="2952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4345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titl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5AC9123-83D5-40EB-9340-6F0D320AF1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2743200"/>
            <a:ext cx="417195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bg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EBA66A-4D0D-4244-9EB7-5DFA0788D1A0}"/>
              </a:ext>
            </a:extLst>
          </p:cNvPr>
          <p:cNvSpPr txBox="1"/>
          <p:nvPr userDrawn="1"/>
        </p:nvSpPr>
        <p:spPr>
          <a:xfrm>
            <a:off x="595885" y="6648880"/>
            <a:ext cx="4571779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A60CAA2C-59EC-4BAF-ADE0-46F2C7CDD5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9190356-7986-44F6-9E89-70E458504BB4}"/>
              </a:ext>
            </a:extLst>
          </p:cNvPr>
          <p:cNvSpPr txBox="1"/>
          <p:nvPr userDrawn="1"/>
        </p:nvSpPr>
        <p:spPr>
          <a:xfrm>
            <a:off x="8243425" y="6648880"/>
            <a:ext cx="335269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crosoft confidential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858E6B-0BB4-4322-B811-325B500D1190}"/>
              </a:ext>
            </a:extLst>
          </p:cNvPr>
          <p:cNvSpPr/>
          <p:nvPr userDrawn="1"/>
        </p:nvSpPr>
        <p:spPr bwMode="auto">
          <a:xfrm>
            <a:off x="5061509" y="0"/>
            <a:ext cx="7223760" cy="6858000"/>
          </a:xfrm>
          <a:prstGeom prst="rect">
            <a:avLst/>
          </a:prstGeom>
          <a:blipFill>
            <a:blip r:embed="rId2"/>
            <a:stretch>
              <a:fillRect l="-21518" r="1266"/>
            </a:stretch>
          </a:blip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24258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>
            <a:extLst>
              <a:ext uri="{FF2B5EF4-FFF2-40B4-BE49-F238E27FC236}">
                <a16:creationId xmlns:a16="http://schemas.microsoft.com/office/drawing/2014/main" id="{7396ACE7-F558-4C66-AE7E-E2762CCA2F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ADB182F-C624-2547-8A44-4AAFABE954B7}"/>
              </a:ext>
            </a:extLst>
          </p:cNvPr>
          <p:cNvSpPr txBox="1"/>
          <p:nvPr userDrawn="1"/>
        </p:nvSpPr>
        <p:spPr>
          <a:xfrm>
            <a:off x="595885" y="6648880"/>
            <a:ext cx="4571779" cy="2985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Copyright Microsoft Corporation. All rights reserved. </a:t>
            </a:r>
          </a:p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6132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itle_Map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1E83D3D-784C-4FAA-A4F9-E0ACB679030B}"/>
              </a:ext>
            </a:extLst>
          </p:cNvPr>
          <p:cNvSpPr txBox="1">
            <a:spLocks/>
          </p:cNvSpPr>
          <p:nvPr userDrawn="1"/>
        </p:nvSpPr>
        <p:spPr>
          <a:xfrm>
            <a:off x="9377516" y="648416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0244608-00C3-40F0-91E3-BE5CB4D286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03384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6F961560-762C-234D-9C21-2383B23AD5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1168"/>
            <a:ext cx="10430257" cy="33855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16A9E15-E9DF-F744-8237-5BE3D8FD96B2}"/>
              </a:ext>
            </a:extLst>
          </p:cNvPr>
          <p:cNvSpPr/>
          <p:nvPr userDrawn="1"/>
        </p:nvSpPr>
        <p:spPr bwMode="auto">
          <a:xfrm>
            <a:off x="1" y="6575383"/>
            <a:ext cx="12192000" cy="291068"/>
          </a:xfrm>
          <a:prstGeom prst="rect">
            <a:avLst/>
          </a:prstGeom>
          <a:solidFill>
            <a:srgbClr val="505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6C761F-D534-B64B-9684-71C973D84074}"/>
              </a:ext>
            </a:extLst>
          </p:cNvPr>
          <p:cNvSpPr txBox="1"/>
          <p:nvPr userDrawn="1"/>
        </p:nvSpPr>
        <p:spPr>
          <a:xfrm>
            <a:off x="595885" y="6648880"/>
            <a:ext cx="4571779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A60CAA2C-59EC-4BAF-ADE0-46F2C7CDD5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Title of presentation or section titl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1292A01-2E81-834B-A458-3E12D22917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5216" y="1450909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2D6A22-D0AD-41F4-BCD4-83B0B21F9A56}"/>
              </a:ext>
            </a:extLst>
          </p:cNvPr>
          <p:cNvSpPr txBox="1"/>
          <p:nvPr userDrawn="1"/>
        </p:nvSpPr>
        <p:spPr>
          <a:xfrm>
            <a:off x="8243425" y="6648880"/>
            <a:ext cx="335269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ka.ms/researchandinsights                   Microsoft confidential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08486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C35E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C35EA4"/>
          </p15:clr>
        </p15:guide>
        <p15:guide id="17" pos="3932">
          <p15:clr>
            <a:srgbClr val="C35E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C35EA4"/>
          </p15:clr>
        </p15:guide>
        <p15:guide id="21" pos="5120">
          <p15:clr>
            <a:srgbClr val="C35E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12">
          <p15:clr>
            <a:srgbClr val="5ACBF0"/>
          </p15:clr>
        </p15:guide>
        <p15:guide id="31" pos="2743">
          <p15:clr>
            <a:srgbClr val="C35EA4"/>
          </p15:clr>
        </p15:guide>
        <p15:guide id="32" orient="horz" pos="1439">
          <p15:clr>
            <a:srgbClr val="C35EA4"/>
          </p15:clr>
        </p15:guide>
        <p15:guide id="33" orient="horz" pos="1625">
          <p15:clr>
            <a:srgbClr val="C35EA4"/>
          </p15:clr>
        </p15:guide>
        <p15:guide id="35" orient="horz" pos="2250">
          <p15:clr>
            <a:srgbClr val="C35EA4"/>
          </p15:clr>
        </p15:guide>
        <p15:guide id="36" orient="horz" pos="2066">
          <p15:clr>
            <a:srgbClr val="C35EA4"/>
          </p15:clr>
        </p15:guide>
        <p15:guide id="37" orient="horz" pos="2697">
          <p15:clr>
            <a:srgbClr val="C35EA4"/>
          </p15:clr>
        </p15:guide>
        <p15:guide id="38" orient="horz" pos="2880">
          <p15:clr>
            <a:srgbClr val="C35EA4"/>
          </p15:clr>
        </p15:guide>
        <p15:guide id="39" orient="horz" pos="63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6F961560-762C-234D-9C21-2383B23AD5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33855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7872A62-21BB-1E4D-8ADC-C6547C04BD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5217" y="1451616"/>
            <a:ext cx="5366322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1B0CFD7-A0F1-F24D-A2FD-63632A34E53A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49417" y="1451616"/>
            <a:ext cx="5366322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0C4C8B-EBC3-7949-B243-E92A3B7D234E}"/>
              </a:ext>
            </a:extLst>
          </p:cNvPr>
          <p:cNvSpPr/>
          <p:nvPr userDrawn="1"/>
        </p:nvSpPr>
        <p:spPr bwMode="auto">
          <a:xfrm>
            <a:off x="1" y="6575383"/>
            <a:ext cx="12192000" cy="291068"/>
          </a:xfrm>
          <a:prstGeom prst="rect">
            <a:avLst/>
          </a:prstGeom>
          <a:solidFill>
            <a:srgbClr val="505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EB702A-75F8-CA48-8F51-F3E78063C0ED}"/>
              </a:ext>
            </a:extLst>
          </p:cNvPr>
          <p:cNvSpPr txBox="1"/>
          <p:nvPr userDrawn="1"/>
        </p:nvSpPr>
        <p:spPr>
          <a:xfrm>
            <a:off x="595885" y="6648880"/>
            <a:ext cx="4571779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A60CAA2C-59EC-4BAF-ADE0-46F2C7CDD5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Title of presentation or section titl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FA97AF5-BD43-4578-9B5D-56E3F24FF53D}"/>
              </a:ext>
            </a:extLst>
          </p:cNvPr>
          <p:cNvSpPr txBox="1"/>
          <p:nvPr userDrawn="1"/>
        </p:nvSpPr>
        <p:spPr>
          <a:xfrm>
            <a:off x="8243425" y="6648880"/>
            <a:ext cx="335269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ka.ms/researchandinsights                   Microsoft confidential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99622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C35E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C35EA4"/>
          </p15:clr>
        </p15:guide>
        <p15:guide id="17" pos="3932">
          <p15:clr>
            <a:srgbClr val="C35E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C35EA4"/>
          </p15:clr>
        </p15:guide>
        <p15:guide id="21" pos="5120">
          <p15:clr>
            <a:srgbClr val="C35E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12">
          <p15:clr>
            <a:srgbClr val="5ACBF0"/>
          </p15:clr>
        </p15:guide>
        <p15:guide id="31" pos="2743">
          <p15:clr>
            <a:srgbClr val="C35EA4"/>
          </p15:clr>
        </p15:guide>
        <p15:guide id="32" orient="horz" pos="1439">
          <p15:clr>
            <a:srgbClr val="C35EA4"/>
          </p15:clr>
        </p15:guide>
        <p15:guide id="33" orient="horz" pos="1625">
          <p15:clr>
            <a:srgbClr val="C35EA4"/>
          </p15:clr>
        </p15:guide>
        <p15:guide id="35" orient="horz" pos="2250">
          <p15:clr>
            <a:srgbClr val="C35EA4"/>
          </p15:clr>
        </p15:guide>
        <p15:guide id="36" orient="horz" pos="2066">
          <p15:clr>
            <a:srgbClr val="C35EA4"/>
          </p15:clr>
        </p15:guide>
        <p15:guide id="37" orient="horz" pos="2697">
          <p15:clr>
            <a:srgbClr val="C35EA4"/>
          </p15:clr>
        </p15:guide>
        <p15:guide id="38" orient="horz" pos="2880">
          <p15:clr>
            <a:srgbClr val="C35EA4"/>
          </p15:clr>
        </p15:guide>
        <p15:guide id="39" orient="horz" pos="63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1926BD14-F7C7-1A47-8B95-161C1AED11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33855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887F623-AD3E-E14B-8F9C-7F803A0118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5216" y="1452854"/>
            <a:ext cx="3480372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3B7F7A1-4FE8-4342-B90B-F012A073FD92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358146" y="1452854"/>
            <a:ext cx="3480372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F4FB7C8-A968-6745-8AD5-EAAE70606FD8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139314" y="1452854"/>
            <a:ext cx="3480372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F48D200-02E3-AD45-A674-5E19788764C8}"/>
              </a:ext>
            </a:extLst>
          </p:cNvPr>
          <p:cNvSpPr/>
          <p:nvPr userDrawn="1"/>
        </p:nvSpPr>
        <p:spPr bwMode="auto">
          <a:xfrm>
            <a:off x="1" y="6575383"/>
            <a:ext cx="12192000" cy="291068"/>
          </a:xfrm>
          <a:prstGeom prst="rect">
            <a:avLst/>
          </a:prstGeom>
          <a:solidFill>
            <a:srgbClr val="505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B4BC17C-13B6-7F42-A97A-B8A454C43107}"/>
              </a:ext>
            </a:extLst>
          </p:cNvPr>
          <p:cNvSpPr txBox="1"/>
          <p:nvPr userDrawn="1"/>
        </p:nvSpPr>
        <p:spPr>
          <a:xfrm>
            <a:off x="595885" y="6648880"/>
            <a:ext cx="4571779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A60CAA2C-59EC-4BAF-ADE0-46F2C7CDD5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Title of presentation or section titl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1E916FD-DCE5-4D5E-8810-B93A7C0EBC40}"/>
              </a:ext>
            </a:extLst>
          </p:cNvPr>
          <p:cNvSpPr txBox="1"/>
          <p:nvPr userDrawn="1"/>
        </p:nvSpPr>
        <p:spPr>
          <a:xfrm>
            <a:off x="8243425" y="6648880"/>
            <a:ext cx="335269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ka.ms/researchandinsights                   Microsoft confidential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96378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C35E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C35EA4"/>
          </p15:clr>
        </p15:guide>
        <p15:guide id="17" pos="3932">
          <p15:clr>
            <a:srgbClr val="C35E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C35EA4"/>
          </p15:clr>
        </p15:guide>
        <p15:guide id="21" pos="5120">
          <p15:clr>
            <a:srgbClr val="C35E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12">
          <p15:clr>
            <a:srgbClr val="5ACBF0"/>
          </p15:clr>
        </p15:guide>
        <p15:guide id="31" pos="2743">
          <p15:clr>
            <a:srgbClr val="C35EA4"/>
          </p15:clr>
        </p15:guide>
        <p15:guide id="32" orient="horz" pos="1439">
          <p15:clr>
            <a:srgbClr val="C35EA4"/>
          </p15:clr>
        </p15:guide>
        <p15:guide id="33" orient="horz" pos="1625">
          <p15:clr>
            <a:srgbClr val="C35EA4"/>
          </p15:clr>
        </p15:guide>
        <p15:guide id="35" orient="horz" pos="2250">
          <p15:clr>
            <a:srgbClr val="C35EA4"/>
          </p15:clr>
        </p15:guide>
        <p15:guide id="36" orient="horz" pos="2066">
          <p15:clr>
            <a:srgbClr val="C35EA4"/>
          </p15:clr>
        </p15:guide>
        <p15:guide id="37" orient="horz" pos="2697">
          <p15:clr>
            <a:srgbClr val="C35EA4"/>
          </p15:clr>
        </p15:guide>
        <p15:guide id="38" orient="horz" pos="2880">
          <p15:clr>
            <a:srgbClr val="C35EA4"/>
          </p15:clr>
        </p15:guide>
        <p15:guide id="39" orient="horz" pos="6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8BE3863-39A9-A640-900F-E751A332DE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33855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508516D-7C69-B244-9BC5-0E452D75160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5216" y="1453281"/>
            <a:ext cx="2537397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6FCFC732-5B26-CB4E-B230-17D4BF640FA2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3413083" y="1453281"/>
            <a:ext cx="2537397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78ABFADD-2FF3-D94C-B683-165A0F752239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240950" y="1453281"/>
            <a:ext cx="2537397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1DEF1EB-5244-814F-A35B-A3FB06DE537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9077283" y="1453281"/>
            <a:ext cx="2537397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3F3B623-01B7-0C40-8EDF-9DBCC18E77FF}"/>
              </a:ext>
            </a:extLst>
          </p:cNvPr>
          <p:cNvSpPr/>
          <p:nvPr userDrawn="1"/>
        </p:nvSpPr>
        <p:spPr bwMode="auto">
          <a:xfrm>
            <a:off x="1" y="6575383"/>
            <a:ext cx="12192000" cy="291068"/>
          </a:xfrm>
          <a:prstGeom prst="rect">
            <a:avLst/>
          </a:prstGeom>
          <a:solidFill>
            <a:srgbClr val="505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38CCBAB-6CF6-1046-B58D-76E1F78D35FA}"/>
              </a:ext>
            </a:extLst>
          </p:cNvPr>
          <p:cNvSpPr txBox="1"/>
          <p:nvPr userDrawn="1"/>
        </p:nvSpPr>
        <p:spPr>
          <a:xfrm>
            <a:off x="595885" y="6648880"/>
            <a:ext cx="4571779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A60CAA2C-59EC-4BAF-ADE0-46F2C7CDD5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Title of presentation or section titl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625B88B-3C9F-49FF-9B1B-B05969A7AC28}"/>
              </a:ext>
            </a:extLst>
          </p:cNvPr>
          <p:cNvSpPr txBox="1"/>
          <p:nvPr userDrawn="1"/>
        </p:nvSpPr>
        <p:spPr>
          <a:xfrm>
            <a:off x="8243425" y="6648880"/>
            <a:ext cx="335269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ka.ms/researchandinsights                   Microsoft confidential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15812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C35E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C35EA4"/>
          </p15:clr>
        </p15:guide>
        <p15:guide id="17" pos="3932">
          <p15:clr>
            <a:srgbClr val="C35E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C35EA4"/>
          </p15:clr>
        </p15:guide>
        <p15:guide id="21" pos="5120">
          <p15:clr>
            <a:srgbClr val="C35E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9">
          <p15:clr>
            <a:srgbClr val="5ACBF0"/>
          </p15:clr>
        </p15:guide>
        <p15:guide id="31" pos="2743">
          <p15:clr>
            <a:srgbClr val="C35EA4"/>
          </p15:clr>
        </p15:guide>
        <p15:guide id="32" orient="horz" pos="1439">
          <p15:clr>
            <a:srgbClr val="C35EA4"/>
          </p15:clr>
        </p15:guide>
        <p15:guide id="33" orient="horz" pos="1625">
          <p15:clr>
            <a:srgbClr val="C35EA4"/>
          </p15:clr>
        </p15:guide>
        <p15:guide id="35" orient="horz" pos="2250">
          <p15:clr>
            <a:srgbClr val="C35EA4"/>
          </p15:clr>
        </p15:guide>
        <p15:guide id="36" orient="horz" pos="2066">
          <p15:clr>
            <a:srgbClr val="C35EA4"/>
          </p15:clr>
        </p15:guide>
        <p15:guide id="37" orient="horz" pos="2697">
          <p15:clr>
            <a:srgbClr val="C35EA4"/>
          </p15:clr>
        </p15:guide>
        <p15:guide id="38" orient="horz" pos="2880">
          <p15:clr>
            <a:srgbClr val="C35EA4"/>
          </p15:clr>
        </p15:guide>
        <p15:guide id="39" orient="horz" pos="6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 7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>
            <a:extLst>
              <a:ext uri="{FF2B5EF4-FFF2-40B4-BE49-F238E27FC236}">
                <a16:creationId xmlns:a16="http://schemas.microsoft.com/office/drawing/2014/main" id="{15F18C2F-44AE-47B2-AF66-6F44850A45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B53945C-F73F-4543-952B-B9CA8D1DE9F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9763"/>
            <a:ext cx="4164583" cy="2183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None/>
              <a:defRPr sz="14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357A2CD-13C2-084F-9F22-4650E8B75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2536580"/>
            <a:ext cx="4171950" cy="99719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pic>
        <p:nvPicPr>
          <p:cNvPr id="8" name="Picture 7" descr="A close up of a speaker&#10;&#10;Description automatically generated">
            <a:extLst>
              <a:ext uri="{FF2B5EF4-FFF2-40B4-BE49-F238E27FC236}">
                <a16:creationId xmlns:a16="http://schemas.microsoft.com/office/drawing/2014/main" id="{D3F44FED-2743-2F49-9DCC-CA95ABD3C3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3996" y="0"/>
            <a:ext cx="6858004" cy="6858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F0833E0-35E5-4233-9B1D-E77EE83E09ED}"/>
              </a:ext>
            </a:extLst>
          </p:cNvPr>
          <p:cNvSpPr txBox="1"/>
          <p:nvPr userDrawn="1"/>
        </p:nvSpPr>
        <p:spPr>
          <a:xfrm>
            <a:off x="86061" y="6566825"/>
            <a:ext cx="335269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ka.ms/researchandinsights                   Microsoft confidential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12851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 8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6588"/>
            <a:ext cx="4164583" cy="2183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None/>
              <a:defRPr sz="1400" spc="0" baseline="0">
                <a:solidFill>
                  <a:srgbClr val="000000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7" name="MS logo gray - EMF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5AC9123-83D5-40EB-9340-6F0D320AF1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2536580"/>
            <a:ext cx="4171950" cy="99719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90000"/>
              </a:lnSpc>
              <a:defRPr sz="3600" spc="-50" baseline="0">
                <a:solidFill>
                  <a:srgbClr val="000000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pic>
        <p:nvPicPr>
          <p:cNvPr id="11" name="Picture 10" descr="A person using a computer&#10;&#10;Description automatically generated">
            <a:extLst>
              <a:ext uri="{FF2B5EF4-FFF2-40B4-BE49-F238E27FC236}">
                <a16:creationId xmlns:a16="http://schemas.microsoft.com/office/drawing/2014/main" id="{1AF85BA4-6476-E149-9679-A94F1A4C35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3998" y="0"/>
            <a:ext cx="6858002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7825FB4-28E0-4B0A-9955-D23BC6BAD880}"/>
              </a:ext>
            </a:extLst>
          </p:cNvPr>
          <p:cNvSpPr txBox="1"/>
          <p:nvPr userDrawn="1"/>
        </p:nvSpPr>
        <p:spPr>
          <a:xfrm>
            <a:off x="86061" y="6566825"/>
            <a:ext cx="335269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ka.ms/researchandinsights                   Microsoft confidential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54354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 userDrawn="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 questio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F4945301-EBA8-44CF-802A-CCBB67D6F5F6}"/>
              </a:ext>
            </a:extLst>
          </p:cNvPr>
          <p:cNvSpPr txBox="1"/>
          <p:nvPr userDrawn="1"/>
        </p:nvSpPr>
        <p:spPr>
          <a:xfrm>
            <a:off x="595885" y="6648880"/>
            <a:ext cx="4571779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A60CAA2C-59EC-4BAF-ADE0-46F2C7CDD5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D913748-B15A-4C3B-A53E-271036B4F404}"/>
              </a:ext>
            </a:extLst>
          </p:cNvPr>
          <p:cNvSpPr/>
          <p:nvPr userDrawn="1"/>
        </p:nvSpPr>
        <p:spPr bwMode="auto">
          <a:xfrm>
            <a:off x="5826034" y="-5"/>
            <a:ext cx="6858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2315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 userDrawn="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6F961560-762C-234D-9C21-2383B23AD5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1168"/>
            <a:ext cx="10430257" cy="33855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16A9E15-E9DF-F744-8237-5BE3D8FD96B2}"/>
              </a:ext>
            </a:extLst>
          </p:cNvPr>
          <p:cNvSpPr/>
          <p:nvPr userDrawn="1"/>
        </p:nvSpPr>
        <p:spPr bwMode="auto">
          <a:xfrm>
            <a:off x="1" y="6575383"/>
            <a:ext cx="12192000" cy="291068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6C761F-D534-B64B-9684-71C973D84074}"/>
              </a:ext>
            </a:extLst>
          </p:cNvPr>
          <p:cNvSpPr txBox="1"/>
          <p:nvPr userDrawn="1"/>
        </p:nvSpPr>
        <p:spPr>
          <a:xfrm>
            <a:off x="595885" y="6648880"/>
            <a:ext cx="4571779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A60CAA2C-59EC-4BAF-ADE0-46F2C7CDD5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1292A01-2E81-834B-A458-3E12D22917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5216" y="1450909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/>
            </a:lvl1pPr>
          </a:lstStyle>
          <a:p>
            <a:pPr algn="l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63FF9BC-5CFC-4F5A-AD91-EEA68B7BDD31}"/>
              </a:ext>
            </a:extLst>
          </p:cNvPr>
          <p:cNvSpPr txBox="1"/>
          <p:nvPr userDrawn="1"/>
        </p:nvSpPr>
        <p:spPr>
          <a:xfrm>
            <a:off x="7810051" y="6648880"/>
            <a:ext cx="335269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crosoft confidential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C35E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C35EA4"/>
          </p15:clr>
        </p15:guide>
        <p15:guide id="17" pos="3932">
          <p15:clr>
            <a:srgbClr val="C35E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C35EA4"/>
          </p15:clr>
        </p15:guide>
        <p15:guide id="21" pos="5120">
          <p15:clr>
            <a:srgbClr val="C35E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12" userDrawn="1">
          <p15:clr>
            <a:srgbClr val="5ACBF0"/>
          </p15:clr>
        </p15:guide>
        <p15:guide id="31" pos="2743">
          <p15:clr>
            <a:srgbClr val="C35EA4"/>
          </p15:clr>
        </p15:guide>
        <p15:guide id="32" orient="horz" pos="1439">
          <p15:clr>
            <a:srgbClr val="C35EA4"/>
          </p15:clr>
        </p15:guide>
        <p15:guide id="33" orient="horz" pos="1625">
          <p15:clr>
            <a:srgbClr val="C35EA4"/>
          </p15:clr>
        </p15:guide>
        <p15:guide id="35" orient="horz" pos="2250">
          <p15:clr>
            <a:srgbClr val="C35EA4"/>
          </p15:clr>
        </p15:guide>
        <p15:guide id="36" orient="horz" pos="2066">
          <p15:clr>
            <a:srgbClr val="C35EA4"/>
          </p15:clr>
        </p15:guide>
        <p15:guide id="37" orient="horz" pos="2697">
          <p15:clr>
            <a:srgbClr val="C35EA4"/>
          </p15:clr>
        </p15:guide>
        <p15:guide id="38" orient="horz" pos="2880">
          <p15:clr>
            <a:srgbClr val="C35EA4"/>
          </p15:clr>
        </p15:guide>
        <p15:guide id="39" orient="horz" pos="63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6F961560-762C-234D-9C21-2383B23AD5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33855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16A9E15-E9DF-F744-8237-5BE3D8FD96B2}"/>
              </a:ext>
            </a:extLst>
          </p:cNvPr>
          <p:cNvSpPr/>
          <p:nvPr userDrawn="1"/>
        </p:nvSpPr>
        <p:spPr bwMode="auto">
          <a:xfrm>
            <a:off x="1" y="6575383"/>
            <a:ext cx="12192000" cy="291068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6C761F-D534-B64B-9684-71C973D84074}"/>
              </a:ext>
            </a:extLst>
          </p:cNvPr>
          <p:cNvSpPr txBox="1"/>
          <p:nvPr userDrawn="1"/>
        </p:nvSpPr>
        <p:spPr>
          <a:xfrm>
            <a:off x="595885" y="6648880"/>
            <a:ext cx="4571779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A60CAA2C-59EC-4BAF-ADE0-46F2C7CDD5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7872A62-21BB-1E4D-8ADC-C6547C04BD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5217" y="1451616"/>
            <a:ext cx="5366322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1B0CFD7-A0F1-F24D-A2FD-63632A34E53A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49417" y="1451616"/>
            <a:ext cx="5366322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D089D49-BDB3-45E7-8243-74573759E2BF}"/>
              </a:ext>
            </a:extLst>
          </p:cNvPr>
          <p:cNvSpPr txBox="1"/>
          <p:nvPr userDrawn="1"/>
        </p:nvSpPr>
        <p:spPr>
          <a:xfrm>
            <a:off x="8243425" y="6648880"/>
            <a:ext cx="335269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crosoft confidential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7075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C35E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C35EA4"/>
          </p15:clr>
        </p15:guide>
        <p15:guide id="17" pos="3932">
          <p15:clr>
            <a:srgbClr val="C35E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C35EA4"/>
          </p15:clr>
        </p15:guide>
        <p15:guide id="21" pos="5120">
          <p15:clr>
            <a:srgbClr val="C35E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12" userDrawn="1">
          <p15:clr>
            <a:srgbClr val="5ACBF0"/>
          </p15:clr>
        </p15:guide>
        <p15:guide id="31" pos="2743">
          <p15:clr>
            <a:srgbClr val="C35EA4"/>
          </p15:clr>
        </p15:guide>
        <p15:guide id="32" orient="horz" pos="1439">
          <p15:clr>
            <a:srgbClr val="C35EA4"/>
          </p15:clr>
        </p15:guide>
        <p15:guide id="33" orient="horz" pos="1625">
          <p15:clr>
            <a:srgbClr val="C35EA4"/>
          </p15:clr>
        </p15:guide>
        <p15:guide id="35" orient="horz" pos="2250">
          <p15:clr>
            <a:srgbClr val="C35EA4"/>
          </p15:clr>
        </p15:guide>
        <p15:guide id="36" orient="horz" pos="2066">
          <p15:clr>
            <a:srgbClr val="C35EA4"/>
          </p15:clr>
        </p15:guide>
        <p15:guide id="37" orient="horz" pos="2697">
          <p15:clr>
            <a:srgbClr val="C35EA4"/>
          </p15:clr>
        </p15:guide>
        <p15:guide id="38" orient="horz" pos="2880">
          <p15:clr>
            <a:srgbClr val="C35EA4"/>
          </p15:clr>
        </p15:guide>
        <p15:guide id="39" orient="horz" pos="63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1926BD14-F7C7-1A47-8B95-161C1AED11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33855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0268385-C66E-B54E-9C59-E5DF0F4F730E}"/>
              </a:ext>
            </a:extLst>
          </p:cNvPr>
          <p:cNvSpPr/>
          <p:nvPr userDrawn="1"/>
        </p:nvSpPr>
        <p:spPr bwMode="auto">
          <a:xfrm>
            <a:off x="1" y="6575383"/>
            <a:ext cx="12192000" cy="291068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C2E37F-334D-0048-A2A2-0A4B1ABD5813}"/>
              </a:ext>
            </a:extLst>
          </p:cNvPr>
          <p:cNvSpPr txBox="1"/>
          <p:nvPr userDrawn="1"/>
        </p:nvSpPr>
        <p:spPr>
          <a:xfrm>
            <a:off x="595885" y="6648880"/>
            <a:ext cx="4571779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A60CAA2C-59EC-4BAF-ADE0-46F2C7CDD5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887F623-AD3E-E14B-8F9C-7F803A0118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5216" y="1452854"/>
            <a:ext cx="3480372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3B7F7A1-4FE8-4342-B90B-F012A073FD92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358146" y="1452854"/>
            <a:ext cx="3480372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F4FB7C8-A968-6745-8AD5-EAAE70606FD8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139314" y="1452854"/>
            <a:ext cx="3480372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2451A47-1E08-488E-AB13-2BE5216609FB}"/>
              </a:ext>
            </a:extLst>
          </p:cNvPr>
          <p:cNvSpPr txBox="1"/>
          <p:nvPr userDrawn="1"/>
        </p:nvSpPr>
        <p:spPr>
          <a:xfrm>
            <a:off x="8243425" y="6648880"/>
            <a:ext cx="335269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crosoft confidential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C35E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C35EA4"/>
          </p15:clr>
        </p15:guide>
        <p15:guide id="17" pos="3932">
          <p15:clr>
            <a:srgbClr val="C35E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C35EA4"/>
          </p15:clr>
        </p15:guide>
        <p15:guide id="21" pos="5120">
          <p15:clr>
            <a:srgbClr val="C35E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12" userDrawn="1">
          <p15:clr>
            <a:srgbClr val="5ACBF0"/>
          </p15:clr>
        </p15:guide>
        <p15:guide id="31" pos="2743">
          <p15:clr>
            <a:srgbClr val="C35EA4"/>
          </p15:clr>
        </p15:guide>
        <p15:guide id="32" orient="horz" pos="1439">
          <p15:clr>
            <a:srgbClr val="C35EA4"/>
          </p15:clr>
        </p15:guide>
        <p15:guide id="33" orient="horz" pos="1625">
          <p15:clr>
            <a:srgbClr val="C35EA4"/>
          </p15:clr>
        </p15:guide>
        <p15:guide id="35" orient="horz" pos="2250">
          <p15:clr>
            <a:srgbClr val="C35EA4"/>
          </p15:clr>
        </p15:guide>
        <p15:guide id="36" orient="horz" pos="2066">
          <p15:clr>
            <a:srgbClr val="C35EA4"/>
          </p15:clr>
        </p15:guide>
        <p15:guide id="37" orient="horz" pos="2697">
          <p15:clr>
            <a:srgbClr val="C35EA4"/>
          </p15:clr>
        </p15:guide>
        <p15:guide id="38" orient="horz" pos="2880">
          <p15:clr>
            <a:srgbClr val="C35EA4"/>
          </p15:clr>
        </p15:guide>
        <p15:guide id="39" orient="horz" pos="6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8BE3863-39A9-A640-900F-E751A332DE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33855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508516D-7C69-B244-9BC5-0E452D75160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5216" y="1453281"/>
            <a:ext cx="2537397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6FCFC732-5B26-CB4E-B230-17D4BF640FA2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3413083" y="1453281"/>
            <a:ext cx="2537397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78ABFADD-2FF3-D94C-B683-165A0F752239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240950" y="1453281"/>
            <a:ext cx="2537397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1DEF1EB-5244-814F-A35B-A3FB06DE537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9077283" y="1453281"/>
            <a:ext cx="2537397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6328BD2-F14C-4548-8C1D-A6A9F3E4DF44}"/>
              </a:ext>
            </a:extLst>
          </p:cNvPr>
          <p:cNvSpPr/>
          <p:nvPr userDrawn="1"/>
        </p:nvSpPr>
        <p:spPr bwMode="auto">
          <a:xfrm>
            <a:off x="1" y="6575383"/>
            <a:ext cx="12192000" cy="291068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828494A-DC40-0F40-8DA5-64C41B6AD166}"/>
              </a:ext>
            </a:extLst>
          </p:cNvPr>
          <p:cNvSpPr txBox="1"/>
          <p:nvPr userDrawn="1"/>
        </p:nvSpPr>
        <p:spPr>
          <a:xfrm>
            <a:off x="595885" y="6648880"/>
            <a:ext cx="4571779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fld id="{A60CAA2C-59EC-4BAF-ADE0-46F2C7CDD55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36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Title of presentation or section titl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5508458-149B-4E4B-BCB7-67F738B62EE0}"/>
              </a:ext>
            </a:extLst>
          </p:cNvPr>
          <p:cNvSpPr txBox="1"/>
          <p:nvPr userDrawn="1"/>
        </p:nvSpPr>
        <p:spPr>
          <a:xfrm>
            <a:off x="8243425" y="6648880"/>
            <a:ext cx="335269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ka.ms/researchandinsights                   Microsoft confidential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38002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C35E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C35EA4"/>
          </p15:clr>
        </p15:guide>
        <p15:guide id="17" pos="3932">
          <p15:clr>
            <a:srgbClr val="C35E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C35EA4"/>
          </p15:clr>
        </p15:guide>
        <p15:guide id="21" pos="5120">
          <p15:clr>
            <a:srgbClr val="C35E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9" userDrawn="1">
          <p15:clr>
            <a:srgbClr val="5ACBF0"/>
          </p15:clr>
        </p15:guide>
        <p15:guide id="31" pos="2743">
          <p15:clr>
            <a:srgbClr val="C35EA4"/>
          </p15:clr>
        </p15:guide>
        <p15:guide id="32" orient="horz" pos="1439">
          <p15:clr>
            <a:srgbClr val="C35EA4"/>
          </p15:clr>
        </p15:guide>
        <p15:guide id="33" orient="horz" pos="1625">
          <p15:clr>
            <a:srgbClr val="C35EA4"/>
          </p15:clr>
        </p15:guide>
        <p15:guide id="35" orient="horz" pos="2250">
          <p15:clr>
            <a:srgbClr val="C35EA4"/>
          </p15:clr>
        </p15:guide>
        <p15:guide id="36" orient="horz" pos="2066">
          <p15:clr>
            <a:srgbClr val="C35EA4"/>
          </p15:clr>
        </p15:guide>
        <p15:guide id="37" orient="horz" pos="2697">
          <p15:clr>
            <a:srgbClr val="C35EA4"/>
          </p15:clr>
        </p15:guide>
        <p15:guide id="38" orient="horz" pos="2880">
          <p15:clr>
            <a:srgbClr val="C35EA4"/>
          </p15:clr>
        </p15:guide>
        <p15:guide id="39" orient="horz" pos="6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586865"/>
            <a:ext cx="10430257" cy="33855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63F715-0078-9441-905D-833E618B95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5216" y="1453281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0" r:id="rId1"/>
    <p:sldLayoutId id="2147484699" r:id="rId2"/>
    <p:sldLayoutId id="2147484677" r:id="rId3"/>
    <p:sldLayoutId id="2147484609" r:id="rId4"/>
    <p:sldLayoutId id="2147484700" r:id="rId5"/>
    <p:sldLayoutId id="2147484649" r:id="rId6"/>
    <p:sldLayoutId id="2147484674" r:id="rId7"/>
    <p:sldLayoutId id="2147484648" r:id="rId8"/>
    <p:sldLayoutId id="2147484665" r:id="rId9"/>
    <p:sldLayoutId id="2147484673" r:id="rId10"/>
    <p:sldLayoutId id="2147484670" r:id="rId11"/>
    <p:sldLayoutId id="2147484672" r:id="rId12"/>
    <p:sldLayoutId id="2147484671" r:id="rId13"/>
    <p:sldLayoutId id="2147484706" r:id="rId14"/>
    <p:sldLayoutId id="2147484705" r:id="rId15"/>
    <p:sldLayoutId id="2147484702" r:id="rId16"/>
    <p:sldLayoutId id="2147484701" r:id="rId17"/>
    <p:sldLayoutId id="2147484703" r:id="rId18"/>
    <p:sldLayoutId id="2147484707" r:id="rId19"/>
    <p:sldLayoutId id="2147484708" r:id="rId20"/>
    <p:sldLayoutId id="2147484704" r:id="rId21"/>
    <p:sldLayoutId id="2147484655" r:id="rId22"/>
    <p:sldLayoutId id="2147484709" r:id="rId23"/>
  </p:sldLayoutIdLst>
  <p:transition>
    <p:fade/>
  </p:transition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2200" b="0" kern="1200" cap="none" spc="0" baseline="0" dirty="0" smtClean="0">
          <a:ln w="3175">
            <a:noFill/>
          </a:ln>
          <a:solidFill>
            <a:srgbClr val="000000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109728" marR="0" indent="-109728" algn="l" defTabSz="932742" rtl="0" eaLnBrk="1" fontAlgn="auto" latinLnBrk="0" hangingPunct="1">
        <a:lnSpc>
          <a:spcPct val="110000"/>
        </a:lnSpc>
        <a:spcBef>
          <a:spcPts val="0"/>
        </a:spcBef>
        <a:spcAft>
          <a:spcPts val="800"/>
        </a:spcAft>
        <a:buClrTx/>
        <a:buSzPct val="90000"/>
        <a:buFont typeface="Arial" panose="020B0604020202020204" pitchFamily="34" charset="0"/>
        <a:buChar char="•"/>
        <a:tabLst/>
        <a:defRPr sz="1400" kern="1200" spc="0" baseline="0">
          <a:solidFill>
            <a:srgbClr val="000000"/>
          </a:solidFill>
          <a:latin typeface="+mn-lt"/>
          <a:ea typeface="+mn-ea"/>
          <a:cs typeface="Segoe UI" panose="020B0502040204020203" pitchFamily="34" charset="0"/>
        </a:defRPr>
      </a:lvl1pPr>
      <a:lvl2pPr marL="219456" marR="0" indent="-109728" algn="l" defTabSz="932742" rtl="0" eaLnBrk="1" fontAlgn="auto" latinLnBrk="0" hangingPunct="1">
        <a:lnSpc>
          <a:spcPct val="110000"/>
        </a:lnSpc>
        <a:spcBef>
          <a:spcPts val="0"/>
        </a:spcBef>
        <a:spcAft>
          <a:spcPts val="800"/>
        </a:spcAft>
        <a:buClrTx/>
        <a:buSzPct val="90000"/>
        <a:buFont typeface="Arial" panose="020B0604020202020204" pitchFamily="34" charset="0"/>
        <a:buChar char="•"/>
        <a:tabLst/>
        <a:defRPr sz="1400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329184" marR="0" indent="-109728" algn="l" defTabSz="932742" rtl="0" eaLnBrk="1" fontAlgn="auto" latinLnBrk="0" hangingPunct="1">
        <a:lnSpc>
          <a:spcPct val="110000"/>
        </a:lnSpc>
        <a:spcBef>
          <a:spcPts val="0"/>
        </a:spcBef>
        <a:spcAft>
          <a:spcPts val="800"/>
        </a:spcAft>
        <a:buClrTx/>
        <a:buSzPct val="90000"/>
        <a:buFont typeface="Arial" panose="020B0604020202020204" pitchFamily="34" charset="0"/>
        <a:buChar char="•"/>
        <a:tabLst/>
        <a:defRPr sz="1200" kern="1200" spc="0" baseline="0">
          <a:solidFill>
            <a:srgbClr val="000000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 userDrawn="1">
          <p15:clr>
            <a:srgbClr val="C35EA4"/>
          </p15:clr>
        </p15:guide>
        <p15:guide id="17" pos="7308" userDrawn="1">
          <p15:clr>
            <a:srgbClr val="C35EA4"/>
          </p15:clr>
        </p15:guide>
        <p15:guide id="25" orient="horz" pos="369" userDrawn="1">
          <p15:clr>
            <a:srgbClr val="C35EA4"/>
          </p15:clr>
        </p15:guide>
        <p15:guide id="26" orient="horz" pos="3949" userDrawn="1">
          <p15:clr>
            <a:srgbClr val="C35EA4"/>
          </p15:clr>
        </p15:guide>
        <p15:guide id="27" orient="horz" pos="184" userDrawn="1">
          <p15:clr>
            <a:srgbClr val="A4A3A4"/>
          </p15:clr>
        </p15:guide>
        <p15:guide id="28" pos="185" userDrawn="1">
          <p15:clr>
            <a:srgbClr val="A4A3A4"/>
          </p15:clr>
        </p15:guide>
        <p15:guide id="29" orient="horz" pos="4135" userDrawn="1">
          <p15:clr>
            <a:srgbClr val="A4A3A4"/>
          </p15:clr>
        </p15:guide>
        <p15:guide id="30" pos="7495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586865"/>
            <a:ext cx="10430257" cy="33855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242A17A-BB0D-7049-88C1-1B43528CB272}"/>
              </a:ext>
            </a:extLst>
          </p:cNvPr>
          <p:cNvGrpSpPr/>
          <p:nvPr userDrawn="1"/>
        </p:nvGrpSpPr>
        <p:grpSpPr>
          <a:xfrm rot="5400000">
            <a:off x="9675445" y="2629856"/>
            <a:ext cx="6858007" cy="1598295"/>
            <a:chOff x="1827920" y="3408480"/>
            <a:chExt cx="6858007" cy="1598295"/>
          </a:xfrm>
        </p:grpSpPr>
        <p:sp>
          <p:nvSpPr>
            <p:cNvPr id="50" name="object 54">
              <a:extLst>
                <a:ext uri="{FF2B5EF4-FFF2-40B4-BE49-F238E27FC236}">
                  <a16:creationId xmlns:a16="http://schemas.microsoft.com/office/drawing/2014/main" id="{FE67D43B-9F3B-2340-B96B-E0ABB6AE03BF}"/>
                </a:ext>
              </a:extLst>
            </p:cNvPr>
            <p:cNvSpPr/>
            <p:nvPr/>
          </p:nvSpPr>
          <p:spPr>
            <a:xfrm>
              <a:off x="2558628" y="3646038"/>
              <a:ext cx="1022311" cy="438134"/>
            </a:xfrm>
            <a:custGeom>
              <a:avLst/>
              <a:gdLst/>
              <a:ahLst/>
              <a:cxnLst/>
              <a:rect l="l" t="t" r="r" b="b"/>
              <a:pathLst>
                <a:path w="1397000" h="1687829">
                  <a:moveTo>
                    <a:pt x="0" y="1687360"/>
                  </a:moveTo>
                  <a:lnTo>
                    <a:pt x="1396999" y="1687360"/>
                  </a:lnTo>
                  <a:lnTo>
                    <a:pt x="1396999" y="0"/>
                  </a:lnTo>
                  <a:lnTo>
                    <a:pt x="0" y="0"/>
                  </a:lnTo>
                  <a:lnTo>
                    <a:pt x="0" y="1687360"/>
                  </a:lnTo>
                  <a:close/>
                </a:path>
              </a:pathLst>
            </a:custGeom>
            <a:solidFill>
              <a:srgbClr val="D83B01"/>
            </a:solidFill>
          </p:spPr>
          <p:txBody>
            <a:bodyPr wrap="none" lIns="45720" tIns="27432" rIns="45720" bIns="27432" rtlCol="0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Orang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lvl="0">
                <a:defRPr/>
              </a:pPr>
              <a:r>
                <a:rPr lang="en-US" sz="70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216 G59 B1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lvl="0">
                <a:defRPr/>
              </a:pPr>
              <a:endParaRPr lang="en-US" sz="70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1" name="object 56">
              <a:extLst>
                <a:ext uri="{FF2B5EF4-FFF2-40B4-BE49-F238E27FC236}">
                  <a16:creationId xmlns:a16="http://schemas.microsoft.com/office/drawing/2014/main" id="{75EF2544-D673-6248-8A2A-5BAA81453965}"/>
                </a:ext>
              </a:extLst>
            </p:cNvPr>
            <p:cNvSpPr/>
            <p:nvPr/>
          </p:nvSpPr>
          <p:spPr>
            <a:xfrm>
              <a:off x="2558628" y="4072611"/>
              <a:ext cx="1022311" cy="438134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6999" y="978204"/>
                  </a:lnTo>
                  <a:lnTo>
                    <a:pt x="1396999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solidFill>
              <a:srgbClr val="6B2929"/>
            </a:solidFill>
          </p:spPr>
          <p:txBody>
            <a:bodyPr wrap="none" lIns="45720" tIns="27432" rIns="45720" bIns="27432" rtlCol="0">
              <a:normAutofit/>
            </a:bodyPr>
            <a:lstStyle/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Dark Orange</a:t>
              </a:r>
            </a:p>
            <a:p>
              <a:pPr lvl="0">
                <a:defRPr/>
              </a:pPr>
              <a:r>
                <a:rPr lang="en-US" sz="70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107 G41 B41</a:t>
              </a:r>
            </a:p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lang="en-US" sz="70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2" name="object 94">
              <a:extLst>
                <a:ext uri="{FF2B5EF4-FFF2-40B4-BE49-F238E27FC236}">
                  <a16:creationId xmlns:a16="http://schemas.microsoft.com/office/drawing/2014/main" id="{0103856E-2EBA-784C-8019-E907A111B770}"/>
                </a:ext>
              </a:extLst>
            </p:cNvPr>
            <p:cNvSpPr/>
            <p:nvPr/>
          </p:nvSpPr>
          <p:spPr>
            <a:xfrm>
              <a:off x="7663608" y="3646038"/>
              <a:ext cx="1022311" cy="438134"/>
            </a:xfrm>
            <a:custGeom>
              <a:avLst/>
              <a:gdLst/>
              <a:ahLst/>
              <a:cxnLst/>
              <a:rect l="l" t="t" r="r" b="b"/>
              <a:pathLst>
                <a:path w="1397000" h="1687829">
                  <a:moveTo>
                    <a:pt x="0" y="1687360"/>
                  </a:moveTo>
                  <a:lnTo>
                    <a:pt x="1397000" y="1687360"/>
                  </a:lnTo>
                  <a:lnTo>
                    <a:pt x="1397000" y="0"/>
                  </a:lnTo>
                  <a:lnTo>
                    <a:pt x="0" y="0"/>
                  </a:lnTo>
                  <a:lnTo>
                    <a:pt x="0" y="1687360"/>
                  </a:lnTo>
                  <a:close/>
                </a:path>
              </a:pathLst>
            </a:custGeom>
            <a:solidFill>
              <a:srgbClr val="8661C5"/>
            </a:solidFill>
          </p:spPr>
          <p:txBody>
            <a:bodyPr wrap="none" lIns="45720" tIns="27432" rIns="45720" bIns="27432" rtlCol="0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Purpl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lvl="0">
                <a:defRPr/>
              </a:pPr>
              <a:r>
                <a:rPr lang="en-US" sz="70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134 G97 B197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lvl="0">
                <a:defRPr/>
              </a:pPr>
              <a:endParaRPr lang="en-US" sz="70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3" name="object 96">
              <a:extLst>
                <a:ext uri="{FF2B5EF4-FFF2-40B4-BE49-F238E27FC236}">
                  <a16:creationId xmlns:a16="http://schemas.microsoft.com/office/drawing/2014/main" id="{341F341C-4FFE-144A-A0E1-CE23CFA7000F}"/>
                </a:ext>
              </a:extLst>
            </p:cNvPr>
            <p:cNvSpPr/>
            <p:nvPr/>
          </p:nvSpPr>
          <p:spPr>
            <a:xfrm>
              <a:off x="7663608" y="4072611"/>
              <a:ext cx="1022311" cy="438134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7000" y="978204"/>
                  </a:lnTo>
                  <a:lnTo>
                    <a:pt x="1397000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solidFill>
              <a:srgbClr val="3B2E58"/>
            </a:solidFill>
          </p:spPr>
          <p:txBody>
            <a:bodyPr wrap="none" lIns="45720" tIns="27432" rIns="45720" bIns="27432" rtlCol="0">
              <a:normAutofit/>
            </a:bodyPr>
            <a:lstStyle/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Dark Purple</a:t>
              </a:r>
            </a:p>
            <a:p>
              <a:pPr lvl="0">
                <a:defRPr/>
              </a:pPr>
              <a:r>
                <a:rPr lang="en-US" sz="70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59 G46 B88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lvl="0">
                <a:defRPr/>
              </a:pPr>
              <a:endParaRPr lang="en-US" sz="70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4" name="object 54">
              <a:extLst>
                <a:ext uri="{FF2B5EF4-FFF2-40B4-BE49-F238E27FC236}">
                  <a16:creationId xmlns:a16="http://schemas.microsoft.com/office/drawing/2014/main" id="{9BD972B9-B621-044C-9E12-EE43F40C0ECD}"/>
                </a:ext>
              </a:extLst>
            </p:cNvPr>
            <p:cNvSpPr/>
            <p:nvPr/>
          </p:nvSpPr>
          <p:spPr>
            <a:xfrm>
              <a:off x="3580939" y="3646038"/>
              <a:ext cx="1022311" cy="438134"/>
            </a:xfrm>
            <a:custGeom>
              <a:avLst/>
              <a:gdLst/>
              <a:ahLst/>
              <a:cxnLst/>
              <a:rect l="l" t="t" r="r" b="b"/>
              <a:pathLst>
                <a:path w="1397000" h="1687829">
                  <a:moveTo>
                    <a:pt x="0" y="1687360"/>
                  </a:moveTo>
                  <a:lnTo>
                    <a:pt x="1396999" y="1687360"/>
                  </a:lnTo>
                  <a:lnTo>
                    <a:pt x="1396999" y="0"/>
                  </a:lnTo>
                  <a:lnTo>
                    <a:pt x="0" y="0"/>
                  </a:lnTo>
                  <a:lnTo>
                    <a:pt x="0" y="1687360"/>
                  </a:lnTo>
                  <a:close/>
                </a:path>
              </a:pathLst>
            </a:custGeom>
            <a:solidFill>
              <a:srgbClr val="FFB900"/>
            </a:solidFill>
          </p:spPr>
          <p:txBody>
            <a:bodyPr wrap="none" lIns="45720" tIns="27432" rIns="45720" bIns="27432" rtlCol="0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Yellow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lvl="0">
                <a:defRPr/>
              </a:pPr>
              <a:r>
                <a:rPr lang="en-US" sz="700">
                  <a:solidFill>
                    <a:prstClr val="black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255 G185 B0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lvl="0">
                <a:defRPr/>
              </a:pPr>
              <a:endParaRPr lang="en-US" sz="700"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5" name="object 56">
              <a:extLst>
                <a:ext uri="{FF2B5EF4-FFF2-40B4-BE49-F238E27FC236}">
                  <a16:creationId xmlns:a16="http://schemas.microsoft.com/office/drawing/2014/main" id="{714D9127-5C77-3046-A038-6DB9D9EDA915}"/>
                </a:ext>
              </a:extLst>
            </p:cNvPr>
            <p:cNvSpPr/>
            <p:nvPr/>
          </p:nvSpPr>
          <p:spPr>
            <a:xfrm>
              <a:off x="3580939" y="4072611"/>
              <a:ext cx="1022311" cy="438134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6999" y="978204"/>
                  </a:lnTo>
                  <a:lnTo>
                    <a:pt x="1396999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solidFill>
              <a:srgbClr val="6A4B16"/>
            </a:solidFill>
          </p:spPr>
          <p:txBody>
            <a:bodyPr wrap="none" lIns="45720" tIns="27432" rIns="45720" bIns="27432" rtlCol="0">
              <a:normAutofit/>
            </a:bodyPr>
            <a:lstStyle/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Dark Yellow</a:t>
              </a:r>
            </a:p>
            <a:p>
              <a:pPr lvl="0">
                <a:defRPr/>
              </a:pPr>
              <a:r>
                <a:rPr lang="en-US" sz="70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106 G75 B22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lvl="0">
                <a:defRPr/>
              </a:pPr>
              <a:endParaRPr lang="en-US" sz="70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6" name="object 34">
              <a:extLst>
                <a:ext uri="{FF2B5EF4-FFF2-40B4-BE49-F238E27FC236}">
                  <a16:creationId xmlns:a16="http://schemas.microsoft.com/office/drawing/2014/main" id="{54C33852-C79C-DC45-9C46-AD6FC0EF0133}"/>
                </a:ext>
              </a:extLst>
            </p:cNvPr>
            <p:cNvSpPr/>
            <p:nvPr/>
          </p:nvSpPr>
          <p:spPr>
            <a:xfrm>
              <a:off x="4603473" y="3646038"/>
              <a:ext cx="1022311" cy="438134"/>
            </a:xfrm>
            <a:custGeom>
              <a:avLst/>
              <a:gdLst/>
              <a:ahLst/>
              <a:cxnLst/>
              <a:rect l="l" t="t" r="r" b="b"/>
              <a:pathLst>
                <a:path w="1397000" h="1687829">
                  <a:moveTo>
                    <a:pt x="0" y="1687360"/>
                  </a:moveTo>
                  <a:lnTo>
                    <a:pt x="1397000" y="1687360"/>
                  </a:lnTo>
                  <a:lnTo>
                    <a:pt x="1397000" y="0"/>
                  </a:lnTo>
                  <a:lnTo>
                    <a:pt x="0" y="0"/>
                  </a:lnTo>
                  <a:lnTo>
                    <a:pt x="0" y="1687360"/>
                  </a:lnTo>
                  <a:close/>
                </a:path>
              </a:pathLst>
            </a:custGeom>
            <a:solidFill>
              <a:srgbClr val="107C10"/>
            </a:solidFill>
          </p:spPr>
          <p:txBody>
            <a:bodyPr wrap="none" lIns="45720" tIns="27432" rIns="45720" bIns="27432" rtlCol="0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Green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lvl="0">
                <a:defRPr/>
              </a:pPr>
              <a:r>
                <a:rPr lang="en-US" sz="70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16 G124 B16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lvl="0">
                <a:defRPr/>
              </a:pPr>
              <a:endParaRPr lang="en-US" sz="70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7" name="object 36">
              <a:extLst>
                <a:ext uri="{FF2B5EF4-FFF2-40B4-BE49-F238E27FC236}">
                  <a16:creationId xmlns:a16="http://schemas.microsoft.com/office/drawing/2014/main" id="{B4FB2572-1465-8848-A949-A10C2E116543}"/>
                </a:ext>
              </a:extLst>
            </p:cNvPr>
            <p:cNvSpPr/>
            <p:nvPr/>
          </p:nvSpPr>
          <p:spPr>
            <a:xfrm>
              <a:off x="4603473" y="4072611"/>
              <a:ext cx="1022311" cy="438134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7000" y="978204"/>
                  </a:lnTo>
                  <a:lnTo>
                    <a:pt x="1397000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solidFill>
              <a:srgbClr val="054B16"/>
            </a:solidFill>
          </p:spPr>
          <p:txBody>
            <a:bodyPr wrap="none" lIns="45720" tIns="27432" rIns="45720" bIns="27432" rtlCol="0">
              <a:normAutofit/>
            </a:bodyPr>
            <a:lstStyle/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Dark Green</a:t>
              </a:r>
            </a:p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R5 G75 B22</a:t>
              </a:r>
              <a:endParaRPr lang="en-US" sz="70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8" name="object 74">
              <a:extLst>
                <a:ext uri="{FF2B5EF4-FFF2-40B4-BE49-F238E27FC236}">
                  <a16:creationId xmlns:a16="http://schemas.microsoft.com/office/drawing/2014/main" id="{BDAEE91D-F5BD-514B-8E03-798814E515B1}"/>
                </a:ext>
              </a:extLst>
            </p:cNvPr>
            <p:cNvSpPr/>
            <p:nvPr/>
          </p:nvSpPr>
          <p:spPr>
            <a:xfrm>
              <a:off x="6644696" y="3646038"/>
              <a:ext cx="1022311" cy="438134"/>
            </a:xfrm>
            <a:custGeom>
              <a:avLst/>
              <a:gdLst/>
              <a:ahLst/>
              <a:cxnLst/>
              <a:rect l="l" t="t" r="r" b="b"/>
              <a:pathLst>
                <a:path w="1397000" h="1687829">
                  <a:moveTo>
                    <a:pt x="0" y="1687360"/>
                  </a:moveTo>
                  <a:lnTo>
                    <a:pt x="1397000" y="1687360"/>
                  </a:lnTo>
                  <a:lnTo>
                    <a:pt x="1397000" y="0"/>
                  </a:lnTo>
                  <a:lnTo>
                    <a:pt x="0" y="0"/>
                  </a:lnTo>
                  <a:lnTo>
                    <a:pt x="0" y="1687360"/>
                  </a:lnTo>
                  <a:close/>
                </a:path>
              </a:pathLst>
            </a:custGeom>
            <a:solidFill>
              <a:srgbClr val="0078D4"/>
            </a:solidFill>
          </p:spPr>
          <p:txBody>
            <a:bodyPr wrap="none" lIns="45720" tIns="27432" rIns="45720" bIns="27432" rtlCol="0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Blue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lvl="0">
                <a:defRPr/>
              </a:pPr>
              <a:r>
                <a:rPr lang="en-US" sz="70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0 G120 B212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lvl="0">
                <a:defRPr/>
              </a:pPr>
              <a:endParaRPr lang="en-US" sz="70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9" name="object 76">
              <a:extLst>
                <a:ext uri="{FF2B5EF4-FFF2-40B4-BE49-F238E27FC236}">
                  <a16:creationId xmlns:a16="http://schemas.microsoft.com/office/drawing/2014/main" id="{743BAD2B-269F-C649-9D4C-DCB1AA3F704A}"/>
                </a:ext>
              </a:extLst>
            </p:cNvPr>
            <p:cNvSpPr/>
            <p:nvPr/>
          </p:nvSpPr>
          <p:spPr>
            <a:xfrm>
              <a:off x="6644696" y="4072611"/>
              <a:ext cx="1022311" cy="438134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7000" y="978204"/>
                  </a:lnTo>
                  <a:lnTo>
                    <a:pt x="1397000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solidFill>
              <a:srgbClr val="243A5E"/>
            </a:solidFill>
          </p:spPr>
          <p:txBody>
            <a:bodyPr wrap="none" lIns="45720" tIns="27432" rIns="45720" bIns="27432" rtlCol="0">
              <a:normAutofit/>
            </a:bodyPr>
            <a:lstStyle/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Dark Blue</a:t>
              </a:r>
            </a:p>
            <a:p>
              <a:pPr lvl="0">
                <a:defRPr/>
              </a:pPr>
              <a:r>
                <a:rPr lang="en-US" sz="70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36 G58 B94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60" name="object 74">
              <a:extLst>
                <a:ext uri="{FF2B5EF4-FFF2-40B4-BE49-F238E27FC236}">
                  <a16:creationId xmlns:a16="http://schemas.microsoft.com/office/drawing/2014/main" id="{0BFD0D5C-08FC-254F-9D69-D5BA85A589E1}"/>
                </a:ext>
              </a:extLst>
            </p:cNvPr>
            <p:cNvSpPr/>
            <p:nvPr/>
          </p:nvSpPr>
          <p:spPr>
            <a:xfrm>
              <a:off x="5622385" y="3646038"/>
              <a:ext cx="1022311" cy="438134"/>
            </a:xfrm>
            <a:custGeom>
              <a:avLst/>
              <a:gdLst/>
              <a:ahLst/>
              <a:cxnLst/>
              <a:rect l="l" t="t" r="r" b="b"/>
              <a:pathLst>
                <a:path w="1397000" h="1687829">
                  <a:moveTo>
                    <a:pt x="0" y="1687360"/>
                  </a:moveTo>
                  <a:lnTo>
                    <a:pt x="1397000" y="1687360"/>
                  </a:lnTo>
                  <a:lnTo>
                    <a:pt x="1397000" y="0"/>
                  </a:lnTo>
                  <a:lnTo>
                    <a:pt x="0" y="0"/>
                  </a:lnTo>
                  <a:lnTo>
                    <a:pt x="0" y="1687360"/>
                  </a:lnTo>
                  <a:close/>
                </a:path>
              </a:pathLst>
            </a:custGeom>
            <a:solidFill>
              <a:srgbClr val="008575"/>
            </a:solidFill>
          </p:spPr>
          <p:txBody>
            <a:bodyPr wrap="none" lIns="45720" tIns="27432" rIns="45720" bIns="27432" rtlCol="0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Teal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lvl="0">
                <a:defRPr/>
              </a:pPr>
              <a:r>
                <a:rPr lang="en-US" sz="70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0 G133 B117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61" name="object 76">
              <a:extLst>
                <a:ext uri="{FF2B5EF4-FFF2-40B4-BE49-F238E27FC236}">
                  <a16:creationId xmlns:a16="http://schemas.microsoft.com/office/drawing/2014/main" id="{368E3A08-E25D-8945-B580-03ACE0E4C22F}"/>
                </a:ext>
              </a:extLst>
            </p:cNvPr>
            <p:cNvSpPr/>
            <p:nvPr/>
          </p:nvSpPr>
          <p:spPr>
            <a:xfrm>
              <a:off x="5622385" y="4072611"/>
              <a:ext cx="1022311" cy="438134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7000" y="978204"/>
                  </a:lnTo>
                  <a:lnTo>
                    <a:pt x="1397000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solidFill>
              <a:srgbClr val="274B47"/>
            </a:solidFill>
          </p:spPr>
          <p:txBody>
            <a:bodyPr wrap="none" lIns="45720" tIns="27432" rIns="45720" bIns="27432" rtlCol="0">
              <a:normAutofit/>
            </a:bodyPr>
            <a:lstStyle/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Dark Teal</a:t>
              </a:r>
            </a:p>
            <a:p>
              <a:pPr lvl="0">
                <a:defRPr/>
              </a:pPr>
              <a:r>
                <a:rPr lang="en-US" sz="70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39 G75 B71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lvl="0">
                <a:defRPr/>
              </a:pPr>
              <a:endParaRPr lang="en-US" sz="70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62" name="object 25">
              <a:extLst>
                <a:ext uri="{FF2B5EF4-FFF2-40B4-BE49-F238E27FC236}">
                  <a16:creationId xmlns:a16="http://schemas.microsoft.com/office/drawing/2014/main" id="{EC63E51E-0DFC-BC4E-84A1-A56C9D89FEBD}"/>
                </a:ext>
              </a:extLst>
            </p:cNvPr>
            <p:cNvSpPr txBox="1"/>
            <p:nvPr/>
          </p:nvSpPr>
          <p:spPr>
            <a:xfrm rot="16200000">
              <a:off x="1211329" y="4025071"/>
              <a:ext cx="1598294" cy="365111"/>
            </a:xfrm>
            <a:prstGeom prst="rect">
              <a:avLst/>
            </a:prstGeom>
            <a:solidFill>
              <a:srgbClr val="000000"/>
            </a:solidFill>
          </p:spPr>
          <p:txBody>
            <a:bodyPr vert="horz" wrap="none" lIns="0" tIns="27432" rIns="45720" bIns="27432" rtlCol="0">
              <a:noAutofit/>
            </a:bodyPr>
            <a:lstStyle/>
            <a:p>
              <a:pPr marL="88896" marR="0" lvl="0" indent="0" algn="l" defTabSz="761970" rtl="0" eaLnBrk="1" fontAlgn="auto" latinLnBrk="0" hangingPunct="1">
                <a:lnSpc>
                  <a:spcPct val="11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Rich Black</a:t>
              </a:r>
              <a:endParaRPr kumimoji="0" lang="mr-IN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marL="88896" marR="0" lvl="0" indent="0" algn="l" defTabSz="761970" rtl="0" eaLnBrk="1" fontAlgn="auto" latinLnBrk="0" hangingPunct="1">
                <a:lnSpc>
                  <a:spcPct val="110000"/>
                </a:lnSpc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R0 G0 B0</a:t>
              </a:r>
            </a:p>
            <a:p>
              <a:pPr marL="88896" marR="0" lvl="0" indent="0" algn="l" defTabSz="761970" rtl="0" eaLnBrk="1" fontAlgn="auto" latinLnBrk="0" hangingPunct="1">
                <a:lnSpc>
                  <a:spcPct val="110000"/>
                </a:lnSpc>
                <a:buClrTx/>
                <a:buSzTx/>
                <a:buFontTx/>
                <a:buNone/>
                <a:tabLst/>
                <a:defRPr/>
              </a:pPr>
              <a:endParaRPr lang="en-US" sz="70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88896" marR="0" lvl="0" indent="0" algn="l" defTabSz="761970" rtl="0" eaLnBrk="1" fontAlgn="auto" latinLnBrk="0" hangingPunct="1">
                <a:lnSpc>
                  <a:spcPct val="110000"/>
                </a:lnSpc>
                <a:buClrTx/>
                <a:buSzTx/>
                <a:buFontTx/>
                <a:buNone/>
                <a:tabLst/>
                <a:defRPr/>
              </a:pP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highlight>
                    <a:srgbClr val="FF0000"/>
                  </a:highlight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</a:br>
              <a:endParaRPr kumimoji="0" lang="mr-IN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0000"/>
                </a:highlight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63" name="object 16">
              <a:extLst>
                <a:ext uri="{FF2B5EF4-FFF2-40B4-BE49-F238E27FC236}">
                  <a16:creationId xmlns:a16="http://schemas.microsoft.com/office/drawing/2014/main" id="{430ED9F3-ED2B-0B4F-AE16-19C99580C82E}"/>
                </a:ext>
              </a:extLst>
            </p:cNvPr>
            <p:cNvSpPr txBox="1"/>
            <p:nvPr/>
          </p:nvSpPr>
          <p:spPr>
            <a:xfrm rot="16200000">
              <a:off x="1576683" y="4025072"/>
              <a:ext cx="1598295" cy="365111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bg1">
                  <a:lumMod val="85000"/>
                </a:schemeClr>
              </a:solidFill>
            </a:ln>
          </p:spPr>
          <p:txBody>
            <a:bodyPr vert="horz" wrap="none" lIns="0" tIns="27432" rIns="45720" bIns="27432" rtlCol="0" anchor="t" anchorCtr="0">
              <a:normAutofit/>
            </a:bodyPr>
            <a:lstStyle/>
            <a:p>
              <a:pPr marL="88896" marR="0" lvl="0" indent="0" algn="l" defTabSz="76197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cs-CZ" sz="7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White</a:t>
              </a:r>
              <a:endParaRPr kumimoji="0" lang="cs-C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marL="88896" marR="0" lvl="0" indent="0" algn="l" defTabSz="76197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cs-CZ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R255 G255 B255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marL="88896" marR="0" lvl="0" indent="0" algn="l" defTabSz="76197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marL="88896" marR="0" lvl="0" indent="0" algn="l" defTabSz="76197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64" name="object 22">
              <a:extLst>
                <a:ext uri="{FF2B5EF4-FFF2-40B4-BE49-F238E27FC236}">
                  <a16:creationId xmlns:a16="http://schemas.microsoft.com/office/drawing/2014/main" id="{BC72A212-5A68-1948-88BC-9248F79D47B0}"/>
                </a:ext>
              </a:extLst>
            </p:cNvPr>
            <p:cNvSpPr txBox="1"/>
            <p:nvPr/>
          </p:nvSpPr>
          <p:spPr>
            <a:xfrm>
              <a:off x="3580939" y="4568641"/>
              <a:ext cx="1022311" cy="438134"/>
            </a:xfrm>
            <a:prstGeom prst="rect">
              <a:avLst/>
            </a:prstGeom>
            <a:solidFill>
              <a:srgbClr val="505050"/>
            </a:solidFill>
          </p:spPr>
          <p:txBody>
            <a:bodyPr vert="horz" wrap="none" lIns="0" tIns="27432" rIns="45720" bIns="27432" rtlCol="0">
              <a:normAutofit/>
            </a:bodyPr>
            <a:lstStyle/>
            <a:p>
              <a:pPr marL="88896" marR="0" lvl="0" indent="0" algn="l" defTabSz="76197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mr-IN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Dark </a:t>
              </a: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G</a:t>
              </a:r>
              <a:r>
                <a:rPr kumimoji="0" lang="mr-IN" sz="700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ray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marL="88896" lvl="0" defTabSz="761970"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R</a:t>
              </a:r>
              <a:r>
                <a:rPr kumimoji="0" lang="mr-IN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80</a:t>
              </a: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G</a:t>
              </a:r>
              <a:r>
                <a:rPr kumimoji="0" lang="mr-IN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80</a:t>
              </a: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B</a:t>
              </a:r>
              <a:r>
                <a:rPr kumimoji="0" lang="mr-IN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80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</a:br>
              <a:endParaRPr lang="en-US" sz="70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5" name="object 19">
              <a:extLst>
                <a:ext uri="{FF2B5EF4-FFF2-40B4-BE49-F238E27FC236}">
                  <a16:creationId xmlns:a16="http://schemas.microsoft.com/office/drawing/2014/main" id="{A582D4F2-7E44-674F-B78B-9ACCC08F5A25}"/>
                </a:ext>
              </a:extLst>
            </p:cNvPr>
            <p:cNvSpPr txBox="1"/>
            <p:nvPr/>
          </p:nvSpPr>
          <p:spPr>
            <a:xfrm>
              <a:off x="4603474" y="4568641"/>
              <a:ext cx="1022311" cy="438134"/>
            </a:xfrm>
            <a:prstGeom prst="rect">
              <a:avLst/>
            </a:prstGeom>
            <a:solidFill>
              <a:srgbClr val="737373"/>
            </a:solidFill>
          </p:spPr>
          <p:txBody>
            <a:bodyPr vert="horz" wrap="none" lIns="0" tIns="27432" rIns="45720" bIns="27432" rtlCol="0">
              <a:normAutofit/>
            </a:bodyPr>
            <a:lstStyle/>
            <a:p>
              <a:pPr marL="88896" marR="0" lvl="0" indent="0" algn="l" defTabSz="76197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Mid G</a:t>
              </a:r>
              <a:r>
                <a:rPr kumimoji="0" lang="mr-IN" sz="700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ray</a:t>
              </a:r>
              <a:r>
                <a:rPr kumimoji="0" lang="mr-IN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 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marL="88896" marR="0" lvl="0" indent="0" algn="l" defTabSz="76197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R115 G115 B115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</a:br>
              <a:endParaRPr lang="en-US" sz="70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6" name="object 15">
              <a:extLst>
                <a:ext uri="{FF2B5EF4-FFF2-40B4-BE49-F238E27FC236}">
                  <a16:creationId xmlns:a16="http://schemas.microsoft.com/office/drawing/2014/main" id="{4EA2EF58-F24B-2B46-9B33-3432C8D73710}"/>
                </a:ext>
              </a:extLst>
            </p:cNvPr>
            <p:cNvSpPr txBox="1"/>
            <p:nvPr/>
          </p:nvSpPr>
          <p:spPr>
            <a:xfrm>
              <a:off x="6644696" y="4568641"/>
              <a:ext cx="1022311" cy="438134"/>
            </a:xfrm>
            <a:prstGeom prst="rect">
              <a:avLst/>
            </a:prstGeom>
            <a:solidFill>
              <a:srgbClr val="E6E6E6"/>
            </a:solidFill>
            <a:ln w="3175">
              <a:noFill/>
            </a:ln>
          </p:spPr>
          <p:txBody>
            <a:bodyPr vert="horz" wrap="none" lIns="0" tIns="27432" rIns="45720" bIns="27432" rtlCol="0">
              <a:normAutofit/>
            </a:bodyPr>
            <a:lstStyle/>
            <a:p>
              <a:pPr marL="88896" marR="0" lvl="0" indent="0" algn="l" defTabSz="76197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cs-CZ" sz="7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Light</a:t>
              </a:r>
              <a:r>
                <a:rPr kumimoji="0" lang="cs-CZ" sz="7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 </a:t>
              </a:r>
              <a:r>
                <a:rPr kumimoji="0" lang="cs-CZ" sz="7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Gray</a:t>
              </a:r>
              <a:endParaRPr kumimoji="0" lang="cs-C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marL="88896" marR="0" lvl="0" indent="0" algn="l" defTabSz="76197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cs-CZ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R230 G230 B230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</a:b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marL="88896" marR="0" lvl="0" indent="0" algn="l" defTabSz="76197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cs-C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67" name="object 14">
              <a:extLst>
                <a:ext uri="{FF2B5EF4-FFF2-40B4-BE49-F238E27FC236}">
                  <a16:creationId xmlns:a16="http://schemas.microsoft.com/office/drawing/2014/main" id="{506BBBE0-A429-8144-9930-D266C5B448D0}"/>
                </a:ext>
              </a:extLst>
            </p:cNvPr>
            <p:cNvSpPr txBox="1"/>
            <p:nvPr/>
          </p:nvSpPr>
          <p:spPr>
            <a:xfrm>
              <a:off x="5622386" y="4568641"/>
              <a:ext cx="1022311" cy="438134"/>
            </a:xfrm>
            <a:prstGeom prst="rect">
              <a:avLst/>
            </a:prstGeom>
            <a:solidFill>
              <a:srgbClr val="D2D2D2"/>
            </a:solidFill>
            <a:ln w="6350">
              <a:noFill/>
            </a:ln>
          </p:spPr>
          <p:txBody>
            <a:bodyPr vert="horz" wrap="none" lIns="0" tIns="27432" rIns="45720" bIns="27432" rtlCol="0">
              <a:normAutofit/>
            </a:bodyPr>
            <a:lstStyle/>
            <a:p>
              <a:pPr marL="88896" marR="0" lvl="0" indent="0" algn="l" defTabSz="76197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cs-CZ" sz="700" b="1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Gray</a:t>
              </a:r>
              <a:endParaRPr kumimoji="0" lang="cs-CZ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endParaRPr>
            </a:p>
            <a:p>
              <a:pPr marL="88896" marR="0" lvl="0" indent="0" algn="l" defTabSz="76197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cs-CZ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R210 G210 B210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</a:b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marL="88896" marR="0" lvl="0" indent="0" algn="l" defTabSz="76197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cs-C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68" name="object 16">
              <a:extLst>
                <a:ext uri="{FF2B5EF4-FFF2-40B4-BE49-F238E27FC236}">
                  <a16:creationId xmlns:a16="http://schemas.microsoft.com/office/drawing/2014/main" id="{17DE8D3E-0588-A64B-B5E4-2EAE0350520D}"/>
                </a:ext>
              </a:extLst>
            </p:cNvPr>
            <p:cNvSpPr txBox="1"/>
            <p:nvPr/>
          </p:nvSpPr>
          <p:spPr>
            <a:xfrm>
              <a:off x="7663608" y="4568641"/>
              <a:ext cx="1022311" cy="438134"/>
            </a:xfrm>
            <a:prstGeom prst="rect">
              <a:avLst/>
            </a:prstGeom>
            <a:solidFill>
              <a:srgbClr val="F2F2F2"/>
            </a:solidFill>
            <a:ln w="6350">
              <a:solidFill>
                <a:srgbClr val="E6E6E6"/>
              </a:solidFill>
            </a:ln>
          </p:spPr>
          <p:txBody>
            <a:bodyPr vert="horz" wrap="none" lIns="45720" tIns="27432" rIns="45720" bIns="27432" rtlCol="0" anchor="t" anchorCtr="0">
              <a:normAutofit/>
            </a:bodyPr>
            <a:lstStyle/>
            <a:p>
              <a:pPr marR="0" indent="0" defTabSz="761970" fontAlgn="auto">
                <a:buClrTx/>
                <a:buSzTx/>
                <a:buFontTx/>
                <a:buNone/>
                <a:tabLst/>
                <a:defRPr/>
              </a:pPr>
              <a:r>
                <a:rPr lang="en-US" sz="700" b="1">
                  <a:solidFill>
                    <a:srgbClr val="000000"/>
                  </a:solidFill>
                  <a:latin typeface="Segoe UI" charset="0"/>
                  <a:cs typeface="Segoe UI" charset="0"/>
                </a:rPr>
                <a:t>Extra Light Gray</a:t>
              </a:r>
              <a:endParaRPr lang="cs-CZ" sz="700" b="1">
                <a:solidFill>
                  <a:srgbClr val="000000"/>
                </a:solidFill>
                <a:latin typeface="Segoe UI" charset="0"/>
                <a:cs typeface="Segoe UI" charset="0"/>
              </a:endParaRPr>
            </a:p>
            <a:p>
              <a:pPr marR="0" indent="0" defTabSz="761970" fontAlgn="auto">
                <a:buClrTx/>
                <a:buSzTx/>
                <a:buFontTx/>
                <a:buNone/>
                <a:tabLst/>
                <a:defRPr/>
              </a:pPr>
              <a:r>
                <a:rPr lang="cs-CZ" sz="700">
                  <a:solidFill>
                    <a:srgbClr val="000000"/>
                  </a:solidFill>
                  <a:latin typeface="Segoe UI" charset="0"/>
                  <a:cs typeface="Segoe UI" charset="0"/>
                </a:rPr>
                <a:t>R2</a:t>
              </a:r>
              <a:r>
                <a:rPr lang="en-US" sz="700">
                  <a:solidFill>
                    <a:srgbClr val="000000"/>
                  </a:solidFill>
                  <a:latin typeface="Segoe UI" charset="0"/>
                  <a:cs typeface="Segoe UI" charset="0"/>
                </a:rPr>
                <a:t>42</a:t>
              </a:r>
              <a:r>
                <a:rPr lang="cs-CZ" sz="700">
                  <a:solidFill>
                    <a:srgbClr val="000000"/>
                  </a:solidFill>
                  <a:latin typeface="Segoe UI" charset="0"/>
                  <a:cs typeface="Segoe UI" charset="0"/>
                </a:rPr>
                <a:t> G2</a:t>
              </a:r>
              <a:r>
                <a:rPr lang="en-US" sz="700">
                  <a:solidFill>
                    <a:srgbClr val="000000"/>
                  </a:solidFill>
                  <a:latin typeface="Segoe UI" charset="0"/>
                  <a:cs typeface="Segoe UI" charset="0"/>
                </a:rPr>
                <a:t>42</a:t>
              </a:r>
              <a:r>
                <a:rPr lang="cs-CZ" sz="700">
                  <a:solidFill>
                    <a:srgbClr val="000000"/>
                  </a:solidFill>
                  <a:latin typeface="Segoe UI" charset="0"/>
                  <a:cs typeface="Segoe UI" charset="0"/>
                </a:rPr>
                <a:t> B2</a:t>
              </a:r>
              <a:r>
                <a:rPr lang="en-US" sz="700">
                  <a:solidFill>
                    <a:srgbClr val="000000"/>
                  </a:solidFill>
                  <a:latin typeface="Segoe UI" charset="0"/>
                  <a:cs typeface="Segoe UI" charset="0"/>
                </a:rPr>
                <a:t>42</a:t>
              </a:r>
            </a:p>
            <a:p>
              <a:pPr marL="88896" marR="0" lvl="0" indent="0" algn="l" defTabSz="76197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marL="88896" marR="0" lvl="0" indent="0" algn="l" defTabSz="76197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69" name="object 22">
              <a:extLst>
                <a:ext uri="{FF2B5EF4-FFF2-40B4-BE49-F238E27FC236}">
                  <a16:creationId xmlns:a16="http://schemas.microsoft.com/office/drawing/2014/main" id="{8A2481E0-2EF2-5F4A-86B1-210C38144250}"/>
                </a:ext>
              </a:extLst>
            </p:cNvPr>
            <p:cNvSpPr txBox="1"/>
            <p:nvPr/>
          </p:nvSpPr>
          <p:spPr>
            <a:xfrm>
              <a:off x="2558628" y="4568641"/>
              <a:ext cx="1022311" cy="438134"/>
            </a:xfrm>
            <a:prstGeom prst="rect">
              <a:avLst/>
            </a:prstGeom>
            <a:solidFill>
              <a:srgbClr val="2F2F2F"/>
            </a:solidFill>
          </p:spPr>
          <p:txBody>
            <a:bodyPr vert="horz" wrap="none" lIns="0" tIns="27432" rIns="45720" bIns="27432" rtlCol="0">
              <a:normAutofit/>
            </a:bodyPr>
            <a:lstStyle/>
            <a:p>
              <a:pPr marL="88896" marR="0" lvl="0" indent="0" algn="l" defTabSz="76197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Extra </a:t>
              </a:r>
              <a:r>
                <a:rPr kumimoji="0" lang="mr-IN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D</a:t>
              </a:r>
              <a:r>
                <a:rPr kumimoji="0" lang="en-US" sz="700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ar</a:t>
              </a:r>
              <a:r>
                <a:rPr kumimoji="0" lang="mr-IN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k</a:t>
              </a: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 G</a:t>
              </a:r>
              <a:r>
                <a:rPr kumimoji="0" lang="mr-IN" sz="700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ray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marL="88896" lvl="0" defTabSz="761970"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R47 G47 B47</a:t>
              </a:r>
              <a:b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</a:br>
              <a:endParaRPr lang="en-US" sz="70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0" name="object 55">
              <a:extLst>
                <a:ext uri="{FF2B5EF4-FFF2-40B4-BE49-F238E27FC236}">
                  <a16:creationId xmlns:a16="http://schemas.microsoft.com/office/drawing/2014/main" id="{2F47F60B-57A9-714F-B7DA-4E0EC86E3F70}"/>
                </a:ext>
              </a:extLst>
            </p:cNvPr>
            <p:cNvSpPr/>
            <p:nvPr/>
          </p:nvSpPr>
          <p:spPr>
            <a:xfrm>
              <a:off x="2558628" y="3408481"/>
              <a:ext cx="1022311" cy="250413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6999" y="978204"/>
                  </a:lnTo>
                  <a:lnTo>
                    <a:pt x="1396999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solidFill>
              <a:srgbClr val="FF9349"/>
            </a:solidFill>
          </p:spPr>
          <p:txBody>
            <a:bodyPr wrap="none" lIns="45720" tIns="27432" rIns="45720" bIns="27432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Light Orange</a:t>
              </a:r>
            </a:p>
            <a:p>
              <a:pPr lvl="0">
                <a:defRPr/>
              </a:pPr>
              <a:r>
                <a:rPr lang="en-US" sz="70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255 G147 B73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1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71" name="object 95">
              <a:extLst>
                <a:ext uri="{FF2B5EF4-FFF2-40B4-BE49-F238E27FC236}">
                  <a16:creationId xmlns:a16="http://schemas.microsoft.com/office/drawing/2014/main" id="{56233D58-3B21-8047-A3AC-6580A02F9CBA}"/>
                </a:ext>
              </a:extLst>
            </p:cNvPr>
            <p:cNvSpPr/>
            <p:nvPr/>
          </p:nvSpPr>
          <p:spPr>
            <a:xfrm>
              <a:off x="7663608" y="3408482"/>
              <a:ext cx="1022311" cy="250413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7000" y="978204"/>
                  </a:lnTo>
                  <a:lnTo>
                    <a:pt x="1397000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solidFill>
              <a:srgbClr val="D59DFF"/>
            </a:solidFill>
          </p:spPr>
          <p:txBody>
            <a:bodyPr wrap="none" lIns="45720" tIns="27432" rIns="45720" bIns="27432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Light Purple</a:t>
              </a:r>
            </a:p>
            <a:p>
              <a:pPr lvl="0">
                <a:defRPr/>
              </a:pPr>
              <a:r>
                <a:rPr lang="en-US" sz="70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213 G157 B255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72" name="object 55">
              <a:extLst>
                <a:ext uri="{FF2B5EF4-FFF2-40B4-BE49-F238E27FC236}">
                  <a16:creationId xmlns:a16="http://schemas.microsoft.com/office/drawing/2014/main" id="{25222DC3-5D81-7049-9D75-D12A975E3F7D}"/>
                </a:ext>
              </a:extLst>
            </p:cNvPr>
            <p:cNvSpPr/>
            <p:nvPr/>
          </p:nvSpPr>
          <p:spPr>
            <a:xfrm>
              <a:off x="3580939" y="3408483"/>
              <a:ext cx="1022311" cy="250413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6999" y="978204"/>
                  </a:lnTo>
                  <a:lnTo>
                    <a:pt x="1396999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solidFill>
              <a:srgbClr val="FEF000"/>
            </a:solidFill>
          </p:spPr>
          <p:txBody>
            <a:bodyPr wrap="none" lIns="45720" tIns="27432" rIns="45720" bIns="27432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Light Yellow</a:t>
              </a:r>
            </a:p>
            <a:p>
              <a:pPr lvl="0">
                <a:defRPr/>
              </a:pPr>
              <a:r>
                <a:rPr lang="en-US" sz="70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254 G240 B0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73" name="object 35">
              <a:extLst>
                <a:ext uri="{FF2B5EF4-FFF2-40B4-BE49-F238E27FC236}">
                  <a16:creationId xmlns:a16="http://schemas.microsoft.com/office/drawing/2014/main" id="{8B063207-B213-1645-8149-9D4FD73835C6}"/>
                </a:ext>
              </a:extLst>
            </p:cNvPr>
            <p:cNvSpPr/>
            <p:nvPr/>
          </p:nvSpPr>
          <p:spPr>
            <a:xfrm>
              <a:off x="4603474" y="3408484"/>
              <a:ext cx="1022311" cy="250413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7000" y="978204"/>
                  </a:lnTo>
                  <a:lnTo>
                    <a:pt x="1397000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solidFill>
              <a:srgbClr val="9BF00B"/>
            </a:solidFill>
          </p:spPr>
          <p:txBody>
            <a:bodyPr wrap="none" lIns="45720" tIns="27432" rIns="45720" bIns="27432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Light Green</a:t>
              </a:r>
            </a:p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lang="en-US" sz="70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155 G240 B11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74" name="object 75">
              <a:extLst>
                <a:ext uri="{FF2B5EF4-FFF2-40B4-BE49-F238E27FC236}">
                  <a16:creationId xmlns:a16="http://schemas.microsoft.com/office/drawing/2014/main" id="{36467A93-3388-B344-B1A1-3C1F03728D40}"/>
                </a:ext>
              </a:extLst>
            </p:cNvPr>
            <p:cNvSpPr/>
            <p:nvPr/>
          </p:nvSpPr>
          <p:spPr>
            <a:xfrm>
              <a:off x="6644696" y="3408485"/>
              <a:ext cx="1022311" cy="250413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7000" y="978204"/>
                  </a:lnTo>
                  <a:lnTo>
                    <a:pt x="1397000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solidFill>
              <a:srgbClr val="50E6FF"/>
            </a:solidFill>
          </p:spPr>
          <p:txBody>
            <a:bodyPr wrap="none" lIns="45720" tIns="27432" rIns="45720" bIns="27432" rtlCol="0">
              <a:noAutofit/>
            </a:bodyPr>
            <a:lstStyle/>
            <a:p>
              <a:pPr marL="0" marR="0" lvl="0" indent="0" algn="l" defTabSz="76197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Light Blue</a:t>
              </a:r>
            </a:p>
            <a:p>
              <a:pPr lvl="0">
                <a:defRPr/>
              </a:pPr>
              <a:r>
                <a:rPr lang="en-US" sz="70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80 G230 B255</a:t>
              </a: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marL="0" marR="0" lvl="0" indent="0" algn="l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75" name="object 75">
              <a:extLst>
                <a:ext uri="{FF2B5EF4-FFF2-40B4-BE49-F238E27FC236}">
                  <a16:creationId xmlns:a16="http://schemas.microsoft.com/office/drawing/2014/main" id="{AE416B6A-A396-6041-B19E-CD80FCE04869}"/>
                </a:ext>
              </a:extLst>
            </p:cNvPr>
            <p:cNvSpPr/>
            <p:nvPr/>
          </p:nvSpPr>
          <p:spPr>
            <a:xfrm>
              <a:off x="5622386" y="3408485"/>
              <a:ext cx="1022311" cy="250413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7000" y="978204"/>
                  </a:lnTo>
                  <a:lnTo>
                    <a:pt x="1397000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solidFill>
              <a:srgbClr val="30E5D0"/>
            </a:solidFill>
          </p:spPr>
          <p:txBody>
            <a:bodyPr wrap="none" lIns="45720" tIns="27432" rIns="45720" bIns="27432" rtlCol="0">
              <a:noAutofit/>
            </a:bodyPr>
            <a:lstStyle/>
            <a:p>
              <a:pPr marL="0" marR="0" lvl="0" indent="0" algn="l" defTabSz="76197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charset="0"/>
                  <a:ea typeface="Segoe UI" charset="0"/>
                  <a:cs typeface="Segoe UI" charset="0"/>
                </a:rPr>
                <a:t>Light Teal</a:t>
              </a:r>
            </a:p>
            <a:p>
              <a:pPr lvl="0" defTabSz="761970">
                <a:defRPr/>
              </a:pPr>
              <a:r>
                <a:rPr lang="en-US" sz="700">
                  <a:solidFill>
                    <a:srgbClr val="00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48 G229 B208</a:t>
              </a:r>
              <a:endParaRPr kumimoji="0" lang="en-US" sz="7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marL="0" marR="0" lvl="0" indent="0" algn="l" defTabSz="76197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  <a:p>
              <a:pPr marL="0" marR="0" lvl="0" indent="0" algn="l" defTabSz="76197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76" name="object 55">
              <a:extLst>
                <a:ext uri="{FF2B5EF4-FFF2-40B4-BE49-F238E27FC236}">
                  <a16:creationId xmlns:a16="http://schemas.microsoft.com/office/drawing/2014/main" id="{15956D36-9C9C-C04E-ACEF-83A50BD4CB18}"/>
                </a:ext>
              </a:extLst>
            </p:cNvPr>
            <p:cNvSpPr/>
            <p:nvPr/>
          </p:nvSpPr>
          <p:spPr>
            <a:xfrm>
              <a:off x="3211943" y="3649774"/>
              <a:ext cx="372619" cy="292091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6999" y="978204"/>
                  </a:lnTo>
                  <a:lnTo>
                    <a:pt x="1396999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noFill/>
          </p:spPr>
          <p:txBody>
            <a:bodyPr wrap="none" lIns="45720" tIns="27432" rIns="45720" bIns="27432" rtlCol="0">
              <a:normAutofit/>
            </a:bodyPr>
            <a:lstStyle/>
            <a:p>
              <a:pPr marL="0" marR="0" lvl="0" indent="0" algn="r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lang="en-US" sz="1400" b="1">
                  <a:solidFill>
                    <a:schemeClr val="bg1"/>
                  </a:solidFill>
                  <a:latin typeface="Segoe UI" charset="0"/>
                  <a:ea typeface="Segoe UI" charset="0"/>
                  <a:cs typeface="Segoe UI" charset="0"/>
                </a:rPr>
                <a:t>A</a:t>
              </a:r>
              <a:r>
                <a:rPr lang="en-US" sz="1400" b="1">
                  <a:solidFill>
                    <a:srgbClr val="000000"/>
                  </a:solidFill>
                  <a:latin typeface="Segoe UI" charset="0"/>
                  <a:ea typeface="Segoe UI" charset="0"/>
                  <a:cs typeface="Segoe UI" charset="0"/>
                </a:rPr>
                <a:t>A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77" name="object 55">
              <a:extLst>
                <a:ext uri="{FF2B5EF4-FFF2-40B4-BE49-F238E27FC236}">
                  <a16:creationId xmlns:a16="http://schemas.microsoft.com/office/drawing/2014/main" id="{2573A96A-D89F-734A-86FE-385062D646F9}"/>
                </a:ext>
              </a:extLst>
            </p:cNvPr>
            <p:cNvSpPr/>
            <p:nvPr/>
          </p:nvSpPr>
          <p:spPr>
            <a:xfrm>
              <a:off x="4230855" y="3651408"/>
              <a:ext cx="372619" cy="292091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6999" y="978204"/>
                  </a:lnTo>
                  <a:lnTo>
                    <a:pt x="1396999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noFill/>
          </p:spPr>
          <p:txBody>
            <a:bodyPr wrap="none" lIns="45720" tIns="27432" rIns="45720" bIns="27432" rtlCol="0">
              <a:normAutofit/>
            </a:bodyPr>
            <a:lstStyle/>
            <a:p>
              <a:pPr marL="0" marR="0" lvl="0" indent="0" algn="r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lang="en-US" sz="1400" b="1">
                  <a:solidFill>
                    <a:srgbClr val="000000"/>
                  </a:solidFill>
                  <a:latin typeface="Segoe UI" charset="0"/>
                  <a:ea typeface="Segoe UI" charset="0"/>
                  <a:cs typeface="Segoe UI" charset="0"/>
                </a:rPr>
                <a:t>A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78" name="object 55">
              <a:extLst>
                <a:ext uri="{FF2B5EF4-FFF2-40B4-BE49-F238E27FC236}">
                  <a16:creationId xmlns:a16="http://schemas.microsoft.com/office/drawing/2014/main" id="{88A6ABA5-3E48-EB48-8D04-97C3FB2F331A}"/>
                </a:ext>
              </a:extLst>
            </p:cNvPr>
            <p:cNvSpPr/>
            <p:nvPr/>
          </p:nvSpPr>
          <p:spPr>
            <a:xfrm>
              <a:off x="5252942" y="3649774"/>
              <a:ext cx="372619" cy="292091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6999" y="978204"/>
                  </a:lnTo>
                  <a:lnTo>
                    <a:pt x="1396999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noFill/>
          </p:spPr>
          <p:txBody>
            <a:bodyPr wrap="none" lIns="45720" tIns="27432" rIns="45720" bIns="27432" rtlCol="0">
              <a:normAutofit/>
            </a:bodyPr>
            <a:lstStyle/>
            <a:p>
              <a:pPr marL="0" marR="0" lvl="0" indent="0" algn="r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lang="en-US" sz="1400" b="1">
                  <a:solidFill>
                    <a:schemeClr val="bg1"/>
                  </a:solidFill>
                  <a:latin typeface="Segoe UI" charset="0"/>
                  <a:ea typeface="Segoe UI" charset="0"/>
                  <a:cs typeface="Segoe UI" charset="0"/>
                </a:rPr>
                <a:t>A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79" name="object 55">
              <a:extLst>
                <a:ext uri="{FF2B5EF4-FFF2-40B4-BE49-F238E27FC236}">
                  <a16:creationId xmlns:a16="http://schemas.microsoft.com/office/drawing/2014/main" id="{09C40BD4-0B59-864B-8551-24DD52DB3B1D}"/>
                </a:ext>
              </a:extLst>
            </p:cNvPr>
            <p:cNvSpPr/>
            <p:nvPr/>
          </p:nvSpPr>
          <p:spPr>
            <a:xfrm>
              <a:off x="6268434" y="3649774"/>
              <a:ext cx="372619" cy="292091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6999" y="978204"/>
                  </a:lnTo>
                  <a:lnTo>
                    <a:pt x="1396999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noFill/>
          </p:spPr>
          <p:txBody>
            <a:bodyPr wrap="none" lIns="45720" tIns="27432" rIns="45720" bIns="27432" rtlCol="0">
              <a:normAutofit/>
            </a:bodyPr>
            <a:lstStyle/>
            <a:p>
              <a:pPr marL="0" marR="0" lvl="0" indent="0" algn="r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lang="en-US" sz="1400" b="1">
                  <a:solidFill>
                    <a:schemeClr val="bg1"/>
                  </a:solidFill>
                  <a:latin typeface="Segoe UI" charset="0"/>
                  <a:ea typeface="Segoe UI" charset="0"/>
                  <a:cs typeface="Segoe UI" charset="0"/>
                </a:rPr>
                <a:t>A</a:t>
              </a:r>
              <a:r>
                <a:rPr lang="en-US" sz="1400" b="1">
                  <a:solidFill>
                    <a:srgbClr val="000000"/>
                  </a:solidFill>
                  <a:latin typeface="Segoe UI" charset="0"/>
                  <a:ea typeface="Segoe UI" charset="0"/>
                  <a:cs typeface="Segoe UI" charset="0"/>
                </a:rPr>
                <a:t>A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80" name="object 55">
              <a:extLst>
                <a:ext uri="{FF2B5EF4-FFF2-40B4-BE49-F238E27FC236}">
                  <a16:creationId xmlns:a16="http://schemas.microsoft.com/office/drawing/2014/main" id="{9052D107-911B-0640-9A55-180364375C7A}"/>
                </a:ext>
              </a:extLst>
            </p:cNvPr>
            <p:cNvSpPr/>
            <p:nvPr/>
          </p:nvSpPr>
          <p:spPr>
            <a:xfrm>
              <a:off x="7298253" y="3649774"/>
              <a:ext cx="372619" cy="292091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6999" y="978204"/>
                  </a:lnTo>
                  <a:lnTo>
                    <a:pt x="1396999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noFill/>
          </p:spPr>
          <p:txBody>
            <a:bodyPr wrap="none" lIns="45720" tIns="27432" rIns="45720" bIns="27432" rtlCol="0">
              <a:normAutofit/>
            </a:bodyPr>
            <a:lstStyle/>
            <a:p>
              <a:pPr marL="0" marR="0" lvl="0" indent="0" algn="r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lang="en-US" sz="1400" b="1">
                  <a:solidFill>
                    <a:schemeClr val="bg1"/>
                  </a:solidFill>
                  <a:latin typeface="Segoe UI" charset="0"/>
                  <a:ea typeface="Segoe UI" charset="0"/>
                  <a:cs typeface="Segoe UI" charset="0"/>
                </a:rPr>
                <a:t>A</a:t>
              </a:r>
              <a:r>
                <a:rPr lang="en-US" sz="1400" b="1">
                  <a:solidFill>
                    <a:srgbClr val="000000"/>
                  </a:solidFill>
                  <a:latin typeface="Segoe UI" charset="0"/>
                  <a:ea typeface="Segoe UI" charset="0"/>
                  <a:cs typeface="Segoe UI" charset="0"/>
                </a:rPr>
                <a:t>A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81" name="object 55">
              <a:extLst>
                <a:ext uri="{FF2B5EF4-FFF2-40B4-BE49-F238E27FC236}">
                  <a16:creationId xmlns:a16="http://schemas.microsoft.com/office/drawing/2014/main" id="{7DC365C9-E97E-A140-B073-354F5D09D940}"/>
                </a:ext>
              </a:extLst>
            </p:cNvPr>
            <p:cNvSpPr/>
            <p:nvPr/>
          </p:nvSpPr>
          <p:spPr>
            <a:xfrm>
              <a:off x="8313300" y="3649774"/>
              <a:ext cx="372619" cy="292091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6999" y="978204"/>
                  </a:lnTo>
                  <a:lnTo>
                    <a:pt x="1396999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noFill/>
          </p:spPr>
          <p:txBody>
            <a:bodyPr wrap="none" lIns="45720" tIns="27432" rIns="45720" bIns="27432" rtlCol="0">
              <a:normAutofit/>
            </a:bodyPr>
            <a:lstStyle/>
            <a:p>
              <a:pPr marL="0" marR="0" lvl="0" indent="0" algn="r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lang="en-US" sz="1400" b="1">
                  <a:solidFill>
                    <a:schemeClr val="bg1"/>
                  </a:solidFill>
                  <a:latin typeface="Segoe UI" charset="0"/>
                  <a:ea typeface="Segoe UI" charset="0"/>
                  <a:cs typeface="Segoe UI" charset="0"/>
                </a:rPr>
                <a:t>A</a:t>
              </a:r>
              <a:r>
                <a:rPr lang="en-US" sz="1400" b="1">
                  <a:solidFill>
                    <a:srgbClr val="000000"/>
                  </a:solidFill>
                  <a:latin typeface="Segoe UI" charset="0"/>
                  <a:ea typeface="Segoe UI" charset="0"/>
                  <a:cs typeface="Segoe UI" charset="0"/>
                </a:rPr>
                <a:t>A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82" name="object 55">
              <a:extLst>
                <a:ext uri="{FF2B5EF4-FFF2-40B4-BE49-F238E27FC236}">
                  <a16:creationId xmlns:a16="http://schemas.microsoft.com/office/drawing/2014/main" id="{C442241D-12FE-A349-BE99-15699253E314}"/>
                </a:ext>
              </a:extLst>
            </p:cNvPr>
            <p:cNvSpPr/>
            <p:nvPr/>
          </p:nvSpPr>
          <p:spPr>
            <a:xfrm>
              <a:off x="3211943" y="4066242"/>
              <a:ext cx="372619" cy="292091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6999" y="978204"/>
                  </a:lnTo>
                  <a:lnTo>
                    <a:pt x="1396999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noFill/>
          </p:spPr>
          <p:txBody>
            <a:bodyPr wrap="none" lIns="45720" tIns="27432" rIns="45720" bIns="27432" rtlCol="0">
              <a:normAutofit/>
            </a:bodyPr>
            <a:lstStyle/>
            <a:p>
              <a:pPr marL="0" marR="0" lvl="0" indent="0" algn="r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lang="en-US" sz="1400" b="1">
                  <a:solidFill>
                    <a:srgbClr val="FF9349"/>
                  </a:solidFill>
                  <a:latin typeface="Segoe UI" charset="0"/>
                  <a:ea typeface="Segoe UI" charset="0"/>
                  <a:cs typeface="Segoe UI" charset="0"/>
                </a:rPr>
                <a:t>A</a:t>
              </a:r>
              <a:r>
                <a:rPr lang="en-US" sz="1400" b="1">
                  <a:solidFill>
                    <a:schemeClr val="bg1"/>
                  </a:solidFill>
                  <a:latin typeface="Segoe UI" charset="0"/>
                  <a:ea typeface="Segoe UI" charset="0"/>
                  <a:cs typeface="Segoe UI" charset="0"/>
                </a:rPr>
                <a:t>A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83" name="object 55">
              <a:extLst>
                <a:ext uri="{FF2B5EF4-FFF2-40B4-BE49-F238E27FC236}">
                  <a16:creationId xmlns:a16="http://schemas.microsoft.com/office/drawing/2014/main" id="{9F016B2C-58A7-6E4F-8E33-7C429FA703B0}"/>
                </a:ext>
              </a:extLst>
            </p:cNvPr>
            <p:cNvSpPr/>
            <p:nvPr/>
          </p:nvSpPr>
          <p:spPr>
            <a:xfrm>
              <a:off x="4230855" y="4067877"/>
              <a:ext cx="372619" cy="292091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6999" y="978204"/>
                  </a:lnTo>
                  <a:lnTo>
                    <a:pt x="1396999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noFill/>
          </p:spPr>
          <p:txBody>
            <a:bodyPr wrap="none" lIns="45720" tIns="27432" rIns="45720" bIns="27432" rtlCol="0">
              <a:normAutofit/>
            </a:bodyPr>
            <a:lstStyle/>
            <a:p>
              <a:pPr marL="0" marR="0" lvl="0" indent="0" algn="r" defTabSz="914400" rtl="0" eaLnBrk="1" fontAlgn="auto" latinLnBrk="0" hangingPunct="1">
                <a:buClrTx/>
                <a:buSzTx/>
                <a:buFontTx/>
                <a:buNone/>
                <a:tabLst/>
                <a:defRPr/>
              </a:pPr>
              <a:r>
                <a:rPr lang="en-US" sz="1400" b="1">
                  <a:solidFill>
                    <a:srgbClr val="FEF000"/>
                  </a:solidFill>
                  <a:latin typeface="Segoe UI" charset="0"/>
                  <a:ea typeface="Segoe UI" charset="0"/>
                  <a:cs typeface="Segoe UI" charset="0"/>
                </a:rPr>
                <a:t>A</a:t>
              </a:r>
              <a:r>
                <a:rPr lang="en-US" sz="1400" b="1">
                  <a:solidFill>
                    <a:schemeClr val="bg1"/>
                  </a:solidFill>
                  <a:latin typeface="Segoe UI" charset="0"/>
                  <a:ea typeface="Segoe UI" charset="0"/>
                  <a:cs typeface="Segoe UI" charset="0"/>
                </a:rPr>
                <a:t>A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84" name="object 55">
              <a:extLst>
                <a:ext uri="{FF2B5EF4-FFF2-40B4-BE49-F238E27FC236}">
                  <a16:creationId xmlns:a16="http://schemas.microsoft.com/office/drawing/2014/main" id="{90D0CCBD-3BD0-994F-ACA8-D71F9FFC4363}"/>
                </a:ext>
              </a:extLst>
            </p:cNvPr>
            <p:cNvSpPr/>
            <p:nvPr/>
          </p:nvSpPr>
          <p:spPr>
            <a:xfrm>
              <a:off x="5252943" y="4066243"/>
              <a:ext cx="372619" cy="292091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6999" y="978204"/>
                  </a:lnTo>
                  <a:lnTo>
                    <a:pt x="1396999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noFill/>
          </p:spPr>
          <p:txBody>
            <a:bodyPr wrap="none" lIns="45720" tIns="27432" rIns="45720" bIns="27432" rtlCol="0">
              <a:normAutofit/>
            </a:bodyPr>
            <a:lstStyle/>
            <a:p>
              <a:pPr lvl="0" algn="r" defTabSz="914400">
                <a:defRPr/>
              </a:pPr>
              <a:r>
                <a:rPr lang="en-US" sz="1400" b="1">
                  <a:solidFill>
                    <a:srgbClr val="9BF00B"/>
                  </a:solidFill>
                  <a:latin typeface="Segoe UI" charset="0"/>
                  <a:ea typeface="Segoe UI" charset="0"/>
                  <a:cs typeface="Segoe UI" charset="0"/>
                </a:rPr>
                <a:t>A</a:t>
              </a:r>
              <a:r>
                <a:rPr lang="en-US" sz="1400" b="1">
                  <a:solidFill>
                    <a:schemeClr val="bg1"/>
                  </a:solidFill>
                  <a:latin typeface="Segoe UI" charset="0"/>
                  <a:ea typeface="Segoe UI" charset="0"/>
                  <a:cs typeface="Segoe UI" charset="0"/>
                </a:rPr>
                <a:t>A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85" name="object 55">
              <a:extLst>
                <a:ext uri="{FF2B5EF4-FFF2-40B4-BE49-F238E27FC236}">
                  <a16:creationId xmlns:a16="http://schemas.microsoft.com/office/drawing/2014/main" id="{1B85F420-B154-AC4D-8254-DEEA59C97141}"/>
                </a:ext>
              </a:extLst>
            </p:cNvPr>
            <p:cNvSpPr/>
            <p:nvPr/>
          </p:nvSpPr>
          <p:spPr>
            <a:xfrm>
              <a:off x="6268435" y="4066247"/>
              <a:ext cx="372619" cy="292091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6999" y="978204"/>
                  </a:lnTo>
                  <a:lnTo>
                    <a:pt x="1396999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noFill/>
          </p:spPr>
          <p:txBody>
            <a:bodyPr wrap="none" lIns="45720" tIns="27432" rIns="45720" bIns="27432" rtlCol="0">
              <a:normAutofit/>
            </a:bodyPr>
            <a:lstStyle/>
            <a:p>
              <a:pPr lvl="0" algn="r" defTabSz="914400">
                <a:defRPr/>
              </a:pPr>
              <a:r>
                <a:rPr lang="en-US" sz="1400" b="1">
                  <a:solidFill>
                    <a:srgbClr val="30E5D0"/>
                  </a:solidFill>
                  <a:latin typeface="Segoe UI" charset="0"/>
                  <a:ea typeface="Segoe UI" charset="0"/>
                  <a:cs typeface="Segoe UI" charset="0"/>
                </a:rPr>
                <a:t>A</a:t>
              </a:r>
              <a:r>
                <a:rPr lang="en-US" sz="1400" b="1">
                  <a:solidFill>
                    <a:schemeClr val="bg1"/>
                  </a:solidFill>
                  <a:latin typeface="Segoe UI" charset="0"/>
                  <a:ea typeface="Segoe UI" charset="0"/>
                  <a:cs typeface="Segoe UI" charset="0"/>
                </a:rPr>
                <a:t>A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86" name="object 55">
              <a:extLst>
                <a:ext uri="{FF2B5EF4-FFF2-40B4-BE49-F238E27FC236}">
                  <a16:creationId xmlns:a16="http://schemas.microsoft.com/office/drawing/2014/main" id="{F43BF6FD-4C3E-7049-A4F7-D705193CD984}"/>
                </a:ext>
              </a:extLst>
            </p:cNvPr>
            <p:cNvSpPr/>
            <p:nvPr/>
          </p:nvSpPr>
          <p:spPr>
            <a:xfrm>
              <a:off x="7298254" y="4066243"/>
              <a:ext cx="372619" cy="292091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6999" y="978204"/>
                  </a:lnTo>
                  <a:lnTo>
                    <a:pt x="1396999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noFill/>
          </p:spPr>
          <p:txBody>
            <a:bodyPr wrap="none" lIns="45720" tIns="27432" rIns="45720" bIns="27432" rtlCol="0">
              <a:normAutofit/>
            </a:bodyPr>
            <a:lstStyle/>
            <a:p>
              <a:pPr lvl="0" algn="r" defTabSz="914400">
                <a:defRPr/>
              </a:pPr>
              <a:r>
                <a:rPr lang="en-US" sz="1400" b="1">
                  <a:solidFill>
                    <a:srgbClr val="50E6FF"/>
                  </a:solidFill>
                  <a:latin typeface="Segoe UI" charset="0"/>
                  <a:ea typeface="Segoe UI" charset="0"/>
                  <a:cs typeface="Segoe UI" charset="0"/>
                </a:rPr>
                <a:t>A</a:t>
              </a:r>
              <a:r>
                <a:rPr lang="en-US" sz="1400" b="1">
                  <a:solidFill>
                    <a:schemeClr val="bg1"/>
                  </a:solidFill>
                  <a:latin typeface="Segoe UI" charset="0"/>
                  <a:ea typeface="Segoe UI" charset="0"/>
                  <a:cs typeface="Segoe UI" charset="0"/>
                </a:rPr>
                <a:t>A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endParaRPr>
            </a:p>
          </p:txBody>
        </p:sp>
        <p:sp>
          <p:nvSpPr>
            <p:cNvPr id="87" name="object 55">
              <a:extLst>
                <a:ext uri="{FF2B5EF4-FFF2-40B4-BE49-F238E27FC236}">
                  <a16:creationId xmlns:a16="http://schemas.microsoft.com/office/drawing/2014/main" id="{7EF94AD4-319C-944F-B4D3-284BF977DC32}"/>
                </a:ext>
              </a:extLst>
            </p:cNvPr>
            <p:cNvSpPr/>
            <p:nvPr/>
          </p:nvSpPr>
          <p:spPr>
            <a:xfrm>
              <a:off x="8313308" y="4066245"/>
              <a:ext cx="372619" cy="292091"/>
            </a:xfrm>
            <a:custGeom>
              <a:avLst/>
              <a:gdLst/>
              <a:ahLst/>
              <a:cxnLst/>
              <a:rect l="l" t="t" r="r" b="b"/>
              <a:pathLst>
                <a:path w="1397000" h="978535">
                  <a:moveTo>
                    <a:pt x="0" y="978204"/>
                  </a:moveTo>
                  <a:lnTo>
                    <a:pt x="1396999" y="978204"/>
                  </a:lnTo>
                  <a:lnTo>
                    <a:pt x="1396999" y="0"/>
                  </a:lnTo>
                  <a:lnTo>
                    <a:pt x="0" y="0"/>
                  </a:lnTo>
                  <a:lnTo>
                    <a:pt x="0" y="978204"/>
                  </a:lnTo>
                  <a:close/>
                </a:path>
              </a:pathLst>
            </a:custGeom>
            <a:noFill/>
          </p:spPr>
          <p:txBody>
            <a:bodyPr wrap="none" lIns="45720" tIns="27432" rIns="45720" bIns="27432" rtlCol="0">
              <a:normAutofit/>
            </a:bodyPr>
            <a:lstStyle/>
            <a:p>
              <a:pPr lvl="0" algn="r" defTabSz="914400">
                <a:defRPr/>
              </a:pPr>
              <a:r>
                <a:rPr lang="en-US" sz="1400" b="1">
                  <a:solidFill>
                    <a:srgbClr val="D59DFF"/>
                  </a:solidFill>
                  <a:latin typeface="Segoe UI" charset="0"/>
                  <a:ea typeface="Segoe UI" charset="0"/>
                  <a:cs typeface="Segoe UI" charset="0"/>
                </a:rPr>
                <a:t>A</a:t>
              </a:r>
              <a:r>
                <a:rPr lang="en-US" sz="1400" b="1">
                  <a:solidFill>
                    <a:schemeClr val="bg1"/>
                  </a:solidFill>
                  <a:latin typeface="Segoe UI" charset="0"/>
                  <a:ea typeface="Segoe UI" charset="0"/>
                  <a:cs typeface="Segoe UI" charset="0"/>
                </a:rPr>
                <a:t>A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charset="0"/>
                <a:ea typeface="Segoe UI" charset="0"/>
                <a:cs typeface="Segoe UI" charset="0"/>
              </a:endParaRPr>
            </a:p>
          </p:txBody>
        </p:sp>
      </p:grp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63F715-0078-9441-905D-833E618B95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5216" y="1453281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51862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5" r:id="rId1"/>
    <p:sldLayoutId id="2147484696" r:id="rId2"/>
    <p:sldLayoutId id="2147484697" r:id="rId3"/>
    <p:sldLayoutId id="2147484698" r:id="rId4"/>
  </p:sldLayoutIdLst>
  <p:transition>
    <p:fade/>
  </p:transition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2200" b="0" kern="1200" cap="none" spc="0" baseline="0" dirty="0" smtClean="0">
          <a:ln w="3175">
            <a:noFill/>
          </a:ln>
          <a:solidFill>
            <a:schemeClr val="bg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109728" marR="0" indent="-109728" algn="l" defTabSz="932742" rtl="0" eaLnBrk="1" fontAlgn="auto" latinLnBrk="0" hangingPunct="1">
        <a:lnSpc>
          <a:spcPct val="110000"/>
        </a:lnSpc>
        <a:spcBef>
          <a:spcPts val="0"/>
        </a:spcBef>
        <a:spcAft>
          <a:spcPts val="800"/>
        </a:spcAft>
        <a:buClrTx/>
        <a:buSzPct val="90000"/>
        <a:buFont typeface="Arial" panose="020B0604020202020204" pitchFamily="34" charset="0"/>
        <a:buChar char="•"/>
        <a:tabLst/>
        <a:defRPr sz="1400" kern="1200" spc="0" baseline="0">
          <a:solidFill>
            <a:schemeClr val="bg1"/>
          </a:solidFill>
          <a:latin typeface="+mn-lt"/>
          <a:ea typeface="+mn-ea"/>
          <a:cs typeface="Segoe UI" panose="020B0502040204020203" pitchFamily="34" charset="0"/>
        </a:defRPr>
      </a:lvl1pPr>
      <a:lvl2pPr marL="219456" marR="0" indent="-109728" algn="l" defTabSz="932742" rtl="0" eaLnBrk="1" fontAlgn="auto" latinLnBrk="0" hangingPunct="1">
        <a:lnSpc>
          <a:spcPct val="110000"/>
        </a:lnSpc>
        <a:spcBef>
          <a:spcPts val="0"/>
        </a:spcBef>
        <a:spcAft>
          <a:spcPts val="800"/>
        </a:spcAft>
        <a:buClrTx/>
        <a:buSzPct val="90000"/>
        <a:buFont typeface="Arial" panose="020B0604020202020204" pitchFamily="34" charset="0"/>
        <a:buChar char="•"/>
        <a:tabLst/>
        <a:defRPr sz="1400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329184" marR="0" indent="-109728" algn="l" defTabSz="932742" rtl="0" eaLnBrk="1" fontAlgn="auto" latinLnBrk="0" hangingPunct="1">
        <a:lnSpc>
          <a:spcPct val="110000"/>
        </a:lnSpc>
        <a:spcBef>
          <a:spcPts val="0"/>
        </a:spcBef>
        <a:spcAft>
          <a:spcPts val="800"/>
        </a:spcAft>
        <a:buClrTx/>
        <a:buSzPct val="90000"/>
        <a:buFont typeface="Arial" panose="020B0604020202020204" pitchFamily="34" charset="0"/>
        <a:buChar char="•"/>
        <a:tabLst/>
        <a:defRPr sz="1200" kern="1200" spc="0" baseline="0">
          <a:solidFill>
            <a:schemeClr val="bg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08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10.xml"/><Relationship Id="rId4" Type="http://schemas.openxmlformats.org/officeDocument/2006/relationships/chart" Target="../charts/char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notesSlide" Target="../notesSlides/notesSlide2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slideLayout" Target="../slideLayouts/slideLayout6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2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33.xml"/><Relationship Id="rId5" Type="http://schemas.openxmlformats.org/officeDocument/2006/relationships/chart" Target="../charts/chart32.xml"/><Relationship Id="rId4" Type="http://schemas.openxmlformats.org/officeDocument/2006/relationships/chart" Target="../charts/chart3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37.xml"/><Relationship Id="rId5" Type="http://schemas.openxmlformats.org/officeDocument/2006/relationships/chart" Target="../charts/chart36.xml"/><Relationship Id="rId4" Type="http://schemas.openxmlformats.org/officeDocument/2006/relationships/chart" Target="../charts/chart3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8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41.xml"/><Relationship Id="rId5" Type="http://schemas.openxmlformats.org/officeDocument/2006/relationships/chart" Target="../charts/chart40.xml"/><Relationship Id="rId4" Type="http://schemas.openxmlformats.org/officeDocument/2006/relationships/chart" Target="../charts/chart3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2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44.xml"/><Relationship Id="rId4" Type="http://schemas.openxmlformats.org/officeDocument/2006/relationships/chart" Target="../charts/chart4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5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47.xml"/><Relationship Id="rId4" Type="http://schemas.openxmlformats.org/officeDocument/2006/relationships/chart" Target="../charts/chart4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8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4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0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5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2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5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4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5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6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5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8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5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0.xm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6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2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3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117" Type="http://schemas.openxmlformats.org/officeDocument/2006/relationships/tags" Target="../tags/tag483.xml"/><Relationship Id="rId299" Type="http://schemas.openxmlformats.org/officeDocument/2006/relationships/tags" Target="../tags/tag665.xml"/><Relationship Id="rId21" Type="http://schemas.openxmlformats.org/officeDocument/2006/relationships/tags" Target="../tags/tag387.xml"/><Relationship Id="rId63" Type="http://schemas.openxmlformats.org/officeDocument/2006/relationships/tags" Target="../tags/tag429.xml"/><Relationship Id="rId159" Type="http://schemas.openxmlformats.org/officeDocument/2006/relationships/tags" Target="../tags/tag525.xml"/><Relationship Id="rId324" Type="http://schemas.openxmlformats.org/officeDocument/2006/relationships/tags" Target="../tags/tag690.xml"/><Relationship Id="rId170" Type="http://schemas.openxmlformats.org/officeDocument/2006/relationships/tags" Target="../tags/tag536.xml"/><Relationship Id="rId226" Type="http://schemas.openxmlformats.org/officeDocument/2006/relationships/tags" Target="../tags/tag592.xml"/><Relationship Id="rId268" Type="http://schemas.openxmlformats.org/officeDocument/2006/relationships/tags" Target="../tags/tag634.xml"/><Relationship Id="rId32" Type="http://schemas.openxmlformats.org/officeDocument/2006/relationships/tags" Target="../tags/tag398.xml"/><Relationship Id="rId74" Type="http://schemas.openxmlformats.org/officeDocument/2006/relationships/tags" Target="../tags/tag440.xml"/><Relationship Id="rId128" Type="http://schemas.openxmlformats.org/officeDocument/2006/relationships/tags" Target="../tags/tag494.xml"/><Relationship Id="rId5" Type="http://schemas.openxmlformats.org/officeDocument/2006/relationships/tags" Target="../tags/tag371.xml"/><Relationship Id="rId181" Type="http://schemas.openxmlformats.org/officeDocument/2006/relationships/tags" Target="../tags/tag547.xml"/><Relationship Id="rId237" Type="http://schemas.openxmlformats.org/officeDocument/2006/relationships/tags" Target="../tags/tag603.xml"/><Relationship Id="rId279" Type="http://schemas.openxmlformats.org/officeDocument/2006/relationships/tags" Target="../tags/tag645.xml"/><Relationship Id="rId43" Type="http://schemas.openxmlformats.org/officeDocument/2006/relationships/tags" Target="../tags/tag409.xml"/><Relationship Id="rId139" Type="http://schemas.openxmlformats.org/officeDocument/2006/relationships/tags" Target="../tags/tag505.xml"/><Relationship Id="rId290" Type="http://schemas.openxmlformats.org/officeDocument/2006/relationships/tags" Target="../tags/tag656.xml"/><Relationship Id="rId304" Type="http://schemas.openxmlformats.org/officeDocument/2006/relationships/tags" Target="../tags/tag670.xml"/><Relationship Id="rId85" Type="http://schemas.openxmlformats.org/officeDocument/2006/relationships/tags" Target="../tags/tag451.xml"/><Relationship Id="rId150" Type="http://schemas.openxmlformats.org/officeDocument/2006/relationships/tags" Target="../tags/tag516.xml"/><Relationship Id="rId192" Type="http://schemas.openxmlformats.org/officeDocument/2006/relationships/tags" Target="../tags/tag558.xml"/><Relationship Id="rId206" Type="http://schemas.openxmlformats.org/officeDocument/2006/relationships/tags" Target="../tags/tag572.xml"/><Relationship Id="rId248" Type="http://schemas.openxmlformats.org/officeDocument/2006/relationships/tags" Target="../tags/tag614.xml"/><Relationship Id="rId12" Type="http://schemas.openxmlformats.org/officeDocument/2006/relationships/tags" Target="../tags/tag378.xml"/><Relationship Id="rId108" Type="http://schemas.openxmlformats.org/officeDocument/2006/relationships/tags" Target="../tags/tag474.xml"/><Relationship Id="rId315" Type="http://schemas.openxmlformats.org/officeDocument/2006/relationships/tags" Target="../tags/tag681.xml"/><Relationship Id="rId54" Type="http://schemas.openxmlformats.org/officeDocument/2006/relationships/tags" Target="../tags/tag420.xml"/><Relationship Id="rId96" Type="http://schemas.openxmlformats.org/officeDocument/2006/relationships/tags" Target="../tags/tag462.xml"/><Relationship Id="rId161" Type="http://schemas.openxmlformats.org/officeDocument/2006/relationships/tags" Target="../tags/tag527.xml"/><Relationship Id="rId217" Type="http://schemas.openxmlformats.org/officeDocument/2006/relationships/tags" Target="../tags/tag583.xml"/><Relationship Id="rId259" Type="http://schemas.openxmlformats.org/officeDocument/2006/relationships/tags" Target="../tags/tag625.xml"/><Relationship Id="rId23" Type="http://schemas.openxmlformats.org/officeDocument/2006/relationships/tags" Target="../tags/tag389.xml"/><Relationship Id="rId119" Type="http://schemas.openxmlformats.org/officeDocument/2006/relationships/tags" Target="../tags/tag485.xml"/><Relationship Id="rId270" Type="http://schemas.openxmlformats.org/officeDocument/2006/relationships/tags" Target="../tags/tag636.xml"/><Relationship Id="rId326" Type="http://schemas.openxmlformats.org/officeDocument/2006/relationships/tags" Target="../tags/tag692.xml"/><Relationship Id="rId65" Type="http://schemas.openxmlformats.org/officeDocument/2006/relationships/tags" Target="../tags/tag431.xml"/><Relationship Id="rId130" Type="http://schemas.openxmlformats.org/officeDocument/2006/relationships/tags" Target="../tags/tag496.xml"/><Relationship Id="rId172" Type="http://schemas.openxmlformats.org/officeDocument/2006/relationships/tags" Target="../tags/tag538.xml"/><Relationship Id="rId228" Type="http://schemas.openxmlformats.org/officeDocument/2006/relationships/tags" Target="../tags/tag594.xml"/><Relationship Id="rId281" Type="http://schemas.openxmlformats.org/officeDocument/2006/relationships/tags" Target="../tags/tag647.xml"/><Relationship Id="rId34" Type="http://schemas.openxmlformats.org/officeDocument/2006/relationships/tags" Target="../tags/tag400.xml"/><Relationship Id="rId76" Type="http://schemas.openxmlformats.org/officeDocument/2006/relationships/tags" Target="../tags/tag442.xml"/><Relationship Id="rId141" Type="http://schemas.openxmlformats.org/officeDocument/2006/relationships/tags" Target="../tags/tag507.xml"/><Relationship Id="rId7" Type="http://schemas.openxmlformats.org/officeDocument/2006/relationships/tags" Target="../tags/tag373.xml"/><Relationship Id="rId183" Type="http://schemas.openxmlformats.org/officeDocument/2006/relationships/tags" Target="../tags/tag549.xml"/><Relationship Id="rId239" Type="http://schemas.openxmlformats.org/officeDocument/2006/relationships/tags" Target="../tags/tag605.xml"/><Relationship Id="rId250" Type="http://schemas.openxmlformats.org/officeDocument/2006/relationships/tags" Target="../tags/tag616.xml"/><Relationship Id="rId271" Type="http://schemas.openxmlformats.org/officeDocument/2006/relationships/tags" Target="../tags/tag637.xml"/><Relationship Id="rId292" Type="http://schemas.openxmlformats.org/officeDocument/2006/relationships/tags" Target="../tags/tag658.xml"/><Relationship Id="rId306" Type="http://schemas.openxmlformats.org/officeDocument/2006/relationships/tags" Target="../tags/tag672.xml"/><Relationship Id="rId24" Type="http://schemas.openxmlformats.org/officeDocument/2006/relationships/tags" Target="../tags/tag390.xml"/><Relationship Id="rId45" Type="http://schemas.openxmlformats.org/officeDocument/2006/relationships/tags" Target="../tags/tag411.xml"/><Relationship Id="rId66" Type="http://schemas.openxmlformats.org/officeDocument/2006/relationships/tags" Target="../tags/tag432.xml"/><Relationship Id="rId87" Type="http://schemas.openxmlformats.org/officeDocument/2006/relationships/tags" Target="../tags/tag453.xml"/><Relationship Id="rId110" Type="http://schemas.openxmlformats.org/officeDocument/2006/relationships/tags" Target="../tags/tag476.xml"/><Relationship Id="rId131" Type="http://schemas.openxmlformats.org/officeDocument/2006/relationships/tags" Target="../tags/tag497.xml"/><Relationship Id="rId327" Type="http://schemas.openxmlformats.org/officeDocument/2006/relationships/tags" Target="../tags/tag693.xml"/><Relationship Id="rId152" Type="http://schemas.openxmlformats.org/officeDocument/2006/relationships/tags" Target="../tags/tag518.xml"/><Relationship Id="rId173" Type="http://schemas.openxmlformats.org/officeDocument/2006/relationships/tags" Target="../tags/tag539.xml"/><Relationship Id="rId194" Type="http://schemas.openxmlformats.org/officeDocument/2006/relationships/tags" Target="../tags/tag560.xml"/><Relationship Id="rId208" Type="http://schemas.openxmlformats.org/officeDocument/2006/relationships/tags" Target="../tags/tag574.xml"/><Relationship Id="rId229" Type="http://schemas.openxmlformats.org/officeDocument/2006/relationships/tags" Target="../tags/tag595.xml"/><Relationship Id="rId240" Type="http://schemas.openxmlformats.org/officeDocument/2006/relationships/tags" Target="../tags/tag606.xml"/><Relationship Id="rId261" Type="http://schemas.openxmlformats.org/officeDocument/2006/relationships/tags" Target="../tags/tag627.xml"/><Relationship Id="rId14" Type="http://schemas.openxmlformats.org/officeDocument/2006/relationships/tags" Target="../tags/tag380.xml"/><Relationship Id="rId35" Type="http://schemas.openxmlformats.org/officeDocument/2006/relationships/tags" Target="../tags/tag401.xml"/><Relationship Id="rId56" Type="http://schemas.openxmlformats.org/officeDocument/2006/relationships/tags" Target="../tags/tag422.xml"/><Relationship Id="rId77" Type="http://schemas.openxmlformats.org/officeDocument/2006/relationships/tags" Target="../tags/tag443.xml"/><Relationship Id="rId100" Type="http://schemas.openxmlformats.org/officeDocument/2006/relationships/tags" Target="../tags/tag466.xml"/><Relationship Id="rId282" Type="http://schemas.openxmlformats.org/officeDocument/2006/relationships/tags" Target="../tags/tag648.xml"/><Relationship Id="rId317" Type="http://schemas.openxmlformats.org/officeDocument/2006/relationships/tags" Target="../tags/tag683.xml"/><Relationship Id="rId8" Type="http://schemas.openxmlformats.org/officeDocument/2006/relationships/tags" Target="../tags/tag374.xml"/><Relationship Id="rId98" Type="http://schemas.openxmlformats.org/officeDocument/2006/relationships/tags" Target="../tags/tag464.xml"/><Relationship Id="rId121" Type="http://schemas.openxmlformats.org/officeDocument/2006/relationships/tags" Target="../tags/tag487.xml"/><Relationship Id="rId142" Type="http://schemas.openxmlformats.org/officeDocument/2006/relationships/tags" Target="../tags/tag508.xml"/><Relationship Id="rId163" Type="http://schemas.openxmlformats.org/officeDocument/2006/relationships/tags" Target="../tags/tag529.xml"/><Relationship Id="rId184" Type="http://schemas.openxmlformats.org/officeDocument/2006/relationships/tags" Target="../tags/tag550.xml"/><Relationship Id="rId219" Type="http://schemas.openxmlformats.org/officeDocument/2006/relationships/tags" Target="../tags/tag585.xml"/><Relationship Id="rId230" Type="http://schemas.openxmlformats.org/officeDocument/2006/relationships/tags" Target="../tags/tag596.xml"/><Relationship Id="rId251" Type="http://schemas.openxmlformats.org/officeDocument/2006/relationships/tags" Target="../tags/tag617.xml"/><Relationship Id="rId25" Type="http://schemas.openxmlformats.org/officeDocument/2006/relationships/tags" Target="../tags/tag391.xml"/><Relationship Id="rId46" Type="http://schemas.openxmlformats.org/officeDocument/2006/relationships/tags" Target="../tags/tag412.xml"/><Relationship Id="rId67" Type="http://schemas.openxmlformats.org/officeDocument/2006/relationships/tags" Target="../tags/tag433.xml"/><Relationship Id="rId272" Type="http://schemas.openxmlformats.org/officeDocument/2006/relationships/tags" Target="../tags/tag638.xml"/><Relationship Id="rId293" Type="http://schemas.openxmlformats.org/officeDocument/2006/relationships/tags" Target="../tags/tag659.xml"/><Relationship Id="rId307" Type="http://schemas.openxmlformats.org/officeDocument/2006/relationships/tags" Target="../tags/tag673.xml"/><Relationship Id="rId328" Type="http://schemas.openxmlformats.org/officeDocument/2006/relationships/tags" Target="../tags/tag694.xml"/><Relationship Id="rId88" Type="http://schemas.openxmlformats.org/officeDocument/2006/relationships/tags" Target="../tags/tag454.xml"/><Relationship Id="rId111" Type="http://schemas.openxmlformats.org/officeDocument/2006/relationships/tags" Target="../tags/tag477.xml"/><Relationship Id="rId132" Type="http://schemas.openxmlformats.org/officeDocument/2006/relationships/tags" Target="../tags/tag498.xml"/><Relationship Id="rId153" Type="http://schemas.openxmlformats.org/officeDocument/2006/relationships/tags" Target="../tags/tag519.xml"/><Relationship Id="rId174" Type="http://schemas.openxmlformats.org/officeDocument/2006/relationships/tags" Target="../tags/tag540.xml"/><Relationship Id="rId195" Type="http://schemas.openxmlformats.org/officeDocument/2006/relationships/tags" Target="../tags/tag561.xml"/><Relationship Id="rId209" Type="http://schemas.openxmlformats.org/officeDocument/2006/relationships/tags" Target="../tags/tag575.xml"/><Relationship Id="rId220" Type="http://schemas.openxmlformats.org/officeDocument/2006/relationships/tags" Target="../tags/tag586.xml"/><Relationship Id="rId241" Type="http://schemas.openxmlformats.org/officeDocument/2006/relationships/tags" Target="../tags/tag607.xml"/><Relationship Id="rId15" Type="http://schemas.openxmlformats.org/officeDocument/2006/relationships/tags" Target="../tags/tag381.xml"/><Relationship Id="rId36" Type="http://schemas.openxmlformats.org/officeDocument/2006/relationships/tags" Target="../tags/tag402.xml"/><Relationship Id="rId57" Type="http://schemas.openxmlformats.org/officeDocument/2006/relationships/tags" Target="../tags/tag423.xml"/><Relationship Id="rId262" Type="http://schemas.openxmlformats.org/officeDocument/2006/relationships/tags" Target="../tags/tag628.xml"/><Relationship Id="rId283" Type="http://schemas.openxmlformats.org/officeDocument/2006/relationships/tags" Target="../tags/tag649.xml"/><Relationship Id="rId318" Type="http://schemas.openxmlformats.org/officeDocument/2006/relationships/tags" Target="../tags/tag684.xml"/><Relationship Id="rId78" Type="http://schemas.openxmlformats.org/officeDocument/2006/relationships/tags" Target="../tags/tag444.xml"/><Relationship Id="rId99" Type="http://schemas.openxmlformats.org/officeDocument/2006/relationships/tags" Target="../tags/tag465.xml"/><Relationship Id="rId101" Type="http://schemas.openxmlformats.org/officeDocument/2006/relationships/tags" Target="../tags/tag467.xml"/><Relationship Id="rId122" Type="http://schemas.openxmlformats.org/officeDocument/2006/relationships/tags" Target="../tags/tag488.xml"/><Relationship Id="rId143" Type="http://schemas.openxmlformats.org/officeDocument/2006/relationships/tags" Target="../tags/tag509.xml"/><Relationship Id="rId164" Type="http://schemas.openxmlformats.org/officeDocument/2006/relationships/tags" Target="../tags/tag530.xml"/><Relationship Id="rId185" Type="http://schemas.openxmlformats.org/officeDocument/2006/relationships/tags" Target="../tags/tag551.xml"/><Relationship Id="rId9" Type="http://schemas.openxmlformats.org/officeDocument/2006/relationships/tags" Target="../tags/tag375.xml"/><Relationship Id="rId210" Type="http://schemas.openxmlformats.org/officeDocument/2006/relationships/tags" Target="../tags/tag576.xml"/><Relationship Id="rId26" Type="http://schemas.openxmlformats.org/officeDocument/2006/relationships/tags" Target="../tags/tag392.xml"/><Relationship Id="rId231" Type="http://schemas.openxmlformats.org/officeDocument/2006/relationships/tags" Target="../tags/tag597.xml"/><Relationship Id="rId252" Type="http://schemas.openxmlformats.org/officeDocument/2006/relationships/tags" Target="../tags/tag618.xml"/><Relationship Id="rId273" Type="http://schemas.openxmlformats.org/officeDocument/2006/relationships/tags" Target="../tags/tag639.xml"/><Relationship Id="rId294" Type="http://schemas.openxmlformats.org/officeDocument/2006/relationships/tags" Target="../tags/tag660.xml"/><Relationship Id="rId308" Type="http://schemas.openxmlformats.org/officeDocument/2006/relationships/tags" Target="../tags/tag674.xml"/><Relationship Id="rId329" Type="http://schemas.openxmlformats.org/officeDocument/2006/relationships/tags" Target="../tags/tag695.xml"/><Relationship Id="rId47" Type="http://schemas.openxmlformats.org/officeDocument/2006/relationships/tags" Target="../tags/tag413.xml"/><Relationship Id="rId68" Type="http://schemas.openxmlformats.org/officeDocument/2006/relationships/tags" Target="../tags/tag434.xml"/><Relationship Id="rId89" Type="http://schemas.openxmlformats.org/officeDocument/2006/relationships/tags" Target="../tags/tag455.xml"/><Relationship Id="rId112" Type="http://schemas.openxmlformats.org/officeDocument/2006/relationships/tags" Target="../tags/tag478.xml"/><Relationship Id="rId133" Type="http://schemas.openxmlformats.org/officeDocument/2006/relationships/tags" Target="../tags/tag499.xml"/><Relationship Id="rId154" Type="http://schemas.openxmlformats.org/officeDocument/2006/relationships/tags" Target="../tags/tag520.xml"/><Relationship Id="rId175" Type="http://schemas.openxmlformats.org/officeDocument/2006/relationships/tags" Target="../tags/tag541.xml"/><Relationship Id="rId196" Type="http://schemas.openxmlformats.org/officeDocument/2006/relationships/tags" Target="../tags/tag562.xml"/><Relationship Id="rId200" Type="http://schemas.openxmlformats.org/officeDocument/2006/relationships/tags" Target="../tags/tag566.xml"/><Relationship Id="rId16" Type="http://schemas.openxmlformats.org/officeDocument/2006/relationships/tags" Target="../tags/tag382.xml"/><Relationship Id="rId221" Type="http://schemas.openxmlformats.org/officeDocument/2006/relationships/tags" Target="../tags/tag587.xml"/><Relationship Id="rId242" Type="http://schemas.openxmlformats.org/officeDocument/2006/relationships/tags" Target="../tags/tag608.xml"/><Relationship Id="rId263" Type="http://schemas.openxmlformats.org/officeDocument/2006/relationships/tags" Target="../tags/tag629.xml"/><Relationship Id="rId284" Type="http://schemas.openxmlformats.org/officeDocument/2006/relationships/tags" Target="../tags/tag650.xml"/><Relationship Id="rId319" Type="http://schemas.openxmlformats.org/officeDocument/2006/relationships/tags" Target="../tags/tag685.xml"/><Relationship Id="rId37" Type="http://schemas.openxmlformats.org/officeDocument/2006/relationships/tags" Target="../tags/tag403.xml"/><Relationship Id="rId58" Type="http://schemas.openxmlformats.org/officeDocument/2006/relationships/tags" Target="../tags/tag424.xml"/><Relationship Id="rId79" Type="http://schemas.openxmlformats.org/officeDocument/2006/relationships/tags" Target="../tags/tag445.xml"/><Relationship Id="rId102" Type="http://schemas.openxmlformats.org/officeDocument/2006/relationships/tags" Target="../tags/tag468.xml"/><Relationship Id="rId123" Type="http://schemas.openxmlformats.org/officeDocument/2006/relationships/tags" Target="../tags/tag489.xml"/><Relationship Id="rId144" Type="http://schemas.openxmlformats.org/officeDocument/2006/relationships/tags" Target="../tags/tag510.xml"/><Relationship Id="rId330" Type="http://schemas.openxmlformats.org/officeDocument/2006/relationships/tags" Target="../tags/tag696.xml"/><Relationship Id="rId90" Type="http://schemas.openxmlformats.org/officeDocument/2006/relationships/tags" Target="../tags/tag456.xml"/><Relationship Id="rId165" Type="http://schemas.openxmlformats.org/officeDocument/2006/relationships/tags" Target="../tags/tag531.xml"/><Relationship Id="rId186" Type="http://schemas.openxmlformats.org/officeDocument/2006/relationships/tags" Target="../tags/tag552.xml"/><Relationship Id="rId211" Type="http://schemas.openxmlformats.org/officeDocument/2006/relationships/tags" Target="../tags/tag577.xml"/><Relationship Id="rId232" Type="http://schemas.openxmlformats.org/officeDocument/2006/relationships/tags" Target="../tags/tag598.xml"/><Relationship Id="rId253" Type="http://schemas.openxmlformats.org/officeDocument/2006/relationships/tags" Target="../tags/tag619.xml"/><Relationship Id="rId274" Type="http://schemas.openxmlformats.org/officeDocument/2006/relationships/tags" Target="../tags/tag640.xml"/><Relationship Id="rId295" Type="http://schemas.openxmlformats.org/officeDocument/2006/relationships/tags" Target="../tags/tag661.xml"/><Relationship Id="rId309" Type="http://schemas.openxmlformats.org/officeDocument/2006/relationships/tags" Target="../tags/tag675.xml"/><Relationship Id="rId27" Type="http://schemas.openxmlformats.org/officeDocument/2006/relationships/tags" Target="../tags/tag393.xml"/><Relationship Id="rId48" Type="http://schemas.openxmlformats.org/officeDocument/2006/relationships/tags" Target="../tags/tag414.xml"/><Relationship Id="rId69" Type="http://schemas.openxmlformats.org/officeDocument/2006/relationships/tags" Target="../tags/tag435.xml"/><Relationship Id="rId113" Type="http://schemas.openxmlformats.org/officeDocument/2006/relationships/tags" Target="../tags/tag479.xml"/><Relationship Id="rId134" Type="http://schemas.openxmlformats.org/officeDocument/2006/relationships/tags" Target="../tags/tag500.xml"/><Relationship Id="rId320" Type="http://schemas.openxmlformats.org/officeDocument/2006/relationships/tags" Target="../tags/tag686.xml"/><Relationship Id="rId80" Type="http://schemas.openxmlformats.org/officeDocument/2006/relationships/tags" Target="../tags/tag446.xml"/><Relationship Id="rId155" Type="http://schemas.openxmlformats.org/officeDocument/2006/relationships/tags" Target="../tags/tag521.xml"/><Relationship Id="rId176" Type="http://schemas.openxmlformats.org/officeDocument/2006/relationships/tags" Target="../tags/tag542.xml"/><Relationship Id="rId197" Type="http://schemas.openxmlformats.org/officeDocument/2006/relationships/tags" Target="../tags/tag563.xml"/><Relationship Id="rId201" Type="http://schemas.openxmlformats.org/officeDocument/2006/relationships/tags" Target="../tags/tag567.xml"/><Relationship Id="rId222" Type="http://schemas.openxmlformats.org/officeDocument/2006/relationships/tags" Target="../tags/tag588.xml"/><Relationship Id="rId243" Type="http://schemas.openxmlformats.org/officeDocument/2006/relationships/tags" Target="../tags/tag609.xml"/><Relationship Id="rId264" Type="http://schemas.openxmlformats.org/officeDocument/2006/relationships/tags" Target="../tags/tag630.xml"/><Relationship Id="rId285" Type="http://schemas.openxmlformats.org/officeDocument/2006/relationships/tags" Target="../tags/tag651.xml"/><Relationship Id="rId17" Type="http://schemas.openxmlformats.org/officeDocument/2006/relationships/tags" Target="../tags/tag383.xml"/><Relationship Id="rId38" Type="http://schemas.openxmlformats.org/officeDocument/2006/relationships/tags" Target="../tags/tag404.xml"/><Relationship Id="rId59" Type="http://schemas.openxmlformats.org/officeDocument/2006/relationships/tags" Target="../tags/tag425.xml"/><Relationship Id="rId103" Type="http://schemas.openxmlformats.org/officeDocument/2006/relationships/tags" Target="../tags/tag469.xml"/><Relationship Id="rId124" Type="http://schemas.openxmlformats.org/officeDocument/2006/relationships/tags" Target="../tags/tag490.xml"/><Relationship Id="rId310" Type="http://schemas.openxmlformats.org/officeDocument/2006/relationships/tags" Target="../tags/tag676.xml"/><Relationship Id="rId70" Type="http://schemas.openxmlformats.org/officeDocument/2006/relationships/tags" Target="../tags/tag436.xml"/><Relationship Id="rId91" Type="http://schemas.openxmlformats.org/officeDocument/2006/relationships/tags" Target="../tags/tag457.xml"/><Relationship Id="rId145" Type="http://schemas.openxmlformats.org/officeDocument/2006/relationships/tags" Target="../tags/tag511.xml"/><Relationship Id="rId166" Type="http://schemas.openxmlformats.org/officeDocument/2006/relationships/tags" Target="../tags/tag532.xml"/><Relationship Id="rId187" Type="http://schemas.openxmlformats.org/officeDocument/2006/relationships/tags" Target="../tags/tag553.xml"/><Relationship Id="rId331" Type="http://schemas.openxmlformats.org/officeDocument/2006/relationships/slideLayout" Target="../slideLayouts/slideLayout23.xml"/><Relationship Id="rId1" Type="http://schemas.openxmlformats.org/officeDocument/2006/relationships/tags" Target="../tags/tag367.xml"/><Relationship Id="rId212" Type="http://schemas.openxmlformats.org/officeDocument/2006/relationships/tags" Target="../tags/tag578.xml"/><Relationship Id="rId233" Type="http://schemas.openxmlformats.org/officeDocument/2006/relationships/tags" Target="../tags/tag599.xml"/><Relationship Id="rId254" Type="http://schemas.openxmlformats.org/officeDocument/2006/relationships/tags" Target="../tags/tag620.xml"/><Relationship Id="rId28" Type="http://schemas.openxmlformats.org/officeDocument/2006/relationships/tags" Target="../tags/tag394.xml"/><Relationship Id="rId49" Type="http://schemas.openxmlformats.org/officeDocument/2006/relationships/tags" Target="../tags/tag415.xml"/><Relationship Id="rId114" Type="http://schemas.openxmlformats.org/officeDocument/2006/relationships/tags" Target="../tags/tag480.xml"/><Relationship Id="rId275" Type="http://schemas.openxmlformats.org/officeDocument/2006/relationships/tags" Target="../tags/tag641.xml"/><Relationship Id="rId296" Type="http://schemas.openxmlformats.org/officeDocument/2006/relationships/tags" Target="../tags/tag662.xml"/><Relationship Id="rId300" Type="http://schemas.openxmlformats.org/officeDocument/2006/relationships/tags" Target="../tags/tag666.xml"/><Relationship Id="rId60" Type="http://schemas.openxmlformats.org/officeDocument/2006/relationships/tags" Target="../tags/tag426.xml"/><Relationship Id="rId81" Type="http://schemas.openxmlformats.org/officeDocument/2006/relationships/tags" Target="../tags/tag447.xml"/><Relationship Id="rId135" Type="http://schemas.openxmlformats.org/officeDocument/2006/relationships/tags" Target="../tags/tag501.xml"/><Relationship Id="rId156" Type="http://schemas.openxmlformats.org/officeDocument/2006/relationships/tags" Target="../tags/tag522.xml"/><Relationship Id="rId177" Type="http://schemas.openxmlformats.org/officeDocument/2006/relationships/tags" Target="../tags/tag543.xml"/><Relationship Id="rId198" Type="http://schemas.openxmlformats.org/officeDocument/2006/relationships/tags" Target="../tags/tag564.xml"/><Relationship Id="rId321" Type="http://schemas.openxmlformats.org/officeDocument/2006/relationships/tags" Target="../tags/tag687.xml"/><Relationship Id="rId202" Type="http://schemas.openxmlformats.org/officeDocument/2006/relationships/tags" Target="../tags/tag568.xml"/><Relationship Id="rId223" Type="http://schemas.openxmlformats.org/officeDocument/2006/relationships/tags" Target="../tags/tag589.xml"/><Relationship Id="rId244" Type="http://schemas.openxmlformats.org/officeDocument/2006/relationships/tags" Target="../tags/tag610.xml"/><Relationship Id="rId18" Type="http://schemas.openxmlformats.org/officeDocument/2006/relationships/tags" Target="../tags/tag384.xml"/><Relationship Id="rId39" Type="http://schemas.openxmlformats.org/officeDocument/2006/relationships/tags" Target="../tags/tag405.xml"/><Relationship Id="rId265" Type="http://schemas.openxmlformats.org/officeDocument/2006/relationships/tags" Target="../tags/tag631.xml"/><Relationship Id="rId286" Type="http://schemas.openxmlformats.org/officeDocument/2006/relationships/tags" Target="../tags/tag652.xml"/><Relationship Id="rId50" Type="http://schemas.openxmlformats.org/officeDocument/2006/relationships/tags" Target="../tags/tag416.xml"/><Relationship Id="rId104" Type="http://schemas.openxmlformats.org/officeDocument/2006/relationships/tags" Target="../tags/tag470.xml"/><Relationship Id="rId125" Type="http://schemas.openxmlformats.org/officeDocument/2006/relationships/tags" Target="../tags/tag491.xml"/><Relationship Id="rId146" Type="http://schemas.openxmlformats.org/officeDocument/2006/relationships/tags" Target="../tags/tag512.xml"/><Relationship Id="rId167" Type="http://schemas.openxmlformats.org/officeDocument/2006/relationships/tags" Target="../tags/tag533.xml"/><Relationship Id="rId188" Type="http://schemas.openxmlformats.org/officeDocument/2006/relationships/tags" Target="../tags/tag554.xml"/><Relationship Id="rId311" Type="http://schemas.openxmlformats.org/officeDocument/2006/relationships/tags" Target="../tags/tag677.xml"/><Relationship Id="rId332" Type="http://schemas.openxmlformats.org/officeDocument/2006/relationships/notesSlide" Target="../notesSlides/notesSlide36.xml"/><Relationship Id="rId71" Type="http://schemas.openxmlformats.org/officeDocument/2006/relationships/tags" Target="../tags/tag437.xml"/><Relationship Id="rId92" Type="http://schemas.openxmlformats.org/officeDocument/2006/relationships/tags" Target="../tags/tag458.xml"/><Relationship Id="rId213" Type="http://schemas.openxmlformats.org/officeDocument/2006/relationships/tags" Target="../tags/tag579.xml"/><Relationship Id="rId234" Type="http://schemas.openxmlformats.org/officeDocument/2006/relationships/tags" Target="../tags/tag600.xml"/><Relationship Id="rId2" Type="http://schemas.openxmlformats.org/officeDocument/2006/relationships/tags" Target="../tags/tag368.xml"/><Relationship Id="rId29" Type="http://schemas.openxmlformats.org/officeDocument/2006/relationships/tags" Target="../tags/tag395.xml"/><Relationship Id="rId255" Type="http://schemas.openxmlformats.org/officeDocument/2006/relationships/tags" Target="../tags/tag621.xml"/><Relationship Id="rId276" Type="http://schemas.openxmlformats.org/officeDocument/2006/relationships/tags" Target="../tags/tag642.xml"/><Relationship Id="rId297" Type="http://schemas.openxmlformats.org/officeDocument/2006/relationships/tags" Target="../tags/tag663.xml"/><Relationship Id="rId40" Type="http://schemas.openxmlformats.org/officeDocument/2006/relationships/tags" Target="../tags/tag406.xml"/><Relationship Id="rId115" Type="http://schemas.openxmlformats.org/officeDocument/2006/relationships/tags" Target="../tags/tag481.xml"/><Relationship Id="rId136" Type="http://schemas.openxmlformats.org/officeDocument/2006/relationships/tags" Target="../tags/tag502.xml"/><Relationship Id="rId157" Type="http://schemas.openxmlformats.org/officeDocument/2006/relationships/tags" Target="../tags/tag523.xml"/><Relationship Id="rId178" Type="http://schemas.openxmlformats.org/officeDocument/2006/relationships/tags" Target="../tags/tag544.xml"/><Relationship Id="rId301" Type="http://schemas.openxmlformats.org/officeDocument/2006/relationships/tags" Target="../tags/tag667.xml"/><Relationship Id="rId322" Type="http://schemas.openxmlformats.org/officeDocument/2006/relationships/tags" Target="../tags/tag688.xml"/><Relationship Id="rId61" Type="http://schemas.openxmlformats.org/officeDocument/2006/relationships/tags" Target="../tags/tag427.xml"/><Relationship Id="rId82" Type="http://schemas.openxmlformats.org/officeDocument/2006/relationships/tags" Target="../tags/tag448.xml"/><Relationship Id="rId199" Type="http://schemas.openxmlformats.org/officeDocument/2006/relationships/tags" Target="../tags/tag565.xml"/><Relationship Id="rId203" Type="http://schemas.openxmlformats.org/officeDocument/2006/relationships/tags" Target="../tags/tag569.xml"/><Relationship Id="rId19" Type="http://schemas.openxmlformats.org/officeDocument/2006/relationships/tags" Target="../tags/tag385.xml"/><Relationship Id="rId224" Type="http://schemas.openxmlformats.org/officeDocument/2006/relationships/tags" Target="../tags/tag590.xml"/><Relationship Id="rId245" Type="http://schemas.openxmlformats.org/officeDocument/2006/relationships/tags" Target="../tags/tag611.xml"/><Relationship Id="rId266" Type="http://schemas.openxmlformats.org/officeDocument/2006/relationships/tags" Target="../tags/tag632.xml"/><Relationship Id="rId287" Type="http://schemas.openxmlformats.org/officeDocument/2006/relationships/tags" Target="../tags/tag653.xml"/><Relationship Id="rId30" Type="http://schemas.openxmlformats.org/officeDocument/2006/relationships/tags" Target="../tags/tag396.xml"/><Relationship Id="rId105" Type="http://schemas.openxmlformats.org/officeDocument/2006/relationships/tags" Target="../tags/tag471.xml"/><Relationship Id="rId126" Type="http://schemas.openxmlformats.org/officeDocument/2006/relationships/tags" Target="../tags/tag492.xml"/><Relationship Id="rId147" Type="http://schemas.openxmlformats.org/officeDocument/2006/relationships/tags" Target="../tags/tag513.xml"/><Relationship Id="rId168" Type="http://schemas.openxmlformats.org/officeDocument/2006/relationships/tags" Target="../tags/tag534.xml"/><Relationship Id="rId312" Type="http://schemas.openxmlformats.org/officeDocument/2006/relationships/tags" Target="../tags/tag678.xml"/><Relationship Id="rId51" Type="http://schemas.openxmlformats.org/officeDocument/2006/relationships/tags" Target="../tags/tag417.xml"/><Relationship Id="rId72" Type="http://schemas.openxmlformats.org/officeDocument/2006/relationships/tags" Target="../tags/tag438.xml"/><Relationship Id="rId93" Type="http://schemas.openxmlformats.org/officeDocument/2006/relationships/tags" Target="../tags/tag459.xml"/><Relationship Id="rId189" Type="http://schemas.openxmlformats.org/officeDocument/2006/relationships/tags" Target="../tags/tag555.xml"/><Relationship Id="rId3" Type="http://schemas.openxmlformats.org/officeDocument/2006/relationships/tags" Target="../tags/tag369.xml"/><Relationship Id="rId214" Type="http://schemas.openxmlformats.org/officeDocument/2006/relationships/tags" Target="../tags/tag580.xml"/><Relationship Id="rId235" Type="http://schemas.openxmlformats.org/officeDocument/2006/relationships/tags" Target="../tags/tag601.xml"/><Relationship Id="rId256" Type="http://schemas.openxmlformats.org/officeDocument/2006/relationships/tags" Target="../tags/tag622.xml"/><Relationship Id="rId277" Type="http://schemas.openxmlformats.org/officeDocument/2006/relationships/tags" Target="../tags/tag643.xml"/><Relationship Id="rId298" Type="http://schemas.openxmlformats.org/officeDocument/2006/relationships/tags" Target="../tags/tag664.xml"/><Relationship Id="rId116" Type="http://schemas.openxmlformats.org/officeDocument/2006/relationships/tags" Target="../tags/tag482.xml"/><Relationship Id="rId137" Type="http://schemas.openxmlformats.org/officeDocument/2006/relationships/tags" Target="../tags/tag503.xml"/><Relationship Id="rId158" Type="http://schemas.openxmlformats.org/officeDocument/2006/relationships/tags" Target="../tags/tag524.xml"/><Relationship Id="rId302" Type="http://schemas.openxmlformats.org/officeDocument/2006/relationships/tags" Target="../tags/tag668.xml"/><Relationship Id="rId323" Type="http://schemas.openxmlformats.org/officeDocument/2006/relationships/tags" Target="../tags/tag689.xml"/><Relationship Id="rId20" Type="http://schemas.openxmlformats.org/officeDocument/2006/relationships/tags" Target="../tags/tag386.xml"/><Relationship Id="rId41" Type="http://schemas.openxmlformats.org/officeDocument/2006/relationships/tags" Target="../tags/tag407.xml"/><Relationship Id="rId62" Type="http://schemas.openxmlformats.org/officeDocument/2006/relationships/tags" Target="../tags/tag428.xml"/><Relationship Id="rId83" Type="http://schemas.openxmlformats.org/officeDocument/2006/relationships/tags" Target="../tags/tag449.xml"/><Relationship Id="rId179" Type="http://schemas.openxmlformats.org/officeDocument/2006/relationships/tags" Target="../tags/tag545.xml"/><Relationship Id="rId190" Type="http://schemas.openxmlformats.org/officeDocument/2006/relationships/tags" Target="../tags/tag556.xml"/><Relationship Id="rId204" Type="http://schemas.openxmlformats.org/officeDocument/2006/relationships/tags" Target="../tags/tag570.xml"/><Relationship Id="rId225" Type="http://schemas.openxmlformats.org/officeDocument/2006/relationships/tags" Target="../tags/tag591.xml"/><Relationship Id="rId246" Type="http://schemas.openxmlformats.org/officeDocument/2006/relationships/tags" Target="../tags/tag612.xml"/><Relationship Id="rId267" Type="http://schemas.openxmlformats.org/officeDocument/2006/relationships/tags" Target="../tags/tag633.xml"/><Relationship Id="rId288" Type="http://schemas.openxmlformats.org/officeDocument/2006/relationships/tags" Target="../tags/tag654.xml"/><Relationship Id="rId106" Type="http://schemas.openxmlformats.org/officeDocument/2006/relationships/tags" Target="../tags/tag472.xml"/><Relationship Id="rId127" Type="http://schemas.openxmlformats.org/officeDocument/2006/relationships/tags" Target="../tags/tag493.xml"/><Relationship Id="rId313" Type="http://schemas.openxmlformats.org/officeDocument/2006/relationships/tags" Target="../tags/tag679.xml"/><Relationship Id="rId10" Type="http://schemas.openxmlformats.org/officeDocument/2006/relationships/tags" Target="../tags/tag376.xml"/><Relationship Id="rId31" Type="http://schemas.openxmlformats.org/officeDocument/2006/relationships/tags" Target="../tags/tag397.xml"/><Relationship Id="rId52" Type="http://schemas.openxmlformats.org/officeDocument/2006/relationships/tags" Target="../tags/tag418.xml"/><Relationship Id="rId73" Type="http://schemas.openxmlformats.org/officeDocument/2006/relationships/tags" Target="../tags/tag439.xml"/><Relationship Id="rId94" Type="http://schemas.openxmlformats.org/officeDocument/2006/relationships/tags" Target="../tags/tag460.xml"/><Relationship Id="rId148" Type="http://schemas.openxmlformats.org/officeDocument/2006/relationships/tags" Target="../tags/tag514.xml"/><Relationship Id="rId169" Type="http://schemas.openxmlformats.org/officeDocument/2006/relationships/tags" Target="../tags/tag535.xml"/><Relationship Id="rId4" Type="http://schemas.openxmlformats.org/officeDocument/2006/relationships/tags" Target="../tags/tag370.xml"/><Relationship Id="rId180" Type="http://schemas.openxmlformats.org/officeDocument/2006/relationships/tags" Target="../tags/tag546.xml"/><Relationship Id="rId215" Type="http://schemas.openxmlformats.org/officeDocument/2006/relationships/tags" Target="../tags/tag581.xml"/><Relationship Id="rId236" Type="http://schemas.openxmlformats.org/officeDocument/2006/relationships/tags" Target="../tags/tag602.xml"/><Relationship Id="rId257" Type="http://schemas.openxmlformats.org/officeDocument/2006/relationships/tags" Target="../tags/tag623.xml"/><Relationship Id="rId278" Type="http://schemas.openxmlformats.org/officeDocument/2006/relationships/tags" Target="../tags/tag644.xml"/><Relationship Id="rId303" Type="http://schemas.openxmlformats.org/officeDocument/2006/relationships/tags" Target="../tags/tag669.xml"/><Relationship Id="rId42" Type="http://schemas.openxmlformats.org/officeDocument/2006/relationships/tags" Target="../tags/tag408.xml"/><Relationship Id="rId84" Type="http://schemas.openxmlformats.org/officeDocument/2006/relationships/tags" Target="../tags/tag450.xml"/><Relationship Id="rId138" Type="http://schemas.openxmlformats.org/officeDocument/2006/relationships/tags" Target="../tags/tag504.xml"/><Relationship Id="rId191" Type="http://schemas.openxmlformats.org/officeDocument/2006/relationships/tags" Target="../tags/tag557.xml"/><Relationship Id="rId205" Type="http://schemas.openxmlformats.org/officeDocument/2006/relationships/tags" Target="../tags/tag571.xml"/><Relationship Id="rId247" Type="http://schemas.openxmlformats.org/officeDocument/2006/relationships/tags" Target="../tags/tag613.xml"/><Relationship Id="rId107" Type="http://schemas.openxmlformats.org/officeDocument/2006/relationships/tags" Target="../tags/tag473.xml"/><Relationship Id="rId289" Type="http://schemas.openxmlformats.org/officeDocument/2006/relationships/tags" Target="../tags/tag655.xml"/><Relationship Id="rId11" Type="http://schemas.openxmlformats.org/officeDocument/2006/relationships/tags" Target="../tags/tag377.xml"/><Relationship Id="rId53" Type="http://schemas.openxmlformats.org/officeDocument/2006/relationships/tags" Target="../tags/tag419.xml"/><Relationship Id="rId149" Type="http://schemas.openxmlformats.org/officeDocument/2006/relationships/tags" Target="../tags/tag515.xml"/><Relationship Id="rId314" Type="http://schemas.openxmlformats.org/officeDocument/2006/relationships/tags" Target="../tags/tag680.xml"/><Relationship Id="rId95" Type="http://schemas.openxmlformats.org/officeDocument/2006/relationships/tags" Target="../tags/tag461.xml"/><Relationship Id="rId160" Type="http://schemas.openxmlformats.org/officeDocument/2006/relationships/tags" Target="../tags/tag526.xml"/><Relationship Id="rId216" Type="http://schemas.openxmlformats.org/officeDocument/2006/relationships/tags" Target="../tags/tag582.xml"/><Relationship Id="rId258" Type="http://schemas.openxmlformats.org/officeDocument/2006/relationships/tags" Target="../tags/tag624.xml"/><Relationship Id="rId22" Type="http://schemas.openxmlformats.org/officeDocument/2006/relationships/tags" Target="../tags/tag388.xml"/><Relationship Id="rId64" Type="http://schemas.openxmlformats.org/officeDocument/2006/relationships/tags" Target="../tags/tag430.xml"/><Relationship Id="rId118" Type="http://schemas.openxmlformats.org/officeDocument/2006/relationships/tags" Target="../tags/tag484.xml"/><Relationship Id="rId325" Type="http://schemas.openxmlformats.org/officeDocument/2006/relationships/tags" Target="../tags/tag691.xml"/><Relationship Id="rId171" Type="http://schemas.openxmlformats.org/officeDocument/2006/relationships/tags" Target="../tags/tag537.xml"/><Relationship Id="rId227" Type="http://schemas.openxmlformats.org/officeDocument/2006/relationships/tags" Target="../tags/tag593.xml"/><Relationship Id="rId269" Type="http://schemas.openxmlformats.org/officeDocument/2006/relationships/tags" Target="../tags/tag635.xml"/><Relationship Id="rId33" Type="http://schemas.openxmlformats.org/officeDocument/2006/relationships/tags" Target="../tags/tag399.xml"/><Relationship Id="rId129" Type="http://schemas.openxmlformats.org/officeDocument/2006/relationships/tags" Target="../tags/tag495.xml"/><Relationship Id="rId280" Type="http://schemas.openxmlformats.org/officeDocument/2006/relationships/tags" Target="../tags/tag646.xml"/><Relationship Id="rId75" Type="http://schemas.openxmlformats.org/officeDocument/2006/relationships/tags" Target="../tags/tag441.xml"/><Relationship Id="rId140" Type="http://schemas.openxmlformats.org/officeDocument/2006/relationships/tags" Target="../tags/tag506.xml"/><Relationship Id="rId182" Type="http://schemas.openxmlformats.org/officeDocument/2006/relationships/tags" Target="../tags/tag548.xml"/><Relationship Id="rId6" Type="http://schemas.openxmlformats.org/officeDocument/2006/relationships/tags" Target="../tags/tag372.xml"/><Relationship Id="rId238" Type="http://schemas.openxmlformats.org/officeDocument/2006/relationships/tags" Target="../tags/tag604.xml"/><Relationship Id="rId291" Type="http://schemas.openxmlformats.org/officeDocument/2006/relationships/tags" Target="../tags/tag657.xml"/><Relationship Id="rId305" Type="http://schemas.openxmlformats.org/officeDocument/2006/relationships/tags" Target="../tags/tag671.xml"/><Relationship Id="rId44" Type="http://schemas.openxmlformats.org/officeDocument/2006/relationships/tags" Target="../tags/tag410.xml"/><Relationship Id="rId86" Type="http://schemas.openxmlformats.org/officeDocument/2006/relationships/tags" Target="../tags/tag452.xml"/><Relationship Id="rId151" Type="http://schemas.openxmlformats.org/officeDocument/2006/relationships/tags" Target="../tags/tag517.xml"/><Relationship Id="rId193" Type="http://schemas.openxmlformats.org/officeDocument/2006/relationships/tags" Target="../tags/tag559.xml"/><Relationship Id="rId207" Type="http://schemas.openxmlformats.org/officeDocument/2006/relationships/tags" Target="../tags/tag573.xml"/><Relationship Id="rId249" Type="http://schemas.openxmlformats.org/officeDocument/2006/relationships/tags" Target="../tags/tag615.xml"/><Relationship Id="rId13" Type="http://schemas.openxmlformats.org/officeDocument/2006/relationships/tags" Target="../tags/tag379.xml"/><Relationship Id="rId109" Type="http://schemas.openxmlformats.org/officeDocument/2006/relationships/tags" Target="../tags/tag475.xml"/><Relationship Id="rId260" Type="http://schemas.openxmlformats.org/officeDocument/2006/relationships/tags" Target="../tags/tag626.xml"/><Relationship Id="rId316" Type="http://schemas.openxmlformats.org/officeDocument/2006/relationships/tags" Target="../tags/tag682.xml"/><Relationship Id="rId55" Type="http://schemas.openxmlformats.org/officeDocument/2006/relationships/tags" Target="../tags/tag421.xml"/><Relationship Id="rId97" Type="http://schemas.openxmlformats.org/officeDocument/2006/relationships/tags" Target="../tags/tag463.xml"/><Relationship Id="rId120" Type="http://schemas.openxmlformats.org/officeDocument/2006/relationships/tags" Target="../tags/tag486.xml"/><Relationship Id="rId162" Type="http://schemas.openxmlformats.org/officeDocument/2006/relationships/tags" Target="../tags/tag528.xml"/><Relationship Id="rId218" Type="http://schemas.openxmlformats.org/officeDocument/2006/relationships/tags" Target="../tags/tag584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4.xml"/><Relationship Id="rId7" Type="http://schemas.openxmlformats.org/officeDocument/2006/relationships/chart" Target="../charts/chart68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67.xml"/><Relationship Id="rId5" Type="http://schemas.openxmlformats.org/officeDocument/2006/relationships/chart" Target="../charts/chart66.xml"/><Relationship Id="rId4" Type="http://schemas.openxmlformats.org/officeDocument/2006/relationships/chart" Target="../charts/chart6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9.xm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7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1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2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3.xm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74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5.xm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BB6F0C1-8299-4F96-9B66-63F1A009691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2042" y="3966588"/>
            <a:ext cx="4322099" cy="218393"/>
          </a:xfrm>
        </p:spPr>
        <p:txBody>
          <a:bodyPr/>
          <a:lstStyle/>
          <a:p>
            <a:r>
              <a:rPr lang="en-US"/>
              <a:t>6</a:t>
            </a:r>
            <a:r>
              <a:rPr lang="en-US" baseline="30000"/>
              <a:t>th</a:t>
            </a:r>
            <a:r>
              <a:rPr lang="en-US"/>
              <a:t> Edition, June 2021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F400495-3A98-4919-8E93-2D8109F125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2536580"/>
            <a:ext cx="4322098" cy="997196"/>
          </a:xfrm>
        </p:spPr>
        <p:txBody>
          <a:bodyPr/>
          <a:lstStyle/>
          <a:p>
            <a:r>
              <a:rPr lang="en-US">
                <a:ea typeface="+mj-lt"/>
                <a:cs typeface="+mj-lt"/>
              </a:rPr>
              <a:t>Civility, Safety &amp;</a:t>
            </a:r>
            <a:br>
              <a:rPr lang="en-US">
                <a:ea typeface="+mj-lt"/>
                <a:cs typeface="+mj-lt"/>
              </a:rPr>
            </a:br>
            <a:r>
              <a:rPr lang="en-US">
                <a:ea typeface="+mj-lt"/>
                <a:cs typeface="+mj-lt"/>
              </a:rPr>
              <a:t>Interaction On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283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0B008-0D5C-4FBB-89A4-AB1C0BDB1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338554"/>
          </a:xfrm>
        </p:spPr>
        <p:txBody>
          <a:bodyPr/>
          <a:lstStyle/>
          <a:p>
            <a:r>
              <a:rPr lang="en-US"/>
              <a:t>Confidence with managing risks bounced off all-time lows</a:t>
            </a:r>
          </a:p>
        </p:txBody>
      </p:sp>
      <p:graphicFrame>
        <p:nvGraphicFramePr>
          <p:cNvPr id="13" name="Content Placeholder 6">
            <a:extLst>
              <a:ext uri="{FF2B5EF4-FFF2-40B4-BE49-F238E27FC236}">
                <a16:creationId xmlns:a16="http://schemas.microsoft.com/office/drawing/2014/main" id="{65492545-A0E9-48E3-A562-62BF76D0B9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9832505"/>
              </p:ext>
            </p:extLst>
          </p:nvPr>
        </p:nvGraphicFramePr>
        <p:xfrm>
          <a:off x="630534" y="1538524"/>
          <a:ext cx="348386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6C2EEE69-3430-4CAE-BD0B-BC767076C079}"/>
              </a:ext>
            </a:extLst>
          </p:cNvPr>
          <p:cNvGraphicFramePr>
            <a:graphicFrameLocks/>
          </p:cNvGraphicFramePr>
          <p:nvPr/>
        </p:nvGraphicFramePr>
        <p:xfrm>
          <a:off x="4446257" y="1538524"/>
          <a:ext cx="348386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2B34200C-FF78-4103-8686-C862778C071D}"/>
              </a:ext>
            </a:extLst>
          </p:cNvPr>
          <p:cNvGraphicFramePr>
            <a:graphicFrameLocks/>
          </p:cNvGraphicFramePr>
          <p:nvPr/>
        </p:nvGraphicFramePr>
        <p:xfrm>
          <a:off x="8246424" y="1538524"/>
          <a:ext cx="348386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F3B83695-3898-44EA-9567-202CF1C0C762}"/>
              </a:ext>
            </a:extLst>
          </p:cNvPr>
          <p:cNvSpPr txBox="1"/>
          <p:nvPr/>
        </p:nvSpPr>
        <p:spPr>
          <a:xfrm>
            <a:off x="660822" y="6319112"/>
            <a:ext cx="5151090" cy="664797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r>
              <a:rPr lang="en-US" sz="800">
                <a:cs typeface="Arial" panose="020B0604020202020204" pitchFamily="34" charset="0"/>
              </a:rPr>
              <a:t>Q.10:  How confident are you in your personal ability to manage online risks or uncivil behavior online?</a:t>
            </a:r>
          </a:p>
          <a:p>
            <a:r>
              <a:rPr lang="en-US" sz="800">
                <a:cs typeface="Arial" panose="020B0604020202020204" pitchFamily="34" charset="0"/>
              </a:rPr>
              <a:t>Q.11:  If you need help, do you know where to get help to manage online risks or uncivil behavior online?</a:t>
            </a:r>
          </a:p>
          <a:p>
            <a:r>
              <a:rPr lang="en-US" sz="800">
                <a:cs typeface="Arial" panose="020B0604020202020204" pitchFamily="34" charset="0"/>
              </a:rPr>
              <a:t>Q.11A:  How difficult was it to get help when you were treated in an unsafe or uncivil manner online?</a:t>
            </a:r>
          </a:p>
        </p:txBody>
      </p:sp>
    </p:spTree>
    <p:extLst>
      <p:ext uri="{BB962C8B-B14F-4D97-AF65-F5344CB8AC3E}">
        <p14:creationId xmlns:p14="http://schemas.microsoft.com/office/powerpoint/2010/main" val="171265013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EEBB4F-458E-4C58-8DED-3385063953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2327702"/>
            <a:ext cx="4171950" cy="914096"/>
          </a:xfrm>
        </p:spPr>
        <p:txBody>
          <a:bodyPr/>
          <a:lstStyle/>
          <a:p>
            <a:r>
              <a:rPr lang="en-US" sz="2200">
                <a:solidFill>
                  <a:schemeClr val="bg1"/>
                </a:solidFill>
              </a:rPr>
              <a:t>Perceptions about online civility during Covid were less positive</a:t>
            </a:r>
            <a:br>
              <a:rPr lang="en-US" sz="2200">
                <a:solidFill>
                  <a:schemeClr val="bg1"/>
                </a:solidFill>
              </a:rPr>
            </a:br>
            <a:r>
              <a:rPr lang="en-US" sz="2200"/>
              <a:t>in 2021</a:t>
            </a:r>
          </a:p>
        </p:txBody>
      </p:sp>
    </p:spTree>
    <p:extLst>
      <p:ext uri="{BB962C8B-B14F-4D97-AF65-F5344CB8AC3E}">
        <p14:creationId xmlns:p14="http://schemas.microsoft.com/office/powerpoint/2010/main" val="908982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A1540A-073A-42E0-872C-07AE7B1A6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677108"/>
          </a:xfrm>
        </p:spPr>
        <p:txBody>
          <a:bodyPr/>
          <a:lstStyle/>
          <a:p>
            <a:r>
              <a:rPr lang="en-US"/>
              <a:t>While personal exposure to risks declined (DCI), perceptions about the overall state of online civility worsened 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56FF3E6C-4F1E-408F-8A6B-C2D4D12D3E3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55477144"/>
              </p:ext>
            </p:extLst>
          </p:nvPr>
        </p:nvGraphicFramePr>
        <p:xfrm>
          <a:off x="292608" y="1450975"/>
          <a:ext cx="5102352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32" name="Group 31">
            <a:extLst>
              <a:ext uri="{FF2B5EF4-FFF2-40B4-BE49-F238E27FC236}">
                <a16:creationId xmlns:a16="http://schemas.microsoft.com/office/drawing/2014/main" id="{BD9643ED-85E7-4F01-9220-858B16A486C0}"/>
              </a:ext>
            </a:extLst>
          </p:cNvPr>
          <p:cNvGrpSpPr/>
          <p:nvPr/>
        </p:nvGrpSpPr>
        <p:grpSpPr>
          <a:xfrm>
            <a:off x="2526890" y="2388599"/>
            <a:ext cx="1091381" cy="764176"/>
            <a:chOff x="2343422" y="2388599"/>
            <a:chExt cx="1507399" cy="764176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6411789-5D77-44BB-810D-B44ED18C3033}"/>
                </a:ext>
              </a:extLst>
            </p:cNvPr>
            <p:cNvCxnSpPr>
              <a:cxnSpLocks/>
            </p:cNvCxnSpPr>
            <p:nvPr/>
          </p:nvCxnSpPr>
          <p:spPr>
            <a:xfrm>
              <a:off x="2343422" y="3019425"/>
              <a:ext cx="1497874" cy="13335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48B6DDD-6F4F-4686-A40D-D0B2FC54B8C2}"/>
                </a:ext>
              </a:extLst>
            </p:cNvPr>
            <p:cNvCxnSpPr/>
            <p:nvPr/>
          </p:nvCxnSpPr>
          <p:spPr>
            <a:xfrm>
              <a:off x="2352947" y="2388599"/>
              <a:ext cx="1497874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EDAFA64B-BC5E-4248-94D4-14E8B63FE608}"/>
              </a:ext>
            </a:extLst>
          </p:cNvPr>
          <p:cNvSpPr txBox="1"/>
          <p:nvPr/>
        </p:nvSpPr>
        <p:spPr>
          <a:xfrm>
            <a:off x="660822" y="6496907"/>
            <a:ext cx="3786934" cy="418576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r>
              <a:rPr lang="en-US" sz="800"/>
              <a:t>Q.1:  How would you rate the overall state of online civility in your country?</a:t>
            </a:r>
          </a:p>
        </p:txBody>
      </p:sp>
      <p:graphicFrame>
        <p:nvGraphicFramePr>
          <p:cNvPr id="37" name="Content Placeholder 36">
            <a:extLst>
              <a:ext uri="{FF2B5EF4-FFF2-40B4-BE49-F238E27FC236}">
                <a16:creationId xmlns:a16="http://schemas.microsoft.com/office/drawing/2014/main" id="{38048D82-983B-4883-A739-88112A3A0E18}"/>
              </a:ext>
            </a:extLst>
          </p:cNvPr>
          <p:cNvGraphicFramePr>
            <a:graphicFrameLocks noGrp="1"/>
          </p:cNvGraphicFramePr>
          <p:nvPr>
            <p:ph idx="10"/>
            <p:extLst>
              <p:ext uri="{D42A27DB-BD31-4B8C-83A1-F6EECF244321}">
                <p14:modId xmlns:p14="http://schemas.microsoft.com/office/powerpoint/2010/main" val="3441480113"/>
              </p:ext>
            </p:extLst>
          </p:nvPr>
        </p:nvGraphicFramePr>
        <p:xfrm>
          <a:off x="5667117" y="1453896"/>
          <a:ext cx="612648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60568831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A1540A-073A-42E0-872C-07AE7B1A6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338554"/>
          </a:xfrm>
        </p:spPr>
        <p:txBody>
          <a:bodyPr/>
          <a:lstStyle/>
          <a:p>
            <a:r>
              <a:rPr lang="en-US"/>
              <a:t>In 2021, only 17% said civility had improved compared to 26% a year ago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56FF3E6C-4F1E-408F-8A6B-C2D4D12D3E3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49970082"/>
              </p:ext>
            </p:extLst>
          </p:nvPr>
        </p:nvGraphicFramePr>
        <p:xfrm>
          <a:off x="290513" y="1450975"/>
          <a:ext cx="5102352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2B8ABCF3-FED7-4E1A-B532-5F54FAA2A4CB}"/>
              </a:ext>
            </a:extLst>
          </p:cNvPr>
          <p:cNvGraphicFramePr>
            <a:graphicFrameLocks noGrp="1"/>
          </p:cNvGraphicFramePr>
          <p:nvPr>
            <p:ph idx="10"/>
            <p:extLst>
              <p:ext uri="{D42A27DB-BD31-4B8C-83A1-F6EECF244321}">
                <p14:modId xmlns:p14="http://schemas.microsoft.com/office/powerpoint/2010/main" val="3285510769"/>
              </p:ext>
            </p:extLst>
          </p:nvPr>
        </p:nvGraphicFramePr>
        <p:xfrm>
          <a:off x="5834267" y="1422399"/>
          <a:ext cx="6126480" cy="49307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94A13A0C-8FAD-479E-A899-47F5CFE05A32}"/>
              </a:ext>
            </a:extLst>
          </p:cNvPr>
          <p:cNvGrpSpPr/>
          <p:nvPr/>
        </p:nvGrpSpPr>
        <p:grpSpPr>
          <a:xfrm>
            <a:off x="2526890" y="4366259"/>
            <a:ext cx="1101213" cy="677690"/>
            <a:chOff x="2638697" y="4366566"/>
            <a:chExt cx="1507399" cy="660458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6411789-5D77-44BB-810D-B44ED18C3033}"/>
                </a:ext>
              </a:extLst>
            </p:cNvPr>
            <p:cNvCxnSpPr>
              <a:cxnSpLocks/>
            </p:cNvCxnSpPr>
            <p:nvPr/>
          </p:nvCxnSpPr>
          <p:spPr>
            <a:xfrm>
              <a:off x="2638697" y="4366566"/>
              <a:ext cx="1497874" cy="22472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48B6DDD-6F4F-4686-A40D-D0B2FC54B8C2}"/>
                </a:ext>
              </a:extLst>
            </p:cNvPr>
            <p:cNvCxnSpPr/>
            <p:nvPr/>
          </p:nvCxnSpPr>
          <p:spPr>
            <a:xfrm>
              <a:off x="2648222" y="5027024"/>
              <a:ext cx="1497874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EDAFA64B-BC5E-4248-94D4-14E8B63FE608}"/>
              </a:ext>
            </a:extLst>
          </p:cNvPr>
          <p:cNvSpPr txBox="1"/>
          <p:nvPr/>
        </p:nvSpPr>
        <p:spPr>
          <a:xfrm>
            <a:off x="660822" y="6458807"/>
            <a:ext cx="8147102" cy="541687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r>
              <a:rPr lang="en-US" sz="800"/>
              <a:t>Q.CV1:  How has the Corona virus (COVID-19) outbreak affected the degree of civility you experience in online interactions? During the outbreak, has civility online been...?</a:t>
            </a:r>
          </a:p>
          <a:p>
            <a:r>
              <a:rPr lang="en-US" sz="800"/>
              <a:t>Q.CV1A / B:  How has civility online been better/worse during the Coronavirus crises?</a:t>
            </a:r>
          </a:p>
        </p:txBody>
      </p:sp>
    </p:spTree>
    <p:extLst>
      <p:ext uri="{BB962C8B-B14F-4D97-AF65-F5344CB8AC3E}">
        <p14:creationId xmlns:p14="http://schemas.microsoft.com/office/powerpoint/2010/main" val="212448744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A1540A-073A-42E0-872C-07AE7B1A64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30% reported civility worsened during the pandemic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56FF3E6C-4F1E-408F-8A6B-C2D4D12D3E3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22902682"/>
              </p:ext>
            </p:extLst>
          </p:nvPr>
        </p:nvGraphicFramePr>
        <p:xfrm>
          <a:off x="292608" y="1450975"/>
          <a:ext cx="5102352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2B8ABCF3-FED7-4E1A-B532-5F54FAA2A4CB}"/>
              </a:ext>
            </a:extLst>
          </p:cNvPr>
          <p:cNvGraphicFramePr>
            <a:graphicFrameLocks noGrp="1"/>
          </p:cNvGraphicFramePr>
          <p:nvPr>
            <p:ph idx="10"/>
            <p:extLst>
              <p:ext uri="{D42A27DB-BD31-4B8C-83A1-F6EECF244321}">
                <p14:modId xmlns:p14="http://schemas.microsoft.com/office/powerpoint/2010/main" val="3893428699"/>
              </p:ext>
            </p:extLst>
          </p:nvPr>
        </p:nvGraphicFramePr>
        <p:xfrm>
          <a:off x="5897880" y="1450974"/>
          <a:ext cx="5367528" cy="49307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26" name="Group 25">
            <a:extLst>
              <a:ext uri="{FF2B5EF4-FFF2-40B4-BE49-F238E27FC236}">
                <a16:creationId xmlns:a16="http://schemas.microsoft.com/office/drawing/2014/main" id="{860B647C-0900-4AA2-A9E5-6D9609E83555}"/>
              </a:ext>
            </a:extLst>
          </p:cNvPr>
          <p:cNvGrpSpPr/>
          <p:nvPr/>
        </p:nvGrpSpPr>
        <p:grpSpPr>
          <a:xfrm>
            <a:off x="2536723" y="2388599"/>
            <a:ext cx="1071716" cy="802241"/>
            <a:chOff x="2629988" y="2379074"/>
            <a:chExt cx="1506583" cy="812073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6411789-5D77-44BB-810D-B44ED18C3033}"/>
                </a:ext>
              </a:extLst>
            </p:cNvPr>
            <p:cNvCxnSpPr>
              <a:cxnSpLocks/>
            </p:cNvCxnSpPr>
            <p:nvPr/>
          </p:nvCxnSpPr>
          <p:spPr>
            <a:xfrm>
              <a:off x="2629988" y="2966427"/>
              <a:ext cx="1497874" cy="22472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48B6DDD-6F4F-4686-A40D-D0B2FC54B8C2}"/>
                </a:ext>
              </a:extLst>
            </p:cNvPr>
            <p:cNvCxnSpPr/>
            <p:nvPr/>
          </p:nvCxnSpPr>
          <p:spPr>
            <a:xfrm>
              <a:off x="2638697" y="2379074"/>
              <a:ext cx="1497874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ACB8796-C8A5-4569-B74E-F036D940093D}"/>
              </a:ext>
            </a:extLst>
          </p:cNvPr>
          <p:cNvGrpSpPr/>
          <p:nvPr/>
        </p:nvGrpSpPr>
        <p:grpSpPr>
          <a:xfrm>
            <a:off x="6916774" y="2234711"/>
            <a:ext cx="1731926" cy="603739"/>
            <a:chOff x="6982773" y="1558164"/>
            <a:chExt cx="1731926" cy="603739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26146A6-34C9-46CF-972D-34B9D0C95122}"/>
                </a:ext>
              </a:extLst>
            </p:cNvPr>
            <p:cNvSpPr txBox="1"/>
            <p:nvPr/>
          </p:nvSpPr>
          <p:spPr>
            <a:xfrm>
              <a:off x="7399697" y="1558164"/>
              <a:ext cx="902491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Covid fatigue</a:t>
              </a:r>
            </a:p>
          </p:txBody>
        </p: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F299C49B-1AD0-4E89-9D55-3DC872F54DF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982773" y="1683834"/>
              <a:ext cx="362918" cy="211369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BBC10301-6D14-4A0E-AEBB-D3285FFCAF7C}"/>
                </a:ext>
              </a:extLst>
            </p:cNvPr>
            <p:cNvCxnSpPr>
              <a:cxnSpLocks/>
            </p:cNvCxnSpPr>
            <p:nvPr/>
          </p:nvCxnSpPr>
          <p:spPr>
            <a:xfrm>
              <a:off x="8277225" y="1775299"/>
              <a:ext cx="437474" cy="386604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EDAFA64B-BC5E-4248-94D4-14E8B63FE608}"/>
              </a:ext>
            </a:extLst>
          </p:cNvPr>
          <p:cNvSpPr txBox="1"/>
          <p:nvPr/>
        </p:nvSpPr>
        <p:spPr>
          <a:xfrm>
            <a:off x="660822" y="6458807"/>
            <a:ext cx="8147102" cy="541687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r>
              <a:rPr lang="en-US" sz="800"/>
              <a:t>Q.CV1:  How has the Corona virus (COVID-19) outbreak affected the degree of civility you experience in online interactions? During the outbreak, has civility online been...?</a:t>
            </a:r>
          </a:p>
          <a:p>
            <a:r>
              <a:rPr lang="en-US" sz="800"/>
              <a:t>Q.CV1B:  How has civility online been worse during the Coronavirus crises?</a:t>
            </a:r>
          </a:p>
        </p:txBody>
      </p:sp>
    </p:spTree>
    <p:extLst>
      <p:ext uri="{BB962C8B-B14F-4D97-AF65-F5344CB8AC3E}">
        <p14:creationId xmlns:p14="http://schemas.microsoft.com/office/powerpoint/2010/main" val="3275009706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9F7D5-0E30-4E5E-B6C6-E8C38D92B5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32845"/>
            <a:ext cx="10430257" cy="338554"/>
          </a:xfrm>
        </p:spPr>
        <p:txBody>
          <a:bodyPr/>
          <a:lstStyle/>
          <a:p>
            <a:r>
              <a:rPr lang="en-US"/>
              <a:t>Private interactions were considered more civil vs. public interactions </a:t>
            </a:r>
            <a:endParaRPr lang="en-US" sz="140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5845357-8B3B-480D-9650-FD88D7BC72E8}"/>
              </a:ext>
            </a:extLst>
          </p:cNvPr>
          <p:cNvSpPr txBox="1"/>
          <p:nvPr/>
        </p:nvSpPr>
        <p:spPr>
          <a:xfrm>
            <a:off x="917563" y="6632660"/>
            <a:ext cx="91996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8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.CV2:  You mentioned you engage in the online activities below. Have discussions and conversations on these platforms become more or less civil since the beginning of the COVID-19 pandemic?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784B13C-46BA-42BF-A8C8-BF6BE639053E}"/>
              </a:ext>
            </a:extLst>
          </p:cNvPr>
          <p:cNvGrpSpPr/>
          <p:nvPr/>
        </p:nvGrpSpPr>
        <p:grpSpPr>
          <a:xfrm>
            <a:off x="1730478" y="1444371"/>
            <a:ext cx="9414202" cy="4352544"/>
            <a:chOff x="194864" y="2053795"/>
            <a:chExt cx="3696957" cy="3755735"/>
          </a:xfrm>
        </p:grpSpPr>
        <p:graphicFrame>
          <p:nvGraphicFramePr>
            <p:cNvPr id="6" name="Chart 5">
              <a:extLst>
                <a:ext uri="{FF2B5EF4-FFF2-40B4-BE49-F238E27FC236}">
                  <a16:creationId xmlns:a16="http://schemas.microsoft.com/office/drawing/2014/main" id="{4CD0F8EB-BC56-440D-8D84-5CD6262EEBE8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63480158"/>
                </p:ext>
              </p:extLst>
            </p:nvPr>
          </p:nvGraphicFramePr>
          <p:xfrm>
            <a:off x="194864" y="2700126"/>
            <a:ext cx="3696957" cy="31094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38128AC-F4C4-41C1-AE73-768A66000A61}"/>
                </a:ext>
              </a:extLst>
            </p:cNvPr>
            <p:cNvSpPr txBox="1"/>
            <p:nvPr/>
          </p:nvSpPr>
          <p:spPr>
            <a:xfrm>
              <a:off x="664909" y="2053795"/>
              <a:ext cx="2460549" cy="4249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rtl="0">
                <a:defRPr sz="1600" b="0" i="0" u="none" strike="noStrike" kern="1200" spc="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1600"/>
                <a:t>During Covid, was civility better or worse on these online platforms</a:t>
              </a:r>
              <a:endParaRPr lang="en-US" sz="1600" b="0" i="0" u="none" strike="noStrike" baseline="0">
                <a:effectLst/>
              </a:endParaRPr>
            </a:p>
            <a:p>
              <a:pPr algn="l" rtl="0">
                <a:defRPr sz="1600" b="0" i="0" u="none" strike="noStrike" kern="1200" spc="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1000"/>
                <a:t>Base: used the online platform</a:t>
              </a:r>
            </a:p>
          </p:txBody>
        </p:sp>
      </p:grpSp>
      <p:sp>
        <p:nvSpPr>
          <p:cNvPr id="3" name="Right Brace 2">
            <a:extLst>
              <a:ext uri="{FF2B5EF4-FFF2-40B4-BE49-F238E27FC236}">
                <a16:creationId xmlns:a16="http://schemas.microsoft.com/office/drawing/2014/main" id="{FDA86F99-2D4C-4A76-963C-1A63B7F94565}"/>
              </a:ext>
            </a:extLst>
          </p:cNvPr>
          <p:cNvSpPr/>
          <p:nvPr/>
        </p:nvSpPr>
        <p:spPr>
          <a:xfrm rot="16200000">
            <a:off x="3833225" y="1003182"/>
            <a:ext cx="215443" cy="2894262"/>
          </a:xfrm>
          <a:prstGeom prst="rightBrac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AD322D-1BA9-4050-8F10-C103EAE2AD2D}"/>
              </a:ext>
            </a:extLst>
          </p:cNvPr>
          <p:cNvSpPr txBox="1"/>
          <p:nvPr/>
        </p:nvSpPr>
        <p:spPr>
          <a:xfrm>
            <a:off x="3652048" y="2040601"/>
            <a:ext cx="59362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rivat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C1F743-E82B-460E-BAC6-EFCABB6C9211}"/>
              </a:ext>
            </a:extLst>
          </p:cNvPr>
          <p:cNvSpPr txBox="1"/>
          <p:nvPr/>
        </p:nvSpPr>
        <p:spPr>
          <a:xfrm>
            <a:off x="7787147" y="2040601"/>
            <a:ext cx="9031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ublic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D10BDF5-2327-4C66-9197-21DAB20C359F}"/>
              </a:ext>
            </a:extLst>
          </p:cNvPr>
          <p:cNvGrpSpPr/>
          <p:nvPr/>
        </p:nvGrpSpPr>
        <p:grpSpPr>
          <a:xfrm>
            <a:off x="2375720" y="2702558"/>
            <a:ext cx="7197748" cy="215444"/>
            <a:chOff x="1953040" y="5819931"/>
            <a:chExt cx="7197748" cy="215444"/>
          </a:xfrm>
          <a:solidFill>
            <a:schemeClr val="bg1"/>
          </a:solidFill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642C8DD-9B8C-4DF8-A7F1-A9A29FAB2F1E}"/>
                </a:ext>
              </a:extLst>
            </p:cNvPr>
            <p:cNvSpPr txBox="1"/>
            <p:nvPr/>
          </p:nvSpPr>
          <p:spPr>
            <a:xfrm>
              <a:off x="1953040" y="5819931"/>
              <a:ext cx="315792" cy="215444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+25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AB70A3C-19AB-4DBD-8A54-5D9DF2BFA5DD}"/>
                </a:ext>
              </a:extLst>
            </p:cNvPr>
            <p:cNvSpPr txBox="1"/>
            <p:nvPr/>
          </p:nvSpPr>
          <p:spPr>
            <a:xfrm>
              <a:off x="3308774" y="5819931"/>
              <a:ext cx="315792" cy="215444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+11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F641E8D-4DD6-4802-A7C9-44BBB27658B1}"/>
                </a:ext>
              </a:extLst>
            </p:cNvPr>
            <p:cNvSpPr txBox="1"/>
            <p:nvPr/>
          </p:nvSpPr>
          <p:spPr>
            <a:xfrm>
              <a:off x="4786034" y="5819931"/>
              <a:ext cx="219612" cy="215444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+4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F7D3B84-63CD-48FE-B63C-773525BCCF88}"/>
                </a:ext>
              </a:extLst>
            </p:cNvPr>
            <p:cNvSpPr txBox="1"/>
            <p:nvPr/>
          </p:nvSpPr>
          <p:spPr>
            <a:xfrm>
              <a:off x="6141778" y="5819931"/>
              <a:ext cx="168316" cy="215444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-3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A8BD514-B468-41B6-A89D-068743DBB4DA}"/>
                </a:ext>
              </a:extLst>
            </p:cNvPr>
            <p:cNvSpPr txBox="1"/>
            <p:nvPr/>
          </p:nvSpPr>
          <p:spPr>
            <a:xfrm>
              <a:off x="7487054" y="5819931"/>
              <a:ext cx="264496" cy="215444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-10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2B6244F-164D-435B-8B97-23447EF24D0D}"/>
                </a:ext>
              </a:extLst>
            </p:cNvPr>
            <p:cNvSpPr txBox="1"/>
            <p:nvPr/>
          </p:nvSpPr>
          <p:spPr>
            <a:xfrm>
              <a:off x="8886292" y="5819931"/>
              <a:ext cx="264496" cy="215444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-15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55843C42-7D9F-4D3C-A71C-6939327AC22A}"/>
              </a:ext>
            </a:extLst>
          </p:cNvPr>
          <p:cNvSpPr txBox="1"/>
          <p:nvPr/>
        </p:nvSpPr>
        <p:spPr>
          <a:xfrm>
            <a:off x="685799" y="2599858"/>
            <a:ext cx="146289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ifference between more civil &amp; less civil</a:t>
            </a: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B85D7FF6-E9DA-43CC-AB1C-07282C1B2B3C}"/>
              </a:ext>
            </a:extLst>
          </p:cNvPr>
          <p:cNvSpPr/>
          <p:nvPr/>
        </p:nvSpPr>
        <p:spPr>
          <a:xfrm rot="16200000">
            <a:off x="7938693" y="1003182"/>
            <a:ext cx="215443" cy="2894262"/>
          </a:xfrm>
          <a:prstGeom prst="rightBrac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0844161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42BF72-9E2D-4286-8530-DD477DB225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82% of the countries surveyed reported civility was net worse during Covid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B26A838-CA37-4D90-8304-E96ADE744B15}"/>
              </a:ext>
            </a:extLst>
          </p:cNvPr>
          <p:cNvGrpSpPr/>
          <p:nvPr/>
        </p:nvGrpSpPr>
        <p:grpSpPr>
          <a:xfrm>
            <a:off x="537429" y="1376888"/>
            <a:ext cx="10430257" cy="4965526"/>
            <a:chOff x="1585231" y="1534204"/>
            <a:chExt cx="8934449" cy="4965526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EE93EC6D-BA7F-4B3D-80E0-18103F1E3F75}"/>
                </a:ext>
              </a:extLst>
            </p:cNvPr>
            <p:cNvGrpSpPr/>
            <p:nvPr/>
          </p:nvGrpSpPr>
          <p:grpSpPr>
            <a:xfrm>
              <a:off x="1585231" y="1534204"/>
              <a:ext cx="8934449" cy="4965526"/>
              <a:chOff x="1585231" y="1534204"/>
              <a:chExt cx="8934449" cy="4965526"/>
            </a:xfrm>
          </p:grpSpPr>
          <p:graphicFrame>
            <p:nvGraphicFramePr>
              <p:cNvPr id="8" name="Chart 7">
                <a:extLst>
                  <a:ext uri="{FF2B5EF4-FFF2-40B4-BE49-F238E27FC236}">
                    <a16:creationId xmlns:a16="http://schemas.microsoft.com/office/drawing/2014/main" id="{C04D21B3-65A8-4462-9C0F-37671D171647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640364950"/>
                  </p:ext>
                </p:extLst>
              </p:nvPr>
            </p:nvGraphicFramePr>
            <p:xfrm>
              <a:off x="1585231" y="1534204"/>
              <a:ext cx="8934449" cy="496552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67366D5D-782E-407C-BEA3-4BE71B2D1EB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47315" y="1647212"/>
                <a:ext cx="7790543" cy="4050208"/>
              </a:xfrm>
              <a:prstGeom prst="line">
                <a:avLst/>
              </a:prstGeom>
              <a:ln>
                <a:solidFill>
                  <a:schemeClr val="accent1"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5B63A9-DAD9-4065-A720-6D50B21710E1}"/>
                </a:ext>
              </a:extLst>
            </p:cNvPr>
            <p:cNvSpPr txBox="1"/>
            <p:nvPr/>
          </p:nvSpPr>
          <p:spPr>
            <a:xfrm>
              <a:off x="2491182" y="1666875"/>
              <a:ext cx="1345159" cy="307777"/>
            </a:xfrm>
            <a:prstGeom prst="rect">
              <a:avLst/>
            </a:prstGeom>
            <a:solidFill>
              <a:srgbClr val="0078D4"/>
            </a:solidFill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ivility was worse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6FFE411-1A16-4D5A-B2AC-5498678C47A6}"/>
                </a:ext>
              </a:extLst>
            </p:cNvPr>
            <p:cNvSpPr txBox="1"/>
            <p:nvPr/>
          </p:nvSpPr>
          <p:spPr>
            <a:xfrm>
              <a:off x="8852279" y="5360147"/>
              <a:ext cx="1351585" cy="307777"/>
            </a:xfrm>
            <a:prstGeom prst="rect">
              <a:avLst/>
            </a:prstGeom>
            <a:solidFill>
              <a:srgbClr val="0078D4"/>
            </a:solidFill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Civility was better</a:t>
              </a: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91CE700F-A3F2-4FBE-A9B8-A49A173F3C21}"/>
              </a:ext>
            </a:extLst>
          </p:cNvPr>
          <p:cNvSpPr txBox="1"/>
          <p:nvPr/>
        </p:nvSpPr>
        <p:spPr>
          <a:xfrm>
            <a:off x="4236450" y="5173335"/>
            <a:ext cx="41685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old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= top 10 reported deaths per MM as of May 8, 202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0D9659A-F0A6-4BD5-A96F-576B07AC1FD7}"/>
              </a:ext>
            </a:extLst>
          </p:cNvPr>
          <p:cNvSpPr txBox="1"/>
          <p:nvPr/>
        </p:nvSpPr>
        <p:spPr>
          <a:xfrm>
            <a:off x="660822" y="6488303"/>
            <a:ext cx="8118248" cy="418576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r>
              <a:rPr lang="en-US" sz="800"/>
              <a:t>Q.CV1:  How has the Corona virus (COVID-19) outbreak affected the degree of civility you experience in online interactions? During the outbreak, has civility online been...?</a:t>
            </a:r>
          </a:p>
        </p:txBody>
      </p:sp>
    </p:spTree>
    <p:extLst>
      <p:ext uri="{BB962C8B-B14F-4D97-AF65-F5344CB8AC3E}">
        <p14:creationId xmlns:p14="http://schemas.microsoft.com/office/powerpoint/2010/main" val="4163788626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3AF182-0EF0-4A34-9F33-063D5A948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677108"/>
          </a:xfrm>
        </p:spPr>
        <p:txBody>
          <a:bodyPr/>
          <a:lstStyle/>
          <a:p>
            <a:r>
              <a:rPr lang="en-US"/>
              <a:t>APAC &amp; Latam were more polarized about the changes in online civility during Covid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39DB1978-4012-488C-83C4-7D8FA0A07BAE}"/>
              </a:ext>
            </a:extLst>
          </p:cNvPr>
          <p:cNvGraphicFramePr>
            <a:graphicFrameLocks noGrp="1"/>
          </p:cNvGraphicFramePr>
          <p:nvPr>
            <p:ph idx="10"/>
          </p:nvPr>
        </p:nvGraphicFramePr>
        <p:xfrm>
          <a:off x="1546659" y="1484671"/>
          <a:ext cx="8823377" cy="4651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53CEB89A-F2AB-46B5-82EA-71C8F35A131F}"/>
              </a:ext>
            </a:extLst>
          </p:cNvPr>
          <p:cNvSpPr txBox="1"/>
          <p:nvPr/>
        </p:nvSpPr>
        <p:spPr>
          <a:xfrm>
            <a:off x="660822" y="6488303"/>
            <a:ext cx="8118248" cy="418576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r>
              <a:rPr lang="en-US" sz="800"/>
              <a:t>Q.CV1:  How has the Corona virus (COVID-19) outbreak affected the degree of civility you experience in online interactions? During the outbreak, has civility online been...?</a:t>
            </a:r>
          </a:p>
        </p:txBody>
      </p:sp>
    </p:spTree>
    <p:extLst>
      <p:ext uri="{BB962C8B-B14F-4D97-AF65-F5344CB8AC3E}">
        <p14:creationId xmlns:p14="http://schemas.microsoft.com/office/powerpoint/2010/main" val="615930561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92E32B-1DF1-471D-8642-4703BC301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2023003"/>
            <a:ext cx="4171950" cy="1218795"/>
          </a:xfrm>
        </p:spPr>
        <p:txBody>
          <a:bodyPr/>
          <a:lstStyle/>
          <a:p>
            <a:r>
              <a:rPr lang="en-US" sz="2200">
                <a:ea typeface="Calibri" panose="020F0502020204030204" pitchFamily="34" charset="0"/>
                <a:cs typeface="Times New Roman" panose="02020603050405020304" pitchFamily="18" charset="0"/>
              </a:rPr>
              <a:t>Nearly</a:t>
            </a:r>
            <a:r>
              <a:rPr lang="en-US" sz="22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nine out of ten respondents said education is critical to making the Internet a safer place</a:t>
            </a:r>
            <a:endParaRPr lang="en-US" sz="2200"/>
          </a:p>
        </p:txBody>
      </p:sp>
    </p:spTree>
    <p:extLst>
      <p:ext uri="{BB962C8B-B14F-4D97-AF65-F5344CB8AC3E}">
        <p14:creationId xmlns:p14="http://schemas.microsoft.com/office/powerpoint/2010/main" val="3534219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Oval 26">
            <a:extLst>
              <a:ext uri="{FF2B5EF4-FFF2-40B4-BE49-F238E27FC236}">
                <a16:creationId xmlns:a16="http://schemas.microsoft.com/office/drawing/2014/main" id="{C6104E42-F1D5-4107-B540-2F9BEA492309}"/>
              </a:ext>
            </a:extLst>
          </p:cNvPr>
          <p:cNvSpPr/>
          <p:nvPr/>
        </p:nvSpPr>
        <p:spPr bwMode="auto">
          <a:xfrm>
            <a:off x="777104" y="1431234"/>
            <a:ext cx="3237099" cy="2173474"/>
          </a:xfrm>
          <a:prstGeom prst="ellipse">
            <a:avLst/>
          </a:prstGeom>
          <a:solidFill>
            <a:schemeClr val="accent1">
              <a:alpha val="1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E81A2A-22D0-45F3-B8B3-C0C8A6AA30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1168"/>
            <a:ext cx="10430257" cy="707886"/>
          </a:xfrm>
        </p:spPr>
        <p:txBody>
          <a:bodyPr/>
          <a:lstStyle/>
          <a:p>
            <a:r>
              <a:rPr lang="en-US"/>
              <a:t>Attitudes towards online civility</a:t>
            </a:r>
            <a:br>
              <a:rPr lang="en-US"/>
            </a:br>
            <a:r>
              <a:rPr lang="en-US" sz="1400"/>
              <a:t>% strongly or somewhat agree</a:t>
            </a:r>
            <a:br>
              <a:rPr lang="en-US" sz="1400"/>
            </a:br>
            <a:r>
              <a:rPr lang="en-US" sz="1000">
                <a:latin typeface="+mn-lt"/>
              </a:rPr>
              <a:t>Base: total, n=11,067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AA18CFAF-9761-42CB-83C4-D693EA426589}"/>
              </a:ext>
            </a:extLst>
          </p:cNvPr>
          <p:cNvSpPr/>
          <p:nvPr/>
        </p:nvSpPr>
        <p:spPr bwMode="auto">
          <a:xfrm>
            <a:off x="608030" y="4016881"/>
            <a:ext cx="5305425" cy="2238375"/>
          </a:xfrm>
          <a:prstGeom prst="ellipse">
            <a:avLst/>
          </a:prstGeom>
          <a:solidFill>
            <a:schemeClr val="accent1">
              <a:alpha val="3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 descr="Shape&#10;&#10;Description automatically generated with medium confidence">
            <a:extLst>
              <a:ext uri="{FF2B5EF4-FFF2-40B4-BE49-F238E27FC236}">
                <a16:creationId xmlns:a16="http://schemas.microsoft.com/office/drawing/2014/main" id="{B57FB78D-ACBC-4C4C-A1E8-32FDBB162E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5248" y="4029940"/>
            <a:ext cx="1339761" cy="118872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9B186BD-EEF6-4609-8283-099ED53ADBBD}"/>
              </a:ext>
            </a:extLst>
          </p:cNvPr>
          <p:cNvSpPr txBox="1">
            <a:spLocks noChangeAspect="1"/>
          </p:cNvSpPr>
          <p:nvPr/>
        </p:nvSpPr>
        <p:spPr>
          <a:xfrm>
            <a:off x="1143296" y="5106003"/>
            <a:ext cx="1645920" cy="415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t"/>
            <a:r>
              <a:rPr lang="en-US" sz="1000" b="0" i="0" u="none" strike="noStrike">
                <a:solidFill>
                  <a:srgbClr val="000000"/>
                </a:solidFill>
                <a:effectLst/>
                <a:latin typeface="+mn-lt"/>
              </a:rPr>
              <a:t>Today, I get less upset than in the past when I encounter someone online who is uncivil to 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49AFD8F-9562-4DC8-BE47-9A3E10CE43B0}"/>
              </a:ext>
            </a:extLst>
          </p:cNvPr>
          <p:cNvSpPr txBox="1"/>
          <p:nvPr/>
        </p:nvSpPr>
        <p:spPr>
          <a:xfrm>
            <a:off x="1612547" y="4491853"/>
            <a:ext cx="801501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3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47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117541E-6D13-4485-9C1E-4C45075C2583}"/>
              </a:ext>
            </a:extLst>
          </p:cNvPr>
          <p:cNvSpPr txBox="1"/>
          <p:nvPr/>
        </p:nvSpPr>
        <p:spPr>
          <a:xfrm>
            <a:off x="3949504" y="4491853"/>
            <a:ext cx="799899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3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38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0B9560E-CA1E-4408-AB91-37EEE9DDB5FE}"/>
              </a:ext>
            </a:extLst>
          </p:cNvPr>
          <p:cNvSpPr txBox="1">
            <a:spLocks noChangeAspect="1"/>
          </p:cNvSpPr>
          <p:nvPr/>
        </p:nvSpPr>
        <p:spPr>
          <a:xfrm>
            <a:off x="3789284" y="5106003"/>
            <a:ext cx="192024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t"/>
            <a:r>
              <a:rPr lang="en-US" sz="1000" b="0" i="0" u="none" strike="noStrike">
                <a:solidFill>
                  <a:srgbClr val="000000"/>
                </a:solidFill>
                <a:effectLst/>
                <a:latin typeface="+mn-lt"/>
              </a:rPr>
              <a:t>I feel like I encounter incivility almost every time I go online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06FC207F-91CF-4659-9278-7473ED876A10}"/>
              </a:ext>
            </a:extLst>
          </p:cNvPr>
          <p:cNvSpPr/>
          <p:nvPr/>
        </p:nvSpPr>
        <p:spPr bwMode="auto">
          <a:xfrm>
            <a:off x="6100630" y="3988306"/>
            <a:ext cx="5305425" cy="2238375"/>
          </a:xfrm>
          <a:prstGeom prst="ellipse">
            <a:avLst/>
          </a:prstGeom>
          <a:solidFill>
            <a:schemeClr val="accent1">
              <a:alpha val="4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3" name="Picture 32" descr="Shape&#10;&#10;Description automatically generated with low confidence">
            <a:extLst>
              <a:ext uri="{FF2B5EF4-FFF2-40B4-BE49-F238E27FC236}">
                <a16:creationId xmlns:a16="http://schemas.microsoft.com/office/drawing/2014/main" id="{6B41B99F-6BBE-4313-994A-53B74224C7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47312" y="4261974"/>
            <a:ext cx="1059735" cy="91440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CA088075-6676-4C9E-B1D3-F02A7D46132A}"/>
              </a:ext>
            </a:extLst>
          </p:cNvPr>
          <p:cNvSpPr txBox="1">
            <a:spLocks noChangeAspect="1"/>
          </p:cNvSpPr>
          <p:nvPr/>
        </p:nvSpPr>
        <p:spPr>
          <a:xfrm>
            <a:off x="6676953" y="5134578"/>
            <a:ext cx="1828800" cy="6839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t"/>
            <a:r>
              <a:rPr lang="en-US" sz="1000" b="0" i="0" u="none" strike="noStrike">
                <a:solidFill>
                  <a:srgbClr val="000000"/>
                </a:solidFill>
                <a:effectLst/>
                <a:latin typeface="+mn-lt"/>
              </a:rPr>
              <a:t>It is okay to send mean responses to others if they have made hurtful comments first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A7FEE19-6CB5-4DEB-B25C-C143F92451A5}"/>
              </a:ext>
            </a:extLst>
          </p:cNvPr>
          <p:cNvSpPr txBox="1"/>
          <p:nvPr/>
        </p:nvSpPr>
        <p:spPr>
          <a:xfrm>
            <a:off x="7266311" y="4491853"/>
            <a:ext cx="737381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3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21%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5B94A3A-E6C7-4957-9F80-429FD105185A}"/>
              </a:ext>
            </a:extLst>
          </p:cNvPr>
          <p:cNvSpPr txBox="1"/>
          <p:nvPr/>
        </p:nvSpPr>
        <p:spPr>
          <a:xfrm>
            <a:off x="9560590" y="4491853"/>
            <a:ext cx="674865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3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11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F53BDF2-2C83-457E-86A6-1F15D32F50B5}"/>
              </a:ext>
            </a:extLst>
          </p:cNvPr>
          <p:cNvSpPr txBox="1">
            <a:spLocks noChangeAspect="1"/>
          </p:cNvSpPr>
          <p:nvPr/>
        </p:nvSpPr>
        <p:spPr>
          <a:xfrm>
            <a:off x="9322941" y="5134578"/>
            <a:ext cx="192024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t"/>
            <a:r>
              <a:rPr lang="en-US" sz="1000" b="0" i="0" u="none" strike="noStrike">
                <a:solidFill>
                  <a:srgbClr val="000000"/>
                </a:solidFill>
                <a:effectLst/>
                <a:latin typeface="+mn-lt"/>
              </a:rPr>
              <a:t>Teasing others on social media or through messages is fun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F51E0A5-C7DC-43FD-8821-98BD1B22C65D}"/>
              </a:ext>
            </a:extLst>
          </p:cNvPr>
          <p:cNvSpPr/>
          <p:nvPr/>
        </p:nvSpPr>
        <p:spPr bwMode="auto">
          <a:xfrm>
            <a:off x="4233512" y="1260160"/>
            <a:ext cx="7516610" cy="2453880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4EF24A7-2552-4DE6-90EF-44A9C1331841}"/>
              </a:ext>
            </a:extLst>
          </p:cNvPr>
          <p:cNvGrpSpPr/>
          <p:nvPr/>
        </p:nvGrpSpPr>
        <p:grpSpPr>
          <a:xfrm>
            <a:off x="1449141" y="1681574"/>
            <a:ext cx="1929814" cy="1314745"/>
            <a:chOff x="1165243" y="2190086"/>
            <a:chExt cx="1929814" cy="1314745"/>
          </a:xfrm>
        </p:grpSpPr>
        <p:sp>
          <p:nvSpPr>
            <p:cNvPr id="5" name="graduate" title="Icon of a graduation cap">
              <a:extLst>
                <a:ext uri="{FF2B5EF4-FFF2-40B4-BE49-F238E27FC236}">
                  <a16:creationId xmlns:a16="http://schemas.microsoft.com/office/drawing/2014/main" id="{8B93ECB2-9805-46DD-A007-90ACBE23DE3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135681" y="2190086"/>
              <a:ext cx="959376" cy="822960"/>
            </a:xfrm>
            <a:custGeom>
              <a:avLst/>
              <a:gdLst>
                <a:gd name="T0" fmla="*/ 103 w 312"/>
                <a:gd name="T1" fmla="*/ 32 h 268"/>
                <a:gd name="T2" fmla="*/ 165 w 312"/>
                <a:gd name="T3" fmla="*/ 0 h 268"/>
                <a:gd name="T4" fmla="*/ 312 w 312"/>
                <a:gd name="T5" fmla="*/ 74 h 268"/>
                <a:gd name="T6" fmla="*/ 165 w 312"/>
                <a:gd name="T7" fmla="*/ 147 h 268"/>
                <a:gd name="T8" fmla="*/ 21 w 312"/>
                <a:gd name="T9" fmla="*/ 74 h 268"/>
                <a:gd name="T10" fmla="*/ 103 w 312"/>
                <a:gd name="T11" fmla="*/ 32 h 268"/>
                <a:gd name="T12" fmla="*/ 87 w 312"/>
                <a:gd name="T13" fmla="*/ 108 h 268"/>
                <a:gd name="T14" fmla="*/ 69 w 312"/>
                <a:gd name="T15" fmla="*/ 174 h 268"/>
                <a:gd name="T16" fmla="*/ 165 w 312"/>
                <a:gd name="T17" fmla="*/ 224 h 268"/>
                <a:gd name="T18" fmla="*/ 260 w 312"/>
                <a:gd name="T19" fmla="*/ 174 h 268"/>
                <a:gd name="T20" fmla="*/ 243 w 312"/>
                <a:gd name="T21" fmla="*/ 108 h 268"/>
                <a:gd name="T22" fmla="*/ 53 w 312"/>
                <a:gd name="T23" fmla="*/ 268 h 268"/>
                <a:gd name="T24" fmla="*/ 53 w 312"/>
                <a:gd name="T25" fmla="*/ 226 h 268"/>
                <a:gd name="T26" fmla="*/ 26 w 312"/>
                <a:gd name="T27" fmla="*/ 200 h 268"/>
                <a:gd name="T28" fmla="*/ 26 w 312"/>
                <a:gd name="T29" fmla="*/ 200 h 268"/>
                <a:gd name="T30" fmla="*/ 0 w 312"/>
                <a:gd name="T31" fmla="*/ 226 h 268"/>
                <a:gd name="T32" fmla="*/ 0 w 312"/>
                <a:gd name="T33" fmla="*/ 268 h 268"/>
                <a:gd name="T34" fmla="*/ 53 w 312"/>
                <a:gd name="T35" fmla="*/ 268 h 268"/>
                <a:gd name="T36" fmla="*/ 26 w 312"/>
                <a:gd name="T37" fmla="*/ 77 h 268"/>
                <a:gd name="T38" fmla="*/ 26 w 312"/>
                <a:gd name="T39" fmla="*/ 20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12" h="268">
                  <a:moveTo>
                    <a:pt x="103" y="32"/>
                  </a:moveTo>
                  <a:cubicBezTo>
                    <a:pt x="165" y="0"/>
                    <a:pt x="165" y="0"/>
                    <a:pt x="165" y="0"/>
                  </a:cubicBezTo>
                  <a:cubicBezTo>
                    <a:pt x="312" y="74"/>
                    <a:pt x="312" y="74"/>
                    <a:pt x="312" y="74"/>
                  </a:cubicBezTo>
                  <a:cubicBezTo>
                    <a:pt x="165" y="147"/>
                    <a:pt x="165" y="147"/>
                    <a:pt x="165" y="147"/>
                  </a:cubicBezTo>
                  <a:cubicBezTo>
                    <a:pt x="21" y="74"/>
                    <a:pt x="21" y="74"/>
                    <a:pt x="21" y="74"/>
                  </a:cubicBezTo>
                  <a:lnTo>
                    <a:pt x="103" y="32"/>
                  </a:lnTo>
                  <a:close/>
                  <a:moveTo>
                    <a:pt x="87" y="108"/>
                  </a:moveTo>
                  <a:cubicBezTo>
                    <a:pt x="69" y="130"/>
                    <a:pt x="69" y="174"/>
                    <a:pt x="69" y="174"/>
                  </a:cubicBezTo>
                  <a:cubicBezTo>
                    <a:pt x="165" y="224"/>
                    <a:pt x="165" y="224"/>
                    <a:pt x="165" y="224"/>
                  </a:cubicBezTo>
                  <a:cubicBezTo>
                    <a:pt x="260" y="174"/>
                    <a:pt x="260" y="174"/>
                    <a:pt x="260" y="174"/>
                  </a:cubicBezTo>
                  <a:cubicBezTo>
                    <a:pt x="260" y="174"/>
                    <a:pt x="260" y="131"/>
                    <a:pt x="243" y="108"/>
                  </a:cubicBezTo>
                  <a:moveTo>
                    <a:pt x="53" y="268"/>
                  </a:moveTo>
                  <a:cubicBezTo>
                    <a:pt x="53" y="226"/>
                    <a:pt x="53" y="226"/>
                    <a:pt x="53" y="226"/>
                  </a:cubicBezTo>
                  <a:cubicBezTo>
                    <a:pt x="53" y="212"/>
                    <a:pt x="41" y="200"/>
                    <a:pt x="26" y="200"/>
                  </a:cubicBezTo>
                  <a:cubicBezTo>
                    <a:pt x="26" y="200"/>
                    <a:pt x="26" y="200"/>
                    <a:pt x="26" y="200"/>
                  </a:cubicBezTo>
                  <a:cubicBezTo>
                    <a:pt x="12" y="200"/>
                    <a:pt x="0" y="212"/>
                    <a:pt x="0" y="226"/>
                  </a:cubicBezTo>
                  <a:cubicBezTo>
                    <a:pt x="0" y="268"/>
                    <a:pt x="0" y="268"/>
                    <a:pt x="0" y="268"/>
                  </a:cubicBezTo>
                  <a:lnTo>
                    <a:pt x="53" y="268"/>
                  </a:lnTo>
                  <a:close/>
                  <a:moveTo>
                    <a:pt x="26" y="77"/>
                  </a:moveTo>
                  <a:cubicBezTo>
                    <a:pt x="26" y="200"/>
                    <a:pt x="26" y="200"/>
                    <a:pt x="26" y="200"/>
                  </a:cubicBezTo>
                </a:path>
              </a:pathLst>
            </a:custGeom>
            <a:noFill/>
            <a:ln w="22225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875CE78-D6B2-4D7B-9D97-A60AF7BB0E7D}"/>
                </a:ext>
              </a:extLst>
            </p:cNvPr>
            <p:cNvSpPr txBox="1"/>
            <p:nvPr/>
          </p:nvSpPr>
          <p:spPr>
            <a:xfrm>
              <a:off x="1165243" y="3043166"/>
              <a:ext cx="1828800" cy="4616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algn="l" rtl="0" eaLnBrk="1" fontAlgn="t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0" i="0" u="none" strike="noStrike" kern="1200"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We need to educate people better about how to make the digital world safer</a:t>
              </a:r>
              <a:endParaRPr lang="en-US" sz="1000" b="0" i="0" u="none" strike="noStrike"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A8B6644-2D6D-454E-8736-C2466791AB30}"/>
                </a:ext>
              </a:extLst>
            </p:cNvPr>
            <p:cNvSpPr txBox="1"/>
            <p:nvPr/>
          </p:nvSpPr>
          <p:spPr>
            <a:xfrm>
              <a:off x="1249636" y="2390902"/>
              <a:ext cx="799899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3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88%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6DB9998-ED62-417F-A4DE-4518D375E74F}"/>
              </a:ext>
            </a:extLst>
          </p:cNvPr>
          <p:cNvGrpSpPr/>
          <p:nvPr/>
        </p:nvGrpSpPr>
        <p:grpSpPr>
          <a:xfrm>
            <a:off x="4998873" y="1746102"/>
            <a:ext cx="1828800" cy="1244795"/>
            <a:chOff x="3509664" y="2260036"/>
            <a:chExt cx="1828800" cy="1244795"/>
          </a:xfrm>
        </p:grpSpPr>
        <p:sp>
          <p:nvSpPr>
            <p:cNvPr id="6" name="people_23" title="Icon of a person with a chat bubble above them">
              <a:extLst>
                <a:ext uri="{FF2B5EF4-FFF2-40B4-BE49-F238E27FC236}">
                  <a16:creationId xmlns:a16="http://schemas.microsoft.com/office/drawing/2014/main" id="{F5B2B7AB-563F-4F59-A36B-3B8B65E084D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72496" y="2260036"/>
              <a:ext cx="739344" cy="731520"/>
            </a:xfrm>
            <a:custGeom>
              <a:avLst/>
              <a:gdLst>
                <a:gd name="T0" fmla="*/ 75 w 275"/>
                <a:gd name="T1" fmla="*/ 34 h 273"/>
                <a:gd name="T2" fmla="*/ 75 w 275"/>
                <a:gd name="T3" fmla="*/ 0 h 273"/>
                <a:gd name="T4" fmla="*/ 275 w 275"/>
                <a:gd name="T5" fmla="*/ 0 h 273"/>
                <a:gd name="T6" fmla="*/ 275 w 275"/>
                <a:gd name="T7" fmla="*/ 125 h 273"/>
                <a:gd name="T8" fmla="*/ 247 w 275"/>
                <a:gd name="T9" fmla="*/ 125 h 273"/>
                <a:gd name="T10" fmla="*/ 203 w 275"/>
                <a:gd name="T11" fmla="*/ 170 h 273"/>
                <a:gd name="T12" fmla="*/ 203 w 275"/>
                <a:gd name="T13" fmla="*/ 127 h 273"/>
                <a:gd name="T14" fmla="*/ 181 w 275"/>
                <a:gd name="T15" fmla="*/ 127 h 273"/>
                <a:gd name="T16" fmla="*/ 92 w 275"/>
                <a:gd name="T17" fmla="*/ 71 h 273"/>
                <a:gd name="T18" fmla="*/ 38 w 275"/>
                <a:gd name="T19" fmla="*/ 126 h 273"/>
                <a:gd name="T20" fmla="*/ 92 w 275"/>
                <a:gd name="T21" fmla="*/ 181 h 273"/>
                <a:gd name="T22" fmla="*/ 147 w 275"/>
                <a:gd name="T23" fmla="*/ 126 h 273"/>
                <a:gd name="T24" fmla="*/ 92 w 275"/>
                <a:gd name="T25" fmla="*/ 71 h 273"/>
                <a:gd name="T26" fmla="*/ 185 w 275"/>
                <a:gd name="T27" fmla="*/ 273 h 273"/>
                <a:gd name="T28" fmla="*/ 92 w 275"/>
                <a:gd name="T29" fmla="*/ 181 h 273"/>
                <a:gd name="T30" fmla="*/ 0 w 275"/>
                <a:gd name="T31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75" h="273">
                  <a:moveTo>
                    <a:pt x="75" y="34"/>
                  </a:moveTo>
                  <a:cubicBezTo>
                    <a:pt x="75" y="0"/>
                    <a:pt x="75" y="0"/>
                    <a:pt x="75" y="0"/>
                  </a:cubicBezTo>
                  <a:cubicBezTo>
                    <a:pt x="275" y="0"/>
                    <a:pt x="275" y="0"/>
                    <a:pt x="275" y="0"/>
                  </a:cubicBezTo>
                  <a:cubicBezTo>
                    <a:pt x="275" y="125"/>
                    <a:pt x="275" y="125"/>
                    <a:pt x="275" y="125"/>
                  </a:cubicBezTo>
                  <a:cubicBezTo>
                    <a:pt x="247" y="125"/>
                    <a:pt x="247" y="125"/>
                    <a:pt x="247" y="125"/>
                  </a:cubicBezTo>
                  <a:cubicBezTo>
                    <a:pt x="203" y="170"/>
                    <a:pt x="203" y="170"/>
                    <a:pt x="203" y="170"/>
                  </a:cubicBezTo>
                  <a:cubicBezTo>
                    <a:pt x="203" y="127"/>
                    <a:pt x="203" y="127"/>
                    <a:pt x="203" y="127"/>
                  </a:cubicBezTo>
                  <a:cubicBezTo>
                    <a:pt x="181" y="127"/>
                    <a:pt x="181" y="127"/>
                    <a:pt x="181" y="127"/>
                  </a:cubicBezTo>
                  <a:moveTo>
                    <a:pt x="92" y="71"/>
                  </a:moveTo>
                  <a:cubicBezTo>
                    <a:pt x="62" y="71"/>
                    <a:pt x="38" y="96"/>
                    <a:pt x="38" y="126"/>
                  </a:cubicBezTo>
                  <a:cubicBezTo>
                    <a:pt x="38" y="156"/>
                    <a:pt x="62" y="181"/>
                    <a:pt x="92" y="181"/>
                  </a:cubicBezTo>
                  <a:cubicBezTo>
                    <a:pt x="123" y="181"/>
                    <a:pt x="147" y="156"/>
                    <a:pt x="147" y="126"/>
                  </a:cubicBezTo>
                  <a:cubicBezTo>
                    <a:pt x="147" y="96"/>
                    <a:pt x="123" y="71"/>
                    <a:pt x="92" y="71"/>
                  </a:cubicBezTo>
                  <a:close/>
                  <a:moveTo>
                    <a:pt x="185" y="273"/>
                  </a:moveTo>
                  <a:cubicBezTo>
                    <a:pt x="185" y="222"/>
                    <a:pt x="144" y="181"/>
                    <a:pt x="92" y="181"/>
                  </a:cubicBezTo>
                  <a:cubicBezTo>
                    <a:pt x="41" y="181"/>
                    <a:pt x="0" y="222"/>
                    <a:pt x="0" y="273"/>
                  </a:cubicBezTo>
                </a:path>
              </a:pathLst>
            </a:custGeom>
            <a:noFill/>
            <a:ln w="22225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C114783-61CA-4F59-93F9-30257DF576B9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3509664" y="3043166"/>
              <a:ext cx="1828800" cy="4616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algn="l" rtl="0" eaLnBrk="1" fontAlgn="t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0" i="0" u="none" strike="noStrike">
                  <a:effectLst/>
                  <a:latin typeface="Arial" panose="020B0604020202020204" pitchFamily="34" charset="0"/>
                </a:rPr>
                <a:t>Civility online would improve if social media companies would more closely moderate harmful online speech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FE61ABB-BC24-4D5E-A8E8-CFD3DBDEEB89}"/>
                </a:ext>
              </a:extLst>
            </p:cNvPr>
            <p:cNvSpPr txBox="1"/>
            <p:nvPr/>
          </p:nvSpPr>
          <p:spPr>
            <a:xfrm>
              <a:off x="3509664" y="2390902"/>
              <a:ext cx="791883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3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75%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652CBBB-9D86-4A06-AE36-26C02E8D1105}"/>
              </a:ext>
            </a:extLst>
          </p:cNvPr>
          <p:cNvGrpSpPr/>
          <p:nvPr/>
        </p:nvGrpSpPr>
        <p:grpSpPr>
          <a:xfrm>
            <a:off x="9577582" y="1795821"/>
            <a:ext cx="1828800" cy="1215804"/>
            <a:chOff x="8227519" y="2309755"/>
            <a:chExt cx="1828800" cy="1215804"/>
          </a:xfrm>
        </p:grpSpPr>
        <p:sp>
          <p:nvSpPr>
            <p:cNvPr id="8" name="question" title="Icon of a question mark">
              <a:extLst>
                <a:ext uri="{FF2B5EF4-FFF2-40B4-BE49-F238E27FC236}">
                  <a16:creationId xmlns:a16="http://schemas.microsoft.com/office/drawing/2014/main" id="{C2ACFC52-3525-40C6-A8AA-1737ABE4D18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214338" y="2309755"/>
              <a:ext cx="340856" cy="640080"/>
            </a:xfrm>
            <a:custGeom>
              <a:avLst/>
              <a:gdLst>
                <a:gd name="T0" fmla="*/ 0 w 180"/>
                <a:gd name="T1" fmla="*/ 90 h 340"/>
                <a:gd name="T2" fmla="*/ 90 w 180"/>
                <a:gd name="T3" fmla="*/ 0 h 340"/>
                <a:gd name="T4" fmla="*/ 180 w 180"/>
                <a:gd name="T5" fmla="*/ 90 h 340"/>
                <a:gd name="T6" fmla="*/ 148 w 180"/>
                <a:gd name="T7" fmla="*/ 156 h 340"/>
                <a:gd name="T8" fmla="*/ 95 w 180"/>
                <a:gd name="T9" fmla="*/ 217 h 340"/>
                <a:gd name="T10" fmla="*/ 90 w 180"/>
                <a:gd name="T11" fmla="*/ 279 h 340"/>
                <a:gd name="T12" fmla="*/ 86 w 180"/>
                <a:gd name="T13" fmla="*/ 340 h 340"/>
                <a:gd name="T14" fmla="*/ 94 w 180"/>
                <a:gd name="T15" fmla="*/ 340 h 340"/>
                <a:gd name="T16" fmla="*/ 94 w 180"/>
                <a:gd name="T17" fmla="*/ 332 h 340"/>
                <a:gd name="T18" fmla="*/ 86 w 180"/>
                <a:gd name="T19" fmla="*/ 332 h 340"/>
                <a:gd name="T20" fmla="*/ 86 w 180"/>
                <a:gd name="T21" fmla="*/ 34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0" h="340">
                  <a:moveTo>
                    <a:pt x="0" y="90"/>
                  </a:move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16"/>
                    <a:pt x="169" y="138"/>
                    <a:pt x="148" y="156"/>
                  </a:cubicBezTo>
                  <a:cubicBezTo>
                    <a:pt x="148" y="156"/>
                    <a:pt x="109" y="186"/>
                    <a:pt x="95" y="217"/>
                  </a:cubicBezTo>
                  <a:cubicBezTo>
                    <a:pt x="86" y="236"/>
                    <a:pt x="90" y="279"/>
                    <a:pt x="90" y="279"/>
                  </a:cubicBezTo>
                  <a:moveTo>
                    <a:pt x="86" y="340"/>
                  </a:moveTo>
                  <a:cubicBezTo>
                    <a:pt x="94" y="340"/>
                    <a:pt x="94" y="340"/>
                    <a:pt x="94" y="340"/>
                  </a:cubicBezTo>
                  <a:cubicBezTo>
                    <a:pt x="94" y="332"/>
                    <a:pt x="94" y="332"/>
                    <a:pt x="94" y="332"/>
                  </a:cubicBezTo>
                  <a:cubicBezTo>
                    <a:pt x="86" y="332"/>
                    <a:pt x="86" y="332"/>
                    <a:pt x="86" y="332"/>
                  </a:cubicBezTo>
                  <a:lnTo>
                    <a:pt x="86" y="340"/>
                  </a:lnTo>
                  <a:close/>
                </a:path>
              </a:pathLst>
            </a:custGeom>
            <a:noFill/>
            <a:ln w="22225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E9CCE4C-D3F0-4FA0-8430-1BC4CE3C7A68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8227519" y="3043166"/>
              <a:ext cx="1828800" cy="4823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algn="l" rtl="0" eaLnBrk="1" fontAlgn="t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0" i="0" u="none" strike="noStrike" kern="1200"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People should not be allowed to post comments online anonymously since they can be uncivil without facing any consequence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534909A-B3DE-4A95-9338-E1C9545B62E0}"/>
                </a:ext>
              </a:extLst>
            </p:cNvPr>
            <p:cNvSpPr txBox="1"/>
            <p:nvPr/>
          </p:nvSpPr>
          <p:spPr>
            <a:xfrm>
              <a:off x="8230973" y="2390902"/>
              <a:ext cx="791883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3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72%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D91E237-20C9-4923-87C7-72923D201742}"/>
              </a:ext>
            </a:extLst>
          </p:cNvPr>
          <p:cNvGrpSpPr/>
          <p:nvPr/>
        </p:nvGrpSpPr>
        <p:grpSpPr>
          <a:xfrm>
            <a:off x="7242280" y="1876968"/>
            <a:ext cx="1828800" cy="1238505"/>
            <a:chOff x="5753071" y="2390902"/>
            <a:chExt cx="1828800" cy="1238505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A58F820-FAE3-4926-96CC-25B0723A39A3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5753071" y="3043166"/>
              <a:ext cx="1828800" cy="5862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t"/>
              <a:r>
                <a:rPr lang="en-US" sz="1000" b="0" i="0" u="none" strike="noStrike">
                  <a:solidFill>
                    <a:srgbClr val="000000"/>
                  </a:solidFill>
                  <a:effectLst/>
                  <a:latin typeface="+mn-lt"/>
                </a:rPr>
                <a:t>I trust people less when I witness online discussions filled with rude, hateful comments</a:t>
              </a:r>
            </a:p>
            <a:p>
              <a:pPr fontAlgn="t"/>
              <a:endParaRPr lang="en-US" sz="1000" b="0" i="0" u="none" strike="noStrike">
                <a:solidFill>
                  <a:srgbClr val="000000"/>
                </a:solidFill>
                <a:effectLst/>
                <a:latin typeface="+mn-lt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5E260C23-AE81-4CFF-A0EA-2151252C07E1}"/>
                </a:ext>
              </a:extLst>
            </p:cNvPr>
            <p:cNvSpPr txBox="1"/>
            <p:nvPr/>
          </p:nvSpPr>
          <p:spPr>
            <a:xfrm>
              <a:off x="5887417" y="2390902"/>
              <a:ext cx="791883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32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  <a:latin typeface="+mj-lt"/>
                </a:rPr>
                <a:t>75%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5C357F31-0165-484C-B437-7D9DBA2AC9F1}"/>
              </a:ext>
            </a:extLst>
          </p:cNvPr>
          <p:cNvGrpSpPr/>
          <p:nvPr/>
        </p:nvGrpSpPr>
        <p:grpSpPr>
          <a:xfrm>
            <a:off x="8337551" y="1746821"/>
            <a:ext cx="733529" cy="731520"/>
            <a:chOff x="2380430" y="3970728"/>
            <a:chExt cx="733529" cy="731520"/>
          </a:xfrm>
        </p:grpSpPr>
        <p:sp>
          <p:nvSpPr>
            <p:cNvPr id="7" name="Commitments_EC4D" title="Icon of a handshake">
              <a:extLst>
                <a:ext uri="{FF2B5EF4-FFF2-40B4-BE49-F238E27FC236}">
                  <a16:creationId xmlns:a16="http://schemas.microsoft.com/office/drawing/2014/main" id="{82243F70-8888-48A7-94D2-1466CCBAB63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500603" y="4098363"/>
              <a:ext cx="487614" cy="457200"/>
            </a:xfrm>
            <a:custGeom>
              <a:avLst/>
              <a:gdLst>
                <a:gd name="T0" fmla="*/ 56 w 3762"/>
                <a:gd name="T1" fmla="*/ 1280 h 3526"/>
                <a:gd name="T2" fmla="*/ 1246 w 3762"/>
                <a:gd name="T3" fmla="*/ 30 h 3526"/>
                <a:gd name="T4" fmla="*/ 1589 w 3762"/>
                <a:gd name="T5" fmla="*/ 313 h 3526"/>
                <a:gd name="T6" fmla="*/ 104 w 3762"/>
                <a:gd name="T7" fmla="*/ 2297 h 3526"/>
                <a:gd name="T8" fmla="*/ 698 w 3762"/>
                <a:gd name="T9" fmla="*/ 2078 h 3526"/>
                <a:gd name="T10" fmla="*/ 323 w 3762"/>
                <a:gd name="T11" fmla="*/ 1703 h 3526"/>
                <a:gd name="T12" fmla="*/ 2479 w 3762"/>
                <a:gd name="T13" fmla="*/ 2578 h 3526"/>
                <a:gd name="T14" fmla="*/ 3073 w 3762"/>
                <a:gd name="T15" fmla="*/ 2797 h 3526"/>
                <a:gd name="T16" fmla="*/ 2854 w 3762"/>
                <a:gd name="T17" fmla="*/ 2203 h 3526"/>
                <a:gd name="T18" fmla="*/ 1823 w 3762"/>
                <a:gd name="T19" fmla="*/ 3422 h 3526"/>
                <a:gd name="T20" fmla="*/ 2198 w 3762"/>
                <a:gd name="T21" fmla="*/ 3047 h 3526"/>
                <a:gd name="T22" fmla="*/ 2698 w 3762"/>
                <a:gd name="T23" fmla="*/ 3172 h 3526"/>
                <a:gd name="T24" fmla="*/ 2479 w 3762"/>
                <a:gd name="T25" fmla="*/ 2578 h 3526"/>
                <a:gd name="T26" fmla="*/ 479 w 3762"/>
                <a:gd name="T27" fmla="*/ 2672 h 3526"/>
                <a:gd name="T28" fmla="*/ 1073 w 3762"/>
                <a:gd name="T29" fmla="*/ 2453 h 3526"/>
                <a:gd name="T30" fmla="*/ 698 w 3762"/>
                <a:gd name="T31" fmla="*/ 2078 h 3526"/>
                <a:gd name="T32" fmla="*/ 854 w 3762"/>
                <a:gd name="T33" fmla="*/ 2672 h 3526"/>
                <a:gd name="T34" fmla="*/ 1229 w 3762"/>
                <a:gd name="T35" fmla="*/ 3047 h 3526"/>
                <a:gd name="T36" fmla="*/ 1448 w 3762"/>
                <a:gd name="T37" fmla="*/ 2453 h 3526"/>
                <a:gd name="T38" fmla="*/ 854 w 3762"/>
                <a:gd name="T39" fmla="*/ 2672 h 3526"/>
                <a:gd name="T40" fmla="*/ 1229 w 3762"/>
                <a:gd name="T41" fmla="*/ 3422 h 3526"/>
                <a:gd name="T42" fmla="*/ 1823 w 3762"/>
                <a:gd name="T43" fmla="*/ 3203 h 3526"/>
                <a:gd name="T44" fmla="*/ 1448 w 3762"/>
                <a:gd name="T45" fmla="*/ 2828 h 3526"/>
                <a:gd name="T46" fmla="*/ 3214 w 3762"/>
                <a:gd name="T47" fmla="*/ 1813 h 3526"/>
                <a:gd name="T48" fmla="*/ 3746 w 3762"/>
                <a:gd name="T49" fmla="*/ 1220 h 3526"/>
                <a:gd name="T50" fmla="*/ 2526 w 3762"/>
                <a:gd name="T51" fmla="*/ 0 h 3526"/>
                <a:gd name="T52" fmla="*/ 1412 w 3762"/>
                <a:gd name="T53" fmla="*/ 385 h 3526"/>
                <a:gd name="T54" fmla="*/ 1026 w 3762"/>
                <a:gd name="T55" fmla="*/ 1250 h 3526"/>
                <a:gd name="T56" fmla="*/ 1276 w 3762"/>
                <a:gd name="T57" fmla="*/ 1500 h 3526"/>
                <a:gd name="T58" fmla="*/ 2026 w 3762"/>
                <a:gd name="T59" fmla="*/ 750 h 3526"/>
                <a:gd name="T60" fmla="*/ 3448 w 3762"/>
                <a:gd name="T61" fmla="*/ 2047 h 3526"/>
                <a:gd name="T62" fmla="*/ 3071 w 3762"/>
                <a:gd name="T63" fmla="*/ 2420 h 3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762" h="3526">
                  <a:moveTo>
                    <a:pt x="401" y="1625"/>
                  </a:moveTo>
                  <a:cubicBezTo>
                    <a:pt x="56" y="1280"/>
                    <a:pt x="56" y="1280"/>
                    <a:pt x="56" y="1280"/>
                  </a:cubicBezTo>
                  <a:cubicBezTo>
                    <a:pt x="40" y="1264"/>
                    <a:pt x="40" y="1236"/>
                    <a:pt x="56" y="1220"/>
                  </a:cubicBezTo>
                  <a:cubicBezTo>
                    <a:pt x="1246" y="30"/>
                    <a:pt x="1246" y="30"/>
                    <a:pt x="1246" y="30"/>
                  </a:cubicBezTo>
                  <a:cubicBezTo>
                    <a:pt x="1262" y="14"/>
                    <a:pt x="1290" y="14"/>
                    <a:pt x="1306" y="30"/>
                  </a:cubicBezTo>
                  <a:cubicBezTo>
                    <a:pt x="1589" y="313"/>
                    <a:pt x="1589" y="313"/>
                    <a:pt x="1589" y="313"/>
                  </a:cubicBezTo>
                  <a:moveTo>
                    <a:pt x="104" y="1922"/>
                  </a:moveTo>
                  <a:cubicBezTo>
                    <a:pt x="0" y="2026"/>
                    <a:pt x="0" y="2194"/>
                    <a:pt x="104" y="2297"/>
                  </a:cubicBezTo>
                  <a:cubicBezTo>
                    <a:pt x="207" y="2401"/>
                    <a:pt x="375" y="2401"/>
                    <a:pt x="479" y="2297"/>
                  </a:cubicBezTo>
                  <a:cubicBezTo>
                    <a:pt x="698" y="2078"/>
                    <a:pt x="698" y="2078"/>
                    <a:pt x="698" y="2078"/>
                  </a:cubicBezTo>
                  <a:cubicBezTo>
                    <a:pt x="802" y="1974"/>
                    <a:pt x="802" y="1806"/>
                    <a:pt x="698" y="1703"/>
                  </a:cubicBezTo>
                  <a:cubicBezTo>
                    <a:pt x="595" y="1599"/>
                    <a:pt x="427" y="1599"/>
                    <a:pt x="323" y="1703"/>
                  </a:cubicBezTo>
                  <a:lnTo>
                    <a:pt x="104" y="1922"/>
                  </a:lnTo>
                  <a:close/>
                  <a:moveTo>
                    <a:pt x="2479" y="2578"/>
                  </a:moveTo>
                  <a:cubicBezTo>
                    <a:pt x="2698" y="2797"/>
                    <a:pt x="2698" y="2797"/>
                    <a:pt x="2698" y="2797"/>
                  </a:cubicBezTo>
                  <a:cubicBezTo>
                    <a:pt x="2802" y="2901"/>
                    <a:pt x="2970" y="2901"/>
                    <a:pt x="3073" y="2797"/>
                  </a:cubicBezTo>
                  <a:cubicBezTo>
                    <a:pt x="3177" y="2694"/>
                    <a:pt x="3177" y="2526"/>
                    <a:pt x="3073" y="2422"/>
                  </a:cubicBezTo>
                  <a:cubicBezTo>
                    <a:pt x="2854" y="2203"/>
                    <a:pt x="2854" y="2203"/>
                    <a:pt x="2854" y="2203"/>
                  </a:cubicBezTo>
                  <a:moveTo>
                    <a:pt x="1714" y="3313"/>
                  </a:moveTo>
                  <a:cubicBezTo>
                    <a:pt x="1823" y="3422"/>
                    <a:pt x="1823" y="3422"/>
                    <a:pt x="1823" y="3422"/>
                  </a:cubicBezTo>
                  <a:cubicBezTo>
                    <a:pt x="1927" y="3526"/>
                    <a:pt x="2095" y="3526"/>
                    <a:pt x="2198" y="3422"/>
                  </a:cubicBezTo>
                  <a:cubicBezTo>
                    <a:pt x="2302" y="3319"/>
                    <a:pt x="2302" y="3151"/>
                    <a:pt x="2198" y="3047"/>
                  </a:cubicBezTo>
                  <a:cubicBezTo>
                    <a:pt x="2323" y="3172"/>
                    <a:pt x="2323" y="3172"/>
                    <a:pt x="2323" y="3172"/>
                  </a:cubicBezTo>
                  <a:cubicBezTo>
                    <a:pt x="2427" y="3276"/>
                    <a:pt x="2595" y="3276"/>
                    <a:pt x="2698" y="3172"/>
                  </a:cubicBezTo>
                  <a:cubicBezTo>
                    <a:pt x="2802" y="3069"/>
                    <a:pt x="2802" y="2901"/>
                    <a:pt x="2698" y="2797"/>
                  </a:cubicBezTo>
                  <a:cubicBezTo>
                    <a:pt x="2479" y="2578"/>
                    <a:pt x="2479" y="2578"/>
                    <a:pt x="2479" y="2578"/>
                  </a:cubicBezTo>
                  <a:moveTo>
                    <a:pt x="479" y="2297"/>
                  </a:moveTo>
                  <a:cubicBezTo>
                    <a:pt x="375" y="2401"/>
                    <a:pt x="375" y="2569"/>
                    <a:pt x="479" y="2672"/>
                  </a:cubicBezTo>
                  <a:cubicBezTo>
                    <a:pt x="582" y="2776"/>
                    <a:pt x="750" y="2776"/>
                    <a:pt x="854" y="2672"/>
                  </a:cubicBezTo>
                  <a:cubicBezTo>
                    <a:pt x="1073" y="2453"/>
                    <a:pt x="1073" y="2453"/>
                    <a:pt x="1073" y="2453"/>
                  </a:cubicBezTo>
                  <a:cubicBezTo>
                    <a:pt x="1177" y="2349"/>
                    <a:pt x="1177" y="2181"/>
                    <a:pt x="1073" y="2078"/>
                  </a:cubicBezTo>
                  <a:cubicBezTo>
                    <a:pt x="970" y="1974"/>
                    <a:pt x="802" y="1974"/>
                    <a:pt x="698" y="2078"/>
                  </a:cubicBezTo>
                  <a:lnTo>
                    <a:pt x="479" y="2297"/>
                  </a:lnTo>
                  <a:close/>
                  <a:moveTo>
                    <a:pt x="854" y="2672"/>
                  </a:moveTo>
                  <a:cubicBezTo>
                    <a:pt x="750" y="2776"/>
                    <a:pt x="750" y="2944"/>
                    <a:pt x="854" y="3047"/>
                  </a:cubicBezTo>
                  <a:cubicBezTo>
                    <a:pt x="957" y="3151"/>
                    <a:pt x="1125" y="3151"/>
                    <a:pt x="1229" y="3047"/>
                  </a:cubicBezTo>
                  <a:cubicBezTo>
                    <a:pt x="1448" y="2828"/>
                    <a:pt x="1448" y="2828"/>
                    <a:pt x="1448" y="2828"/>
                  </a:cubicBezTo>
                  <a:cubicBezTo>
                    <a:pt x="1552" y="2724"/>
                    <a:pt x="1552" y="2556"/>
                    <a:pt x="1448" y="2453"/>
                  </a:cubicBezTo>
                  <a:cubicBezTo>
                    <a:pt x="1345" y="2349"/>
                    <a:pt x="1177" y="2349"/>
                    <a:pt x="1073" y="2453"/>
                  </a:cubicBezTo>
                  <a:lnTo>
                    <a:pt x="854" y="2672"/>
                  </a:lnTo>
                  <a:close/>
                  <a:moveTo>
                    <a:pt x="1229" y="3047"/>
                  </a:moveTo>
                  <a:cubicBezTo>
                    <a:pt x="1125" y="3151"/>
                    <a:pt x="1125" y="3319"/>
                    <a:pt x="1229" y="3422"/>
                  </a:cubicBezTo>
                  <a:cubicBezTo>
                    <a:pt x="1332" y="3526"/>
                    <a:pt x="1500" y="3526"/>
                    <a:pt x="1604" y="3422"/>
                  </a:cubicBezTo>
                  <a:cubicBezTo>
                    <a:pt x="1823" y="3203"/>
                    <a:pt x="1823" y="3203"/>
                    <a:pt x="1823" y="3203"/>
                  </a:cubicBezTo>
                  <a:cubicBezTo>
                    <a:pt x="1927" y="3099"/>
                    <a:pt x="1927" y="2931"/>
                    <a:pt x="1823" y="2828"/>
                  </a:cubicBezTo>
                  <a:cubicBezTo>
                    <a:pt x="1720" y="2724"/>
                    <a:pt x="1552" y="2724"/>
                    <a:pt x="1448" y="2828"/>
                  </a:cubicBezTo>
                  <a:lnTo>
                    <a:pt x="1229" y="3047"/>
                  </a:lnTo>
                  <a:close/>
                  <a:moveTo>
                    <a:pt x="3214" y="1813"/>
                  </a:moveTo>
                  <a:cubicBezTo>
                    <a:pt x="3746" y="1280"/>
                    <a:pt x="3746" y="1280"/>
                    <a:pt x="3746" y="1280"/>
                  </a:cubicBezTo>
                  <a:cubicBezTo>
                    <a:pt x="3762" y="1264"/>
                    <a:pt x="3762" y="1236"/>
                    <a:pt x="3746" y="1220"/>
                  </a:cubicBezTo>
                  <a:cubicBezTo>
                    <a:pt x="2526" y="0"/>
                    <a:pt x="2526" y="0"/>
                    <a:pt x="2526" y="0"/>
                  </a:cubicBezTo>
                  <a:cubicBezTo>
                    <a:pt x="2526" y="0"/>
                    <a:pt x="2526" y="0"/>
                    <a:pt x="2526" y="0"/>
                  </a:cubicBezTo>
                  <a:cubicBezTo>
                    <a:pt x="1436" y="363"/>
                    <a:pt x="1436" y="363"/>
                    <a:pt x="1436" y="363"/>
                  </a:cubicBezTo>
                  <a:cubicBezTo>
                    <a:pt x="1426" y="367"/>
                    <a:pt x="1417" y="375"/>
                    <a:pt x="1412" y="385"/>
                  </a:cubicBezTo>
                  <a:cubicBezTo>
                    <a:pt x="1057" y="1094"/>
                    <a:pt x="1057" y="1094"/>
                    <a:pt x="1057" y="1094"/>
                  </a:cubicBezTo>
                  <a:cubicBezTo>
                    <a:pt x="1037" y="1142"/>
                    <a:pt x="1026" y="1195"/>
                    <a:pt x="1026" y="1250"/>
                  </a:cubicBezTo>
                  <a:cubicBezTo>
                    <a:pt x="1026" y="1319"/>
                    <a:pt x="1054" y="1382"/>
                    <a:pt x="1099" y="1427"/>
                  </a:cubicBezTo>
                  <a:cubicBezTo>
                    <a:pt x="1144" y="1472"/>
                    <a:pt x="1207" y="1500"/>
                    <a:pt x="1276" y="1500"/>
                  </a:cubicBezTo>
                  <a:cubicBezTo>
                    <a:pt x="1483" y="1500"/>
                    <a:pt x="1651" y="1332"/>
                    <a:pt x="1651" y="1125"/>
                  </a:cubicBezTo>
                  <a:cubicBezTo>
                    <a:pt x="1651" y="918"/>
                    <a:pt x="1819" y="750"/>
                    <a:pt x="2026" y="750"/>
                  </a:cubicBezTo>
                  <a:cubicBezTo>
                    <a:pt x="2094" y="750"/>
                    <a:pt x="2162" y="771"/>
                    <a:pt x="2214" y="813"/>
                  </a:cubicBezTo>
                  <a:cubicBezTo>
                    <a:pt x="3448" y="2047"/>
                    <a:pt x="3448" y="2047"/>
                    <a:pt x="3448" y="2047"/>
                  </a:cubicBezTo>
                  <a:cubicBezTo>
                    <a:pt x="3553" y="2152"/>
                    <a:pt x="3552" y="2321"/>
                    <a:pt x="3446" y="2425"/>
                  </a:cubicBezTo>
                  <a:cubicBezTo>
                    <a:pt x="3341" y="2527"/>
                    <a:pt x="3174" y="2523"/>
                    <a:pt x="3071" y="2420"/>
                  </a:cubicBezTo>
                  <a:cubicBezTo>
                    <a:pt x="2854" y="2203"/>
                    <a:pt x="2854" y="2203"/>
                    <a:pt x="2854" y="2203"/>
                  </a:cubicBezTo>
                </a:path>
              </a:pathLst>
            </a:custGeom>
            <a:noFill/>
            <a:ln w="22225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  <p:sp>
          <p:nvSpPr>
            <p:cNvPr id="41" name="illegal" title="Icon of a circle with a diagonal line through it">
              <a:extLst>
                <a:ext uri="{FF2B5EF4-FFF2-40B4-BE49-F238E27FC236}">
                  <a16:creationId xmlns:a16="http://schemas.microsoft.com/office/drawing/2014/main" id="{E426411D-A01E-40F1-AF7A-C97F69B31AB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380430" y="3970728"/>
              <a:ext cx="733529" cy="731520"/>
            </a:xfrm>
            <a:custGeom>
              <a:avLst/>
              <a:gdLst>
                <a:gd name="T0" fmla="*/ 265 w 265"/>
                <a:gd name="T1" fmla="*/ 133 h 265"/>
                <a:gd name="T2" fmla="*/ 132 w 265"/>
                <a:gd name="T3" fmla="*/ 265 h 265"/>
                <a:gd name="T4" fmla="*/ 0 w 265"/>
                <a:gd name="T5" fmla="*/ 133 h 265"/>
                <a:gd name="T6" fmla="*/ 132 w 265"/>
                <a:gd name="T7" fmla="*/ 0 h 265"/>
                <a:gd name="T8" fmla="*/ 265 w 265"/>
                <a:gd name="T9" fmla="*/ 133 h 265"/>
                <a:gd name="T10" fmla="*/ 226 w 265"/>
                <a:gd name="T11" fmla="*/ 227 h 265"/>
                <a:gd name="T12" fmla="*/ 39 w 265"/>
                <a:gd name="T13" fmla="*/ 39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5" h="265">
                  <a:moveTo>
                    <a:pt x="265" y="133"/>
                  </a:moveTo>
                  <a:cubicBezTo>
                    <a:pt x="265" y="206"/>
                    <a:pt x="205" y="265"/>
                    <a:pt x="132" y="265"/>
                  </a:cubicBezTo>
                  <a:cubicBezTo>
                    <a:pt x="59" y="265"/>
                    <a:pt x="0" y="206"/>
                    <a:pt x="0" y="133"/>
                  </a:cubicBezTo>
                  <a:cubicBezTo>
                    <a:pt x="0" y="60"/>
                    <a:pt x="59" y="0"/>
                    <a:pt x="132" y="0"/>
                  </a:cubicBezTo>
                  <a:cubicBezTo>
                    <a:pt x="205" y="0"/>
                    <a:pt x="265" y="60"/>
                    <a:pt x="265" y="133"/>
                  </a:cubicBezTo>
                  <a:close/>
                  <a:moveTo>
                    <a:pt x="226" y="227"/>
                  </a:moveTo>
                  <a:cubicBezTo>
                    <a:pt x="39" y="39"/>
                    <a:pt x="39" y="39"/>
                    <a:pt x="39" y="39"/>
                  </a:cubicBezTo>
                </a:path>
              </a:pathLst>
            </a:custGeom>
            <a:noFill/>
            <a:ln w="22225" cap="sq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6284132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0E6FF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94597-B64D-B943-9DA1-CE0B1DD843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1168"/>
            <a:ext cx="10430257" cy="338554"/>
          </a:xfrm>
        </p:spPr>
        <p:txBody>
          <a:bodyPr/>
          <a:lstStyle/>
          <a:p>
            <a:r>
              <a:rPr lang="en-US"/>
              <a:t>Study methodology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5B4BDB2-33C7-4060-B0BF-6F27C7C4C77F}"/>
              </a:ext>
            </a:extLst>
          </p:cNvPr>
          <p:cNvGrpSpPr/>
          <p:nvPr/>
        </p:nvGrpSpPr>
        <p:grpSpPr>
          <a:xfrm>
            <a:off x="1318635" y="1255295"/>
            <a:ext cx="9727659" cy="4572000"/>
            <a:chOff x="1318635" y="1255295"/>
            <a:chExt cx="9727659" cy="4572000"/>
          </a:xfrm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453D7030-03F1-408D-B483-C1B603E86FEE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3706801" y="5759158"/>
              <a:ext cx="43233" cy="61324"/>
            </a:xfrm>
            <a:custGeom>
              <a:avLst/>
              <a:gdLst>
                <a:gd name="T0" fmla="*/ 0 w 73"/>
                <a:gd name="T1" fmla="*/ 0 h 20"/>
                <a:gd name="T2" fmla="*/ 457 w 73"/>
                <a:gd name="T3" fmla="*/ 14288 h 20"/>
                <a:gd name="T4" fmla="*/ 1827 w 73"/>
                <a:gd name="T5" fmla="*/ 28575 h 20"/>
                <a:gd name="T6" fmla="*/ 3653 w 73"/>
                <a:gd name="T7" fmla="*/ 40005 h 20"/>
                <a:gd name="T8" fmla="*/ 5937 w 73"/>
                <a:gd name="T9" fmla="*/ 57150 h 20"/>
                <a:gd name="T10" fmla="*/ 7307 w 73"/>
                <a:gd name="T11" fmla="*/ 48578 h 20"/>
                <a:gd name="T12" fmla="*/ 8677 w 73"/>
                <a:gd name="T13" fmla="*/ 37148 h 20"/>
                <a:gd name="T14" fmla="*/ 10503 w 73"/>
                <a:gd name="T15" fmla="*/ 31433 h 20"/>
                <a:gd name="T16" fmla="*/ 12330 w 73"/>
                <a:gd name="T17" fmla="*/ 28575 h 20"/>
                <a:gd name="T18" fmla="*/ 16440 w 73"/>
                <a:gd name="T19" fmla="*/ 22860 h 20"/>
                <a:gd name="T20" fmla="*/ 21007 w 73"/>
                <a:gd name="T21" fmla="*/ 20003 h 20"/>
                <a:gd name="T22" fmla="*/ 24660 w 73"/>
                <a:gd name="T23" fmla="*/ 20003 h 20"/>
                <a:gd name="T24" fmla="*/ 28770 w 73"/>
                <a:gd name="T25" fmla="*/ 17145 h 20"/>
                <a:gd name="T26" fmla="*/ 30140 w 73"/>
                <a:gd name="T27" fmla="*/ 14288 h 20"/>
                <a:gd name="T28" fmla="*/ 31510 w 73"/>
                <a:gd name="T29" fmla="*/ 11430 h 20"/>
                <a:gd name="T30" fmla="*/ 32424 w 73"/>
                <a:gd name="T31" fmla="*/ 5715 h 20"/>
                <a:gd name="T32" fmla="*/ 3333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62726262-4C4B-47C5-A58D-0B3E144D2764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318635" y="1575540"/>
              <a:ext cx="1017029" cy="478664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0185C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5FD3D60F-88FE-4565-A251-1700D719984E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915677" y="2236470"/>
              <a:ext cx="1791124" cy="826163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0185C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F8C01F9-76E5-4646-9982-59CCE993D419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996528" y="3900718"/>
              <a:ext cx="440576" cy="633675"/>
            </a:xfrm>
            <a:custGeom>
              <a:avLst/>
              <a:gdLst>
                <a:gd name="T0" fmla="*/ 252627 w 784"/>
                <a:gd name="T1" fmla="*/ 145020 h 1128"/>
                <a:gd name="T2" fmla="*/ 237894 w 784"/>
                <a:gd name="T3" fmla="*/ 154443 h 1128"/>
                <a:gd name="T4" fmla="*/ 209728 w 784"/>
                <a:gd name="T5" fmla="*/ 202609 h 1128"/>
                <a:gd name="T6" fmla="*/ 201495 w 784"/>
                <a:gd name="T7" fmla="*/ 239257 h 1128"/>
                <a:gd name="T8" fmla="*/ 208428 w 784"/>
                <a:gd name="T9" fmla="*/ 273286 h 1128"/>
                <a:gd name="T10" fmla="*/ 229661 w 784"/>
                <a:gd name="T11" fmla="*/ 309411 h 1128"/>
                <a:gd name="T12" fmla="*/ 250894 w 784"/>
                <a:gd name="T13" fmla="*/ 322499 h 1128"/>
                <a:gd name="T14" fmla="*/ 270827 w 784"/>
                <a:gd name="T15" fmla="*/ 314122 h 1128"/>
                <a:gd name="T16" fmla="*/ 283393 w 784"/>
                <a:gd name="T17" fmla="*/ 341870 h 1128"/>
                <a:gd name="T18" fmla="*/ 291193 w 784"/>
                <a:gd name="T19" fmla="*/ 357576 h 1128"/>
                <a:gd name="T20" fmla="*/ 309392 w 784"/>
                <a:gd name="T21" fmla="*/ 359670 h 1128"/>
                <a:gd name="T22" fmla="*/ 324559 w 784"/>
                <a:gd name="T23" fmla="*/ 372759 h 1128"/>
                <a:gd name="T24" fmla="*/ 333658 w 784"/>
                <a:gd name="T25" fmla="*/ 395794 h 1128"/>
                <a:gd name="T26" fmla="*/ 329759 w 784"/>
                <a:gd name="T27" fmla="*/ 413594 h 1128"/>
                <a:gd name="T28" fmla="*/ 329325 w 784"/>
                <a:gd name="T29" fmla="*/ 431918 h 1128"/>
                <a:gd name="T30" fmla="*/ 334525 w 784"/>
                <a:gd name="T31" fmla="*/ 461760 h 1128"/>
                <a:gd name="T32" fmla="*/ 328459 w 784"/>
                <a:gd name="T33" fmla="*/ 487937 h 1128"/>
                <a:gd name="T34" fmla="*/ 333658 w 784"/>
                <a:gd name="T35" fmla="*/ 520396 h 1128"/>
                <a:gd name="T36" fmla="*/ 330625 w 784"/>
                <a:gd name="T37" fmla="*/ 551808 h 1128"/>
                <a:gd name="T38" fmla="*/ 299426 w 784"/>
                <a:gd name="T39" fmla="*/ 587409 h 1128"/>
                <a:gd name="T40" fmla="*/ 280793 w 784"/>
                <a:gd name="T41" fmla="*/ 577462 h 1128"/>
                <a:gd name="T42" fmla="*/ 260860 w 784"/>
                <a:gd name="T43" fmla="*/ 552855 h 1128"/>
                <a:gd name="T44" fmla="*/ 200628 w 784"/>
                <a:gd name="T45" fmla="*/ 522490 h 1128"/>
                <a:gd name="T46" fmla="*/ 184162 w 784"/>
                <a:gd name="T47" fmla="*/ 506261 h 1128"/>
                <a:gd name="T48" fmla="*/ 143430 w 784"/>
                <a:gd name="T49" fmla="*/ 468042 h 1128"/>
                <a:gd name="T50" fmla="*/ 137797 w 784"/>
                <a:gd name="T51" fmla="*/ 453907 h 1128"/>
                <a:gd name="T52" fmla="*/ 142130 w 784"/>
                <a:gd name="T53" fmla="*/ 426683 h 1128"/>
                <a:gd name="T54" fmla="*/ 125664 w 784"/>
                <a:gd name="T55" fmla="*/ 407312 h 1128"/>
                <a:gd name="T56" fmla="*/ 112231 w 784"/>
                <a:gd name="T57" fmla="*/ 390035 h 1128"/>
                <a:gd name="T58" fmla="*/ 105297 w 784"/>
                <a:gd name="T59" fmla="*/ 360717 h 1128"/>
                <a:gd name="T60" fmla="*/ 66298 w 784"/>
                <a:gd name="T61" fmla="*/ 277475 h 1128"/>
                <a:gd name="T62" fmla="*/ 51999 w 784"/>
                <a:gd name="T63" fmla="*/ 254963 h 1128"/>
                <a:gd name="T64" fmla="*/ 38999 w 784"/>
                <a:gd name="T65" fmla="*/ 226168 h 1128"/>
                <a:gd name="T66" fmla="*/ 9533 w 784"/>
                <a:gd name="T67" fmla="*/ 207844 h 1128"/>
                <a:gd name="T68" fmla="*/ 0 w 784"/>
                <a:gd name="T69" fmla="*/ 190044 h 1128"/>
                <a:gd name="T70" fmla="*/ 5633 w 784"/>
                <a:gd name="T71" fmla="*/ 144496 h 1128"/>
                <a:gd name="T72" fmla="*/ 12133 w 784"/>
                <a:gd name="T73" fmla="*/ 128790 h 1128"/>
                <a:gd name="T74" fmla="*/ 31199 w 784"/>
                <a:gd name="T75" fmla="*/ 116225 h 1128"/>
                <a:gd name="T76" fmla="*/ 41166 w 784"/>
                <a:gd name="T77" fmla="*/ 142402 h 1128"/>
                <a:gd name="T78" fmla="*/ 68465 w 784"/>
                <a:gd name="T79" fmla="*/ 160726 h 1128"/>
                <a:gd name="T80" fmla="*/ 79731 w 784"/>
                <a:gd name="T81" fmla="*/ 141879 h 1128"/>
                <a:gd name="T82" fmla="*/ 87098 w 784"/>
                <a:gd name="T83" fmla="*/ 117796 h 1128"/>
                <a:gd name="T84" fmla="*/ 116997 w 784"/>
                <a:gd name="T85" fmla="*/ 89001 h 1128"/>
                <a:gd name="T86" fmla="*/ 149063 w 784"/>
                <a:gd name="T87" fmla="*/ 62824 h 1128"/>
                <a:gd name="T88" fmla="*/ 154696 w 784"/>
                <a:gd name="T89" fmla="*/ 36648 h 1128"/>
                <a:gd name="T90" fmla="*/ 150363 w 784"/>
                <a:gd name="T91" fmla="*/ 2618 h 1128"/>
                <a:gd name="T92" fmla="*/ 182862 w 784"/>
                <a:gd name="T93" fmla="*/ 27747 h 1128"/>
                <a:gd name="T94" fmla="*/ 202362 w 784"/>
                <a:gd name="T95" fmla="*/ 56018 h 1128"/>
                <a:gd name="T96" fmla="*/ 219261 w 784"/>
                <a:gd name="T97" fmla="*/ 80625 h 1128"/>
                <a:gd name="T98" fmla="*/ 243094 w 784"/>
                <a:gd name="T99" fmla="*/ 82195 h 1128"/>
                <a:gd name="T100" fmla="*/ 267360 w 784"/>
                <a:gd name="T101" fmla="*/ 78007 h 1128"/>
                <a:gd name="T102" fmla="*/ 277327 w 784"/>
                <a:gd name="T103" fmla="*/ 81672 h 1128"/>
                <a:gd name="T104" fmla="*/ 283393 w 784"/>
                <a:gd name="T105" fmla="*/ 101043 h 1128"/>
                <a:gd name="T106" fmla="*/ 271693 w 784"/>
                <a:gd name="T107" fmla="*/ 109943 h 1128"/>
                <a:gd name="T108" fmla="*/ 271693 w 784"/>
                <a:gd name="T109" fmla="*/ 125649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0185C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56B7EA81-7A04-4D17-B9AF-FBDA2B7AA553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385635" y="4505435"/>
              <a:ext cx="339696" cy="1212841"/>
            </a:xfrm>
            <a:custGeom>
              <a:avLst/>
              <a:gdLst>
                <a:gd name="T0" fmla="*/ 183093 w 598"/>
                <a:gd name="T1" fmla="*/ 1058543 h 2158"/>
                <a:gd name="T2" fmla="*/ 149803 w 598"/>
                <a:gd name="T3" fmla="*/ 1023974 h 2158"/>
                <a:gd name="T4" fmla="*/ 148489 w 598"/>
                <a:gd name="T5" fmla="*/ 991500 h 2158"/>
                <a:gd name="T6" fmla="*/ 151118 w 598"/>
                <a:gd name="T7" fmla="*/ 965312 h 2158"/>
                <a:gd name="T8" fmla="*/ 158564 w 598"/>
                <a:gd name="T9" fmla="*/ 938076 h 2158"/>
                <a:gd name="T10" fmla="*/ 155060 w 598"/>
                <a:gd name="T11" fmla="*/ 911363 h 2158"/>
                <a:gd name="T12" fmla="*/ 145423 w 598"/>
                <a:gd name="T13" fmla="*/ 881508 h 2158"/>
                <a:gd name="T14" fmla="*/ 132721 w 598"/>
                <a:gd name="T15" fmla="*/ 828084 h 2158"/>
                <a:gd name="T16" fmla="*/ 98993 w 598"/>
                <a:gd name="T17" fmla="*/ 764707 h 2158"/>
                <a:gd name="T18" fmla="*/ 90232 w 598"/>
                <a:gd name="T19" fmla="*/ 723329 h 2158"/>
                <a:gd name="T20" fmla="*/ 95051 w 598"/>
                <a:gd name="T21" fmla="*/ 680380 h 2158"/>
                <a:gd name="T22" fmla="*/ 91109 w 598"/>
                <a:gd name="T23" fmla="*/ 646858 h 2158"/>
                <a:gd name="T24" fmla="*/ 81034 w 598"/>
                <a:gd name="T25" fmla="*/ 610194 h 2158"/>
                <a:gd name="T26" fmla="*/ 92423 w 598"/>
                <a:gd name="T27" fmla="*/ 588196 h 2158"/>
                <a:gd name="T28" fmla="*/ 85414 w 598"/>
                <a:gd name="T29" fmla="*/ 566721 h 2158"/>
                <a:gd name="T30" fmla="*/ 92423 w 598"/>
                <a:gd name="T31" fmla="*/ 536866 h 2158"/>
                <a:gd name="T32" fmla="*/ 91985 w 598"/>
                <a:gd name="T33" fmla="*/ 520106 h 2158"/>
                <a:gd name="T34" fmla="*/ 81910 w 598"/>
                <a:gd name="T35" fmla="*/ 485537 h 2158"/>
                <a:gd name="T36" fmla="*/ 59571 w 598"/>
                <a:gd name="T37" fmla="*/ 446254 h 2158"/>
                <a:gd name="T38" fmla="*/ 58695 w 598"/>
                <a:gd name="T39" fmla="*/ 359308 h 2158"/>
                <a:gd name="T40" fmla="*/ 80158 w 598"/>
                <a:gd name="T41" fmla="*/ 305883 h 2158"/>
                <a:gd name="T42" fmla="*/ 82786 w 598"/>
                <a:gd name="T43" fmla="*/ 273409 h 2158"/>
                <a:gd name="T44" fmla="*/ 70083 w 598"/>
                <a:gd name="T45" fmla="*/ 240411 h 2158"/>
                <a:gd name="T46" fmla="*/ 79720 w 598"/>
                <a:gd name="T47" fmla="*/ 212651 h 2158"/>
                <a:gd name="T48" fmla="*/ 100307 w 598"/>
                <a:gd name="T49" fmla="*/ 181225 h 2158"/>
                <a:gd name="T50" fmla="*/ 87604 w 598"/>
                <a:gd name="T51" fmla="*/ 161322 h 2158"/>
                <a:gd name="T52" fmla="*/ 64827 w 598"/>
                <a:gd name="T53" fmla="*/ 116277 h 2158"/>
                <a:gd name="T54" fmla="*/ 56505 w 598"/>
                <a:gd name="T55" fmla="*/ 65472 h 2158"/>
                <a:gd name="T56" fmla="*/ 39860 w 598"/>
                <a:gd name="T57" fmla="*/ 19380 h 2158"/>
                <a:gd name="T58" fmla="*/ 0 w 598"/>
                <a:gd name="T59" fmla="*/ 23046 h 2158"/>
                <a:gd name="T60" fmla="*/ 13579 w 598"/>
                <a:gd name="T61" fmla="*/ 104754 h 2158"/>
                <a:gd name="T62" fmla="*/ 18397 w 598"/>
                <a:gd name="T63" fmla="*/ 159227 h 2158"/>
                <a:gd name="T64" fmla="*/ 11827 w 598"/>
                <a:gd name="T65" fmla="*/ 195891 h 2158"/>
                <a:gd name="T66" fmla="*/ 22777 w 598"/>
                <a:gd name="T67" fmla="*/ 274457 h 2158"/>
                <a:gd name="T68" fmla="*/ 20149 w 598"/>
                <a:gd name="T69" fmla="*/ 339928 h 2158"/>
                <a:gd name="T70" fmla="*/ 15769 w 598"/>
                <a:gd name="T71" fmla="*/ 376068 h 2158"/>
                <a:gd name="T72" fmla="*/ 22777 w 598"/>
                <a:gd name="T73" fmla="*/ 401733 h 2158"/>
                <a:gd name="T74" fmla="*/ 28033 w 598"/>
                <a:gd name="T75" fmla="*/ 456205 h 2158"/>
                <a:gd name="T76" fmla="*/ 35480 w 598"/>
                <a:gd name="T77" fmla="*/ 478204 h 2158"/>
                <a:gd name="T78" fmla="*/ 31976 w 598"/>
                <a:gd name="T79" fmla="*/ 547342 h 2158"/>
                <a:gd name="T80" fmla="*/ 27595 w 598"/>
                <a:gd name="T81" fmla="*/ 603385 h 2158"/>
                <a:gd name="T82" fmla="*/ 17521 w 598"/>
                <a:gd name="T83" fmla="*/ 622241 h 2158"/>
                <a:gd name="T84" fmla="*/ 26281 w 598"/>
                <a:gd name="T85" fmla="*/ 658905 h 2158"/>
                <a:gd name="T86" fmla="*/ 46430 w 598"/>
                <a:gd name="T87" fmla="*/ 703426 h 2158"/>
                <a:gd name="T88" fmla="*/ 40736 w 598"/>
                <a:gd name="T89" fmla="*/ 731186 h 2158"/>
                <a:gd name="T90" fmla="*/ 46430 w 598"/>
                <a:gd name="T91" fmla="*/ 758946 h 2158"/>
                <a:gd name="T92" fmla="*/ 71836 w 598"/>
                <a:gd name="T93" fmla="*/ 768374 h 2158"/>
                <a:gd name="T94" fmla="*/ 91547 w 598"/>
                <a:gd name="T95" fmla="*/ 849034 h 2158"/>
                <a:gd name="T96" fmla="*/ 99431 w 598"/>
                <a:gd name="T97" fmla="*/ 895126 h 2158"/>
                <a:gd name="T98" fmla="*/ 66141 w 598"/>
                <a:gd name="T99" fmla="*/ 916077 h 2158"/>
                <a:gd name="T100" fmla="*/ 90671 w 598"/>
                <a:gd name="T101" fmla="*/ 930219 h 2158"/>
                <a:gd name="T102" fmla="*/ 109505 w 598"/>
                <a:gd name="T103" fmla="*/ 953265 h 2158"/>
                <a:gd name="T104" fmla="*/ 120456 w 598"/>
                <a:gd name="T105" fmla="*/ 979977 h 2158"/>
                <a:gd name="T106" fmla="*/ 134911 w 598"/>
                <a:gd name="T107" fmla="*/ 1027117 h 2158"/>
                <a:gd name="T108" fmla="*/ 157250 w 598"/>
                <a:gd name="T109" fmla="*/ 1054353 h 2158"/>
                <a:gd name="T110" fmla="*/ 172143 w 598"/>
                <a:gd name="T111" fmla="*/ 1072685 h 2158"/>
                <a:gd name="T112" fmla="*/ 185721 w 598"/>
                <a:gd name="T113" fmla="*/ 1086303 h 2158"/>
                <a:gd name="T114" fmla="*/ 203680 w 598"/>
                <a:gd name="T115" fmla="*/ 1105159 h 2158"/>
                <a:gd name="T116" fmla="*/ 227333 w 598"/>
                <a:gd name="T117" fmla="*/ 1120872 h 2158"/>
                <a:gd name="T118" fmla="*/ 235656 w 598"/>
                <a:gd name="T119" fmla="*/ 1126634 h 2158"/>
                <a:gd name="T120" fmla="*/ 256681 w 598"/>
                <a:gd name="T121" fmla="*/ 1098874 h 2158"/>
                <a:gd name="T122" fmla="*/ 258871 w 598"/>
                <a:gd name="T123" fmla="*/ 1084732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0185C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767BDB27-F028-4AB3-9E95-5B509E6F59B5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262109" y="3735486"/>
              <a:ext cx="1253787" cy="1291198"/>
            </a:xfrm>
            <a:custGeom>
              <a:avLst/>
              <a:gdLst>
                <a:gd name="T0" fmla="*/ 191099 w 2226"/>
                <a:gd name="T1" fmla="*/ 470410 h 2292"/>
                <a:gd name="T2" fmla="*/ 219329 w 2226"/>
                <a:gd name="T3" fmla="*/ 517136 h 2292"/>
                <a:gd name="T4" fmla="*/ 248429 w 2226"/>
                <a:gd name="T5" fmla="*/ 553361 h 2292"/>
                <a:gd name="T6" fmla="*/ 310970 w 2226"/>
                <a:gd name="T7" fmla="*/ 576462 h 2292"/>
                <a:gd name="T8" fmla="*/ 346584 w 2226"/>
                <a:gd name="T9" fmla="*/ 632113 h 2292"/>
                <a:gd name="T10" fmla="*/ 367431 w 2226"/>
                <a:gd name="T11" fmla="*/ 678314 h 2292"/>
                <a:gd name="T12" fmla="*/ 407823 w 2226"/>
                <a:gd name="T13" fmla="*/ 711390 h 2292"/>
                <a:gd name="T14" fmla="*/ 415640 w 2226"/>
                <a:gd name="T15" fmla="*/ 769666 h 2292"/>
                <a:gd name="T16" fmla="*/ 423892 w 2226"/>
                <a:gd name="T17" fmla="*/ 809042 h 2292"/>
                <a:gd name="T18" fmla="*/ 430841 w 2226"/>
                <a:gd name="T19" fmla="*/ 856818 h 2292"/>
                <a:gd name="T20" fmla="*/ 491211 w 2226"/>
                <a:gd name="T21" fmla="*/ 891469 h 2292"/>
                <a:gd name="T22" fmla="*/ 518139 w 2226"/>
                <a:gd name="T23" fmla="*/ 947645 h 2292"/>
                <a:gd name="T24" fmla="*/ 539855 w 2226"/>
                <a:gd name="T25" fmla="*/ 978620 h 2292"/>
                <a:gd name="T26" fmla="*/ 513796 w 2226"/>
                <a:gd name="T27" fmla="*/ 1051597 h 2292"/>
                <a:gd name="T28" fmla="*/ 470798 w 2226"/>
                <a:gd name="T29" fmla="*/ 1117223 h 2292"/>
                <a:gd name="T30" fmla="*/ 512493 w 2226"/>
                <a:gd name="T31" fmla="*/ 1134549 h 2292"/>
                <a:gd name="T32" fmla="*/ 562873 w 2226"/>
                <a:gd name="T33" fmla="*/ 1172874 h 2292"/>
                <a:gd name="T34" fmla="*/ 616294 w 2226"/>
                <a:gd name="T35" fmla="*/ 1153974 h 2292"/>
                <a:gd name="T36" fmla="*/ 659291 w 2226"/>
                <a:gd name="T37" fmla="*/ 1068922 h 2292"/>
                <a:gd name="T38" fmla="*/ 656686 w 2226"/>
                <a:gd name="T39" fmla="*/ 1006971 h 2292"/>
                <a:gd name="T40" fmla="*/ 677967 w 2226"/>
                <a:gd name="T41" fmla="*/ 941345 h 2292"/>
                <a:gd name="T42" fmla="*/ 740943 w 2226"/>
                <a:gd name="T43" fmla="*/ 906694 h 2292"/>
                <a:gd name="T44" fmla="*/ 780900 w 2226"/>
                <a:gd name="T45" fmla="*/ 882543 h 2292"/>
                <a:gd name="T46" fmla="*/ 823897 w 2226"/>
                <a:gd name="T47" fmla="*/ 861543 h 2292"/>
                <a:gd name="T48" fmla="*/ 860814 w 2226"/>
                <a:gd name="T49" fmla="*/ 735015 h 2292"/>
                <a:gd name="T50" fmla="*/ 874712 w 2226"/>
                <a:gd name="T51" fmla="*/ 676214 h 2292"/>
                <a:gd name="T52" fmla="*/ 869500 w 2226"/>
                <a:gd name="T53" fmla="*/ 572262 h 2292"/>
                <a:gd name="T54" fmla="*/ 900337 w 2226"/>
                <a:gd name="T55" fmla="*/ 529736 h 2292"/>
                <a:gd name="T56" fmla="*/ 951152 w 2226"/>
                <a:gd name="T57" fmla="*/ 460435 h 2292"/>
                <a:gd name="T58" fmla="*/ 965050 w 2226"/>
                <a:gd name="T59" fmla="*/ 384308 h 2292"/>
                <a:gd name="T60" fmla="*/ 936819 w 2226"/>
                <a:gd name="T61" fmla="*/ 314482 h 2292"/>
                <a:gd name="T62" fmla="*/ 894256 w 2226"/>
                <a:gd name="T63" fmla="*/ 295581 h 2292"/>
                <a:gd name="T64" fmla="*/ 834321 w 2226"/>
                <a:gd name="T65" fmla="*/ 242555 h 2292"/>
                <a:gd name="T66" fmla="*/ 756578 w 2226"/>
                <a:gd name="T67" fmla="*/ 236255 h 2292"/>
                <a:gd name="T68" fmla="*/ 725307 w 2226"/>
                <a:gd name="T69" fmla="*/ 234680 h 2292"/>
                <a:gd name="T70" fmla="*/ 710541 w 2226"/>
                <a:gd name="T71" fmla="*/ 206854 h 2292"/>
                <a:gd name="T72" fmla="*/ 656686 w 2226"/>
                <a:gd name="T73" fmla="*/ 182704 h 2292"/>
                <a:gd name="T74" fmla="*/ 612820 w 2226"/>
                <a:gd name="T75" fmla="*/ 214729 h 2292"/>
                <a:gd name="T76" fmla="*/ 581115 w 2226"/>
                <a:gd name="T77" fmla="*/ 212629 h 2292"/>
                <a:gd name="T78" fmla="*/ 541592 w 2226"/>
                <a:gd name="T79" fmla="*/ 201604 h 2292"/>
                <a:gd name="T80" fmla="*/ 571994 w 2226"/>
                <a:gd name="T81" fmla="*/ 140703 h 2292"/>
                <a:gd name="T82" fmla="*/ 581115 w 2226"/>
                <a:gd name="T83" fmla="*/ 96602 h 2292"/>
                <a:gd name="T84" fmla="*/ 560702 w 2226"/>
                <a:gd name="T85" fmla="*/ 35701 h 2292"/>
                <a:gd name="T86" fmla="*/ 488171 w 2226"/>
                <a:gd name="T87" fmla="*/ 70876 h 2292"/>
                <a:gd name="T88" fmla="*/ 435619 w 2226"/>
                <a:gd name="T89" fmla="*/ 89252 h 2292"/>
                <a:gd name="T90" fmla="*/ 416943 w 2226"/>
                <a:gd name="T91" fmla="*/ 98177 h 2292"/>
                <a:gd name="T92" fmla="*/ 352664 w 2226"/>
                <a:gd name="T93" fmla="*/ 92402 h 2292"/>
                <a:gd name="T94" fmla="*/ 352230 w 2226"/>
                <a:gd name="T95" fmla="*/ 35176 h 2292"/>
                <a:gd name="T96" fmla="*/ 323565 w 2226"/>
                <a:gd name="T97" fmla="*/ 0 h 2292"/>
                <a:gd name="T98" fmla="*/ 304021 w 2226"/>
                <a:gd name="T99" fmla="*/ 16275 h 2292"/>
                <a:gd name="T100" fmla="*/ 255812 w 2226"/>
                <a:gd name="T101" fmla="*/ 36751 h 2292"/>
                <a:gd name="T102" fmla="*/ 243217 w 2226"/>
                <a:gd name="T103" fmla="*/ 103952 h 2292"/>
                <a:gd name="T104" fmla="*/ 196745 w 2226"/>
                <a:gd name="T105" fmla="*/ 135453 h 2292"/>
                <a:gd name="T106" fmla="*/ 124214 w 2226"/>
                <a:gd name="T107" fmla="*/ 103427 h 2292"/>
                <a:gd name="T108" fmla="*/ 109882 w 2226"/>
                <a:gd name="T109" fmla="*/ 126003 h 2292"/>
                <a:gd name="T110" fmla="*/ 85995 w 2226"/>
                <a:gd name="T111" fmla="*/ 163278 h 2292"/>
                <a:gd name="T112" fmla="*/ 106842 w 2226"/>
                <a:gd name="T113" fmla="*/ 203704 h 2292"/>
                <a:gd name="T114" fmla="*/ 84257 w 2226"/>
                <a:gd name="T115" fmla="*/ 294006 h 2292"/>
                <a:gd name="T116" fmla="*/ 43432 w 2226"/>
                <a:gd name="T117" fmla="*/ 297681 h 2292"/>
                <a:gd name="T118" fmla="*/ 6949 w 2226"/>
                <a:gd name="T119" fmla="*/ 360682 h 2292"/>
                <a:gd name="T120" fmla="*/ 9555 w 2226"/>
                <a:gd name="T121" fmla="*/ 432609 h 2292"/>
                <a:gd name="T122" fmla="*/ 52118 w 2226"/>
                <a:gd name="T123" fmla="*/ 475135 h 2292"/>
                <a:gd name="T124" fmla="*/ 82954 w 2226"/>
                <a:gd name="T125" fmla="*/ 498235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0185C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E5DD5D60-C4CB-464B-8FA6-1CEFF6682382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6002323" y="2604410"/>
              <a:ext cx="90586" cy="52806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92955869-A156-4EDB-8D74-D54DD88D7A38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351753" y="2469840"/>
              <a:ext cx="107056" cy="172045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45343769-AF35-4E3E-B65F-29B419BB9D3B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456752" y="1917929"/>
              <a:ext cx="222347" cy="289583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0185C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C952AD8B-E334-47EB-9A60-EC67BEE1B765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922032" y="2243283"/>
              <a:ext cx="220287" cy="81764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EABF6B48-5997-4BF4-8254-2C0589621F99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857269" y="2081458"/>
              <a:ext cx="1661421" cy="1114041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D2BA6911-2469-410D-9205-EB1F08D25FD8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6160848" y="1589166"/>
              <a:ext cx="286167" cy="292990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8DF89174-4184-42BB-B20D-79D265DDFCDD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819093" y="2037169"/>
              <a:ext cx="236757" cy="255514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0185C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C0CCA2A9-D27C-4CB6-9C79-BD0046E28DB9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852033" y="2313124"/>
              <a:ext cx="325285" cy="294693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0185C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14F2C9C5-1E2B-49AD-A6D4-F1CDAA5E5D34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874679" y="2493688"/>
              <a:ext cx="43235" cy="88578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DFCA71F3-5499-4A04-A662-2B8BD1A9192B}"/>
                </a:ext>
              </a:extLst>
            </p:cNvPr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8882534" y="3631577"/>
              <a:ext cx="613512" cy="228259"/>
              <a:chOff x="4488" y="2394"/>
              <a:chExt cx="358" cy="124"/>
            </a:xfrm>
          </p:grpSpPr>
          <p:sp>
            <p:nvSpPr>
              <p:cNvPr id="550" name="Freeform 20">
                <a:extLst>
                  <a:ext uri="{FF2B5EF4-FFF2-40B4-BE49-F238E27FC236}">
                    <a16:creationId xmlns:a16="http://schemas.microsoft.com/office/drawing/2014/main" id="{CF3DEE32-8315-4B64-A090-C14FBF895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51" name="Freeform 21">
                <a:extLst>
                  <a:ext uri="{FF2B5EF4-FFF2-40B4-BE49-F238E27FC236}">
                    <a16:creationId xmlns:a16="http://schemas.microsoft.com/office/drawing/2014/main" id="{E5775FDA-75A9-40D0-BD8A-4322AA044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22" name="Freeform 22">
              <a:extLst>
                <a:ext uri="{FF2B5EF4-FFF2-40B4-BE49-F238E27FC236}">
                  <a16:creationId xmlns:a16="http://schemas.microsoft.com/office/drawing/2014/main" id="{7D0F0B4C-4E50-421F-AD40-BC76221FB2D4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6317315" y="1352391"/>
              <a:ext cx="3975472" cy="1153220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0185CF"/>
            </a:solidFill>
            <a:ln w="9525" cap="flat" cmpd="sng">
              <a:solidFill>
                <a:srgbClr val="FFFFFF">
                  <a:alpha val="99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" name="Freeform 23">
              <a:extLst>
                <a:ext uri="{FF2B5EF4-FFF2-40B4-BE49-F238E27FC236}">
                  <a16:creationId xmlns:a16="http://schemas.microsoft.com/office/drawing/2014/main" id="{D5A49F44-A2AC-42C3-BF62-04CC1DB6C917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362048" y="2411923"/>
              <a:ext cx="364400" cy="265735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" name="Freeform 24">
              <a:extLst>
                <a:ext uri="{FF2B5EF4-FFF2-40B4-BE49-F238E27FC236}">
                  <a16:creationId xmlns:a16="http://schemas.microsoft.com/office/drawing/2014/main" id="{5FCFB454-6F98-469C-AB3E-28CCF0142974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8775478" y="3204016"/>
              <a:ext cx="269698" cy="488884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" name="Freeform 25">
              <a:extLst>
                <a:ext uri="{FF2B5EF4-FFF2-40B4-BE49-F238E27FC236}">
                  <a16:creationId xmlns:a16="http://schemas.microsoft.com/office/drawing/2014/main" id="{09FE8F7B-B14C-47A6-BD34-9E9C3634666F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3729447" y="5765971"/>
              <a:ext cx="30882" cy="61324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" name="Line 26" descr="Horizontal dunkel">
              <a:extLst>
                <a:ext uri="{FF2B5EF4-FFF2-40B4-BE49-F238E27FC236}">
                  <a16:creationId xmlns:a16="http://schemas.microsoft.com/office/drawing/2014/main" id="{E0DA24D5-FA11-4078-B6E7-4FF8F55C1E5C}"/>
                </a:ext>
              </a:extLst>
            </p:cNvPr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1734506" y="2463026"/>
              <a:ext cx="4118" cy="1022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7" name="Freeform 27">
              <a:extLst>
                <a:ext uri="{FF2B5EF4-FFF2-40B4-BE49-F238E27FC236}">
                  <a16:creationId xmlns:a16="http://schemas.microsoft.com/office/drawing/2014/main" id="{455E02E3-5299-43A6-92A3-36511EEC253D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738623" y="2459619"/>
              <a:ext cx="4118" cy="59620"/>
            </a:xfrm>
            <a:custGeom>
              <a:avLst/>
              <a:gdLst>
                <a:gd name="T0" fmla="*/ 0 w 6"/>
                <a:gd name="T1" fmla="*/ 55562 h 24"/>
                <a:gd name="T2" fmla="*/ 0 w 6"/>
                <a:gd name="T3" fmla="*/ 43987 h 24"/>
                <a:gd name="T4" fmla="*/ 529 w 6"/>
                <a:gd name="T5" fmla="*/ 32411 h 24"/>
                <a:gd name="T6" fmla="*/ 1588 w 6"/>
                <a:gd name="T7" fmla="*/ 18521 h 24"/>
                <a:gd name="T8" fmla="*/ 3175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8" name="Freeform 28">
              <a:extLst>
                <a:ext uri="{FF2B5EF4-FFF2-40B4-BE49-F238E27FC236}">
                  <a16:creationId xmlns:a16="http://schemas.microsoft.com/office/drawing/2014/main" id="{509F7BC9-7147-4E78-BCF5-AB333190CDDB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1707741" y="2517536"/>
              <a:ext cx="30882" cy="61324"/>
            </a:xfrm>
            <a:custGeom>
              <a:avLst/>
              <a:gdLst>
                <a:gd name="T0" fmla="*/ 0 w 47"/>
                <a:gd name="T1" fmla="*/ 20472 h 67"/>
                <a:gd name="T2" fmla="*/ 0 w 47"/>
                <a:gd name="T3" fmla="*/ 25590 h 67"/>
                <a:gd name="T4" fmla="*/ 1013 w 47"/>
                <a:gd name="T5" fmla="*/ 30707 h 67"/>
                <a:gd name="T6" fmla="*/ 1520 w 47"/>
                <a:gd name="T7" fmla="*/ 35825 h 67"/>
                <a:gd name="T8" fmla="*/ 2533 w 47"/>
                <a:gd name="T9" fmla="*/ 40090 h 67"/>
                <a:gd name="T10" fmla="*/ 4560 w 47"/>
                <a:gd name="T11" fmla="*/ 49473 h 67"/>
                <a:gd name="T12" fmla="*/ 7093 w 47"/>
                <a:gd name="T13" fmla="*/ 57150 h 67"/>
                <a:gd name="T14" fmla="*/ 23813 w 47"/>
                <a:gd name="T15" fmla="*/ 57150 h 67"/>
                <a:gd name="T16" fmla="*/ 23813 w 47"/>
                <a:gd name="T17" fmla="*/ 0 h 67"/>
                <a:gd name="T18" fmla="*/ 18240 w 47"/>
                <a:gd name="T19" fmla="*/ 1706 h 67"/>
                <a:gd name="T20" fmla="*/ 13173 w 47"/>
                <a:gd name="T21" fmla="*/ 3412 h 67"/>
                <a:gd name="T22" fmla="*/ 9120 w 47"/>
                <a:gd name="T23" fmla="*/ 5971 h 67"/>
                <a:gd name="T24" fmla="*/ 5573 w 47"/>
                <a:gd name="T25" fmla="*/ 7677 h 67"/>
                <a:gd name="T26" fmla="*/ 3040 w 47"/>
                <a:gd name="T27" fmla="*/ 10236 h 67"/>
                <a:gd name="T28" fmla="*/ 1520 w 47"/>
                <a:gd name="T29" fmla="*/ 13648 h 67"/>
                <a:gd name="T30" fmla="*/ 0 w 47"/>
                <a:gd name="T31" fmla="*/ 17060 h 67"/>
                <a:gd name="T32" fmla="*/ 0 w 47"/>
                <a:gd name="T33" fmla="*/ 20472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" name="Freeform 29">
              <a:extLst>
                <a:ext uri="{FF2B5EF4-FFF2-40B4-BE49-F238E27FC236}">
                  <a16:creationId xmlns:a16="http://schemas.microsoft.com/office/drawing/2014/main" id="{5DADBD3D-13F7-4485-BFCD-84B7BD112087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426811" y="2512425"/>
              <a:ext cx="63821" cy="61324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" name="Freeform 30">
              <a:extLst>
                <a:ext uri="{FF2B5EF4-FFF2-40B4-BE49-F238E27FC236}">
                  <a16:creationId xmlns:a16="http://schemas.microsoft.com/office/drawing/2014/main" id="{022FE3AA-E666-4155-8427-0C254868CC1B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978177" y="2037169"/>
              <a:ext cx="1134380" cy="485476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" name="Freeform 31">
              <a:extLst>
                <a:ext uri="{FF2B5EF4-FFF2-40B4-BE49-F238E27FC236}">
                  <a16:creationId xmlns:a16="http://schemas.microsoft.com/office/drawing/2014/main" id="{BCFD279C-E721-4024-8820-0E48DE356C14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7276699" y="2362523"/>
              <a:ext cx="531160" cy="267439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2" name="Freeform 32">
              <a:extLst>
                <a:ext uri="{FF2B5EF4-FFF2-40B4-BE49-F238E27FC236}">
                  <a16:creationId xmlns:a16="http://schemas.microsoft.com/office/drawing/2014/main" id="{614A75D3-40AF-4068-973A-E41E7D2960D8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730566" y="3439090"/>
              <a:ext cx="384989" cy="310024"/>
            </a:xfrm>
            <a:custGeom>
              <a:avLst/>
              <a:gdLst>
                <a:gd name="T0" fmla="*/ 2655 w 671"/>
                <a:gd name="T1" fmla="*/ 201563 h 549"/>
                <a:gd name="T2" fmla="*/ 3539 w 671"/>
                <a:gd name="T3" fmla="*/ 166303 h 549"/>
                <a:gd name="T4" fmla="*/ 7521 w 671"/>
                <a:gd name="T5" fmla="*/ 151041 h 549"/>
                <a:gd name="T6" fmla="*/ 23006 w 671"/>
                <a:gd name="T7" fmla="*/ 125253 h 549"/>
                <a:gd name="T8" fmla="*/ 31412 w 671"/>
                <a:gd name="T9" fmla="*/ 107886 h 549"/>
                <a:gd name="T10" fmla="*/ 32297 w 671"/>
                <a:gd name="T11" fmla="*/ 87888 h 549"/>
                <a:gd name="T12" fmla="*/ 32297 w 671"/>
                <a:gd name="T13" fmla="*/ 72100 h 549"/>
                <a:gd name="T14" fmla="*/ 23891 w 671"/>
                <a:gd name="T15" fmla="*/ 56838 h 549"/>
                <a:gd name="T16" fmla="*/ 26988 w 671"/>
                <a:gd name="T17" fmla="*/ 41576 h 549"/>
                <a:gd name="T18" fmla="*/ 33624 w 671"/>
                <a:gd name="T19" fmla="*/ 26314 h 549"/>
                <a:gd name="T20" fmla="*/ 42472 w 671"/>
                <a:gd name="T21" fmla="*/ 13157 h 549"/>
                <a:gd name="T22" fmla="*/ 53090 w 671"/>
                <a:gd name="T23" fmla="*/ 3684 h 549"/>
                <a:gd name="T24" fmla="*/ 64593 w 671"/>
                <a:gd name="T25" fmla="*/ 0 h 549"/>
                <a:gd name="T26" fmla="*/ 76538 w 671"/>
                <a:gd name="T27" fmla="*/ 2631 h 549"/>
                <a:gd name="T28" fmla="*/ 91138 w 671"/>
                <a:gd name="T29" fmla="*/ 13683 h 549"/>
                <a:gd name="T30" fmla="*/ 104411 w 671"/>
                <a:gd name="T31" fmla="*/ 23682 h 549"/>
                <a:gd name="T32" fmla="*/ 114586 w 671"/>
                <a:gd name="T33" fmla="*/ 26314 h 549"/>
                <a:gd name="T34" fmla="*/ 120338 w 671"/>
                <a:gd name="T35" fmla="*/ 23156 h 549"/>
                <a:gd name="T36" fmla="*/ 125647 w 671"/>
                <a:gd name="T37" fmla="*/ 18420 h 549"/>
                <a:gd name="T38" fmla="*/ 132726 w 671"/>
                <a:gd name="T39" fmla="*/ 16841 h 549"/>
                <a:gd name="T40" fmla="*/ 140689 w 671"/>
                <a:gd name="T41" fmla="*/ 20525 h 549"/>
                <a:gd name="T42" fmla="*/ 149095 w 671"/>
                <a:gd name="T43" fmla="*/ 34208 h 549"/>
                <a:gd name="T44" fmla="*/ 156174 w 671"/>
                <a:gd name="T45" fmla="*/ 41576 h 549"/>
                <a:gd name="T46" fmla="*/ 163695 w 671"/>
                <a:gd name="T47" fmla="*/ 42628 h 549"/>
                <a:gd name="T48" fmla="*/ 168562 w 671"/>
                <a:gd name="T49" fmla="*/ 39471 h 549"/>
                <a:gd name="T50" fmla="*/ 175640 w 671"/>
                <a:gd name="T51" fmla="*/ 29471 h 549"/>
                <a:gd name="T52" fmla="*/ 185373 w 671"/>
                <a:gd name="T53" fmla="*/ 19998 h 549"/>
                <a:gd name="T54" fmla="*/ 202628 w 671"/>
                <a:gd name="T55" fmla="*/ 11578 h 549"/>
                <a:gd name="T56" fmla="*/ 215458 w 671"/>
                <a:gd name="T57" fmla="*/ 13157 h 549"/>
                <a:gd name="T58" fmla="*/ 226076 w 671"/>
                <a:gd name="T59" fmla="*/ 18420 h 549"/>
                <a:gd name="T60" fmla="*/ 237579 w 671"/>
                <a:gd name="T61" fmla="*/ 22630 h 549"/>
                <a:gd name="T62" fmla="*/ 252621 w 671"/>
                <a:gd name="T63" fmla="*/ 20525 h 549"/>
                <a:gd name="T64" fmla="*/ 285803 w 671"/>
                <a:gd name="T65" fmla="*/ 35260 h 549"/>
                <a:gd name="T66" fmla="*/ 294208 w 671"/>
                <a:gd name="T67" fmla="*/ 55259 h 549"/>
                <a:gd name="T68" fmla="*/ 275627 w 671"/>
                <a:gd name="T69" fmla="*/ 96308 h 549"/>
                <a:gd name="T70" fmla="*/ 262354 w 671"/>
                <a:gd name="T71" fmla="*/ 122622 h 549"/>
                <a:gd name="T72" fmla="*/ 252179 w 671"/>
                <a:gd name="T73" fmla="*/ 153146 h 549"/>
                <a:gd name="T74" fmla="*/ 243330 w 671"/>
                <a:gd name="T75" fmla="*/ 180512 h 549"/>
                <a:gd name="T76" fmla="*/ 232270 w 671"/>
                <a:gd name="T77" fmla="*/ 214194 h 549"/>
                <a:gd name="T78" fmla="*/ 228288 w 671"/>
                <a:gd name="T79" fmla="*/ 222088 h 549"/>
                <a:gd name="T80" fmla="*/ 221209 w 671"/>
                <a:gd name="T81" fmla="*/ 231035 h 549"/>
                <a:gd name="T82" fmla="*/ 213246 w 671"/>
                <a:gd name="T83" fmla="*/ 233140 h 549"/>
                <a:gd name="T84" fmla="*/ 203070 w 671"/>
                <a:gd name="T85" fmla="*/ 227351 h 549"/>
                <a:gd name="T86" fmla="*/ 194664 w 671"/>
                <a:gd name="T87" fmla="*/ 221562 h 549"/>
                <a:gd name="T88" fmla="*/ 180507 w 671"/>
                <a:gd name="T89" fmla="*/ 223141 h 549"/>
                <a:gd name="T90" fmla="*/ 168562 w 671"/>
                <a:gd name="T91" fmla="*/ 232087 h 549"/>
                <a:gd name="T92" fmla="*/ 161040 w 671"/>
                <a:gd name="T93" fmla="*/ 246823 h 549"/>
                <a:gd name="T94" fmla="*/ 151307 w 671"/>
                <a:gd name="T95" fmla="*/ 274189 h 549"/>
                <a:gd name="T96" fmla="*/ 143786 w 671"/>
                <a:gd name="T97" fmla="*/ 288925 h 549"/>
                <a:gd name="T98" fmla="*/ 101314 w 671"/>
                <a:gd name="T99" fmla="*/ 287346 h 549"/>
                <a:gd name="T100" fmla="*/ 96005 w 671"/>
                <a:gd name="T101" fmla="*/ 288399 h 549"/>
                <a:gd name="T102" fmla="*/ 79193 w 671"/>
                <a:gd name="T103" fmla="*/ 285767 h 549"/>
                <a:gd name="T104" fmla="*/ 71229 w 671"/>
                <a:gd name="T105" fmla="*/ 284189 h 549"/>
                <a:gd name="T106" fmla="*/ 63708 w 671"/>
                <a:gd name="T107" fmla="*/ 279452 h 549"/>
                <a:gd name="T108" fmla="*/ 57072 w 671"/>
                <a:gd name="T109" fmla="*/ 271032 h 549"/>
                <a:gd name="T110" fmla="*/ 52648 w 671"/>
                <a:gd name="T111" fmla="*/ 261032 h 549"/>
                <a:gd name="T112" fmla="*/ 49993 w 671"/>
                <a:gd name="T113" fmla="*/ 248402 h 549"/>
                <a:gd name="T114" fmla="*/ 44242 w 671"/>
                <a:gd name="T115" fmla="*/ 242087 h 549"/>
                <a:gd name="T116" fmla="*/ 36721 w 671"/>
                <a:gd name="T117" fmla="*/ 235245 h 549"/>
                <a:gd name="T118" fmla="*/ 27872 w 671"/>
                <a:gd name="T119" fmla="*/ 227351 h 549"/>
                <a:gd name="T120" fmla="*/ 17254 w 671"/>
                <a:gd name="T121" fmla="*/ 225772 h 549"/>
                <a:gd name="T122" fmla="*/ 0 w 671"/>
                <a:gd name="T123" fmla="*/ 23050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3" name="Freeform 33">
              <a:extLst>
                <a:ext uri="{FF2B5EF4-FFF2-40B4-BE49-F238E27FC236}">
                  <a16:creationId xmlns:a16="http://schemas.microsoft.com/office/drawing/2014/main" id="{5132DA06-E8E1-4C2A-8E21-0CA5D7AAA596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6823770" y="3294299"/>
              <a:ext cx="197642" cy="182267"/>
            </a:xfrm>
            <a:custGeom>
              <a:avLst/>
              <a:gdLst>
                <a:gd name="T0" fmla="*/ 138778 w 358"/>
                <a:gd name="T1" fmla="*/ 168304 h 327"/>
                <a:gd name="T2" fmla="*/ 140906 w 358"/>
                <a:gd name="T3" fmla="*/ 166745 h 327"/>
                <a:gd name="T4" fmla="*/ 143460 w 358"/>
                <a:gd name="T5" fmla="*/ 165187 h 327"/>
                <a:gd name="T6" fmla="*/ 147292 w 358"/>
                <a:gd name="T7" fmla="*/ 165187 h 327"/>
                <a:gd name="T8" fmla="*/ 151549 w 358"/>
                <a:gd name="T9" fmla="*/ 168304 h 327"/>
                <a:gd name="T10" fmla="*/ 135798 w 358"/>
                <a:gd name="T11" fmla="*/ 148045 h 327"/>
                <a:gd name="T12" fmla="*/ 118344 w 358"/>
                <a:gd name="T13" fmla="*/ 122072 h 327"/>
                <a:gd name="T14" fmla="*/ 107702 w 358"/>
                <a:gd name="T15" fmla="*/ 105969 h 327"/>
                <a:gd name="T16" fmla="*/ 98762 w 358"/>
                <a:gd name="T17" fmla="*/ 96619 h 327"/>
                <a:gd name="T18" fmla="*/ 93228 w 358"/>
                <a:gd name="T19" fmla="*/ 94021 h 327"/>
                <a:gd name="T20" fmla="*/ 88545 w 358"/>
                <a:gd name="T21" fmla="*/ 93502 h 327"/>
                <a:gd name="T22" fmla="*/ 85565 w 358"/>
                <a:gd name="T23" fmla="*/ 92983 h 327"/>
                <a:gd name="T24" fmla="*/ 84714 w 358"/>
                <a:gd name="T25" fmla="*/ 90385 h 327"/>
                <a:gd name="T26" fmla="*/ 84288 w 358"/>
                <a:gd name="T27" fmla="*/ 88307 h 327"/>
                <a:gd name="T28" fmla="*/ 83011 w 358"/>
                <a:gd name="T29" fmla="*/ 87788 h 327"/>
                <a:gd name="T30" fmla="*/ 78328 w 358"/>
                <a:gd name="T31" fmla="*/ 89346 h 327"/>
                <a:gd name="T32" fmla="*/ 72794 w 358"/>
                <a:gd name="T33" fmla="*/ 89346 h 327"/>
                <a:gd name="T34" fmla="*/ 70240 w 358"/>
                <a:gd name="T35" fmla="*/ 87269 h 327"/>
                <a:gd name="T36" fmla="*/ 68112 w 358"/>
                <a:gd name="T37" fmla="*/ 83632 h 327"/>
                <a:gd name="T38" fmla="*/ 64706 w 358"/>
                <a:gd name="T39" fmla="*/ 74802 h 327"/>
                <a:gd name="T40" fmla="*/ 60875 w 358"/>
                <a:gd name="T41" fmla="*/ 68049 h 327"/>
                <a:gd name="T42" fmla="*/ 56618 w 358"/>
                <a:gd name="T43" fmla="*/ 61815 h 327"/>
                <a:gd name="T44" fmla="*/ 54064 w 358"/>
                <a:gd name="T45" fmla="*/ 54543 h 327"/>
                <a:gd name="T46" fmla="*/ 51935 w 358"/>
                <a:gd name="T47" fmla="*/ 43634 h 327"/>
                <a:gd name="T48" fmla="*/ 50658 w 358"/>
                <a:gd name="T49" fmla="*/ 27531 h 327"/>
                <a:gd name="T50" fmla="*/ 49807 w 358"/>
                <a:gd name="T51" fmla="*/ 11947 h 327"/>
                <a:gd name="T52" fmla="*/ 47678 w 358"/>
                <a:gd name="T53" fmla="*/ 0 h 327"/>
                <a:gd name="T54" fmla="*/ 31076 w 358"/>
                <a:gd name="T55" fmla="*/ 13506 h 327"/>
                <a:gd name="T56" fmla="*/ 25968 w 358"/>
                <a:gd name="T57" fmla="*/ 17142 h 327"/>
                <a:gd name="T58" fmla="*/ 14048 w 358"/>
                <a:gd name="T59" fmla="*/ 25973 h 327"/>
                <a:gd name="T60" fmla="*/ 8940 w 358"/>
                <a:gd name="T61" fmla="*/ 31687 h 327"/>
                <a:gd name="T62" fmla="*/ 7237 w 358"/>
                <a:gd name="T63" fmla="*/ 37401 h 327"/>
                <a:gd name="T64" fmla="*/ 6811 w 358"/>
                <a:gd name="T65" fmla="*/ 43115 h 327"/>
                <a:gd name="T66" fmla="*/ 8514 w 358"/>
                <a:gd name="T67" fmla="*/ 48309 h 327"/>
                <a:gd name="T68" fmla="*/ 9365 w 358"/>
                <a:gd name="T69" fmla="*/ 51946 h 327"/>
                <a:gd name="T70" fmla="*/ 8514 w 358"/>
                <a:gd name="T71" fmla="*/ 57140 h 327"/>
                <a:gd name="T72" fmla="*/ 6385 w 358"/>
                <a:gd name="T73" fmla="*/ 63893 h 327"/>
                <a:gd name="T74" fmla="*/ 2980 w 358"/>
                <a:gd name="T75" fmla="*/ 70646 h 327"/>
                <a:gd name="T76" fmla="*/ 0 w 358"/>
                <a:gd name="T77" fmla="*/ 80516 h 327"/>
                <a:gd name="T78" fmla="*/ 0 w 358"/>
                <a:gd name="T79" fmla="*/ 90385 h 327"/>
                <a:gd name="T80" fmla="*/ 2128 w 358"/>
                <a:gd name="T81" fmla="*/ 94541 h 327"/>
                <a:gd name="T82" fmla="*/ 4683 w 358"/>
                <a:gd name="T83" fmla="*/ 97138 h 327"/>
                <a:gd name="T84" fmla="*/ 8514 w 358"/>
                <a:gd name="T85" fmla="*/ 96619 h 327"/>
                <a:gd name="T86" fmla="*/ 18731 w 358"/>
                <a:gd name="T87" fmla="*/ 87269 h 327"/>
                <a:gd name="T88" fmla="*/ 25542 w 358"/>
                <a:gd name="T89" fmla="*/ 83632 h 327"/>
                <a:gd name="T90" fmla="*/ 32353 w 358"/>
                <a:gd name="T91" fmla="*/ 77918 h 327"/>
                <a:gd name="T92" fmla="*/ 39590 w 358"/>
                <a:gd name="T93" fmla="*/ 82593 h 327"/>
                <a:gd name="T94" fmla="*/ 46827 w 358"/>
                <a:gd name="T95" fmla="*/ 85191 h 327"/>
                <a:gd name="T96" fmla="*/ 60449 w 358"/>
                <a:gd name="T97" fmla="*/ 93502 h 327"/>
                <a:gd name="T98" fmla="*/ 69389 w 358"/>
                <a:gd name="T99" fmla="*/ 98697 h 327"/>
                <a:gd name="T100" fmla="*/ 83437 w 358"/>
                <a:gd name="T101" fmla="*/ 108566 h 327"/>
                <a:gd name="T102" fmla="*/ 93228 w 358"/>
                <a:gd name="T103" fmla="*/ 116878 h 327"/>
                <a:gd name="T104" fmla="*/ 104296 w 358"/>
                <a:gd name="T105" fmla="*/ 126747 h 327"/>
                <a:gd name="T106" fmla="*/ 108979 w 358"/>
                <a:gd name="T107" fmla="*/ 131942 h 327"/>
                <a:gd name="T108" fmla="*/ 113661 w 358"/>
                <a:gd name="T109" fmla="*/ 140253 h 327"/>
                <a:gd name="T110" fmla="*/ 114513 w 358"/>
                <a:gd name="T111" fmla="*/ 144928 h 327"/>
                <a:gd name="T112" fmla="*/ 114513 w 358"/>
                <a:gd name="T113" fmla="*/ 148564 h 327"/>
                <a:gd name="T114" fmla="*/ 114939 w 358"/>
                <a:gd name="T115" fmla="*/ 150642 h 327"/>
                <a:gd name="T116" fmla="*/ 117493 w 358"/>
                <a:gd name="T117" fmla="*/ 151681 h 327"/>
                <a:gd name="T118" fmla="*/ 124304 w 358"/>
                <a:gd name="T119" fmla="*/ 156876 h 327"/>
                <a:gd name="T120" fmla="*/ 135372 w 358"/>
                <a:gd name="T121" fmla="*/ 166745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4" name="Freeform 34">
              <a:extLst>
                <a:ext uri="{FF2B5EF4-FFF2-40B4-BE49-F238E27FC236}">
                  <a16:creationId xmlns:a16="http://schemas.microsoft.com/office/drawing/2014/main" id="{CCCC86FB-FFD3-4C59-B1B2-5B0BF80A5DFA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6125849" y="2226249"/>
              <a:ext cx="162643" cy="61324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5" name="Freeform 35">
              <a:extLst>
                <a:ext uri="{FF2B5EF4-FFF2-40B4-BE49-F238E27FC236}">
                  <a16:creationId xmlns:a16="http://schemas.microsoft.com/office/drawing/2014/main" id="{312FC98E-8996-4165-A231-A6EACB6DB4CC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7245816" y="2999605"/>
              <a:ext cx="24705" cy="61324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6" name="Freeform 36">
              <a:extLst>
                <a:ext uri="{FF2B5EF4-FFF2-40B4-BE49-F238E27FC236}">
                  <a16:creationId xmlns:a16="http://schemas.microsoft.com/office/drawing/2014/main" id="{3EC84544-E1E8-47AC-BD74-CD45F5F22186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7400225" y="3004716"/>
              <a:ext cx="18528" cy="61324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7" name="Freeform 37">
              <a:extLst>
                <a:ext uri="{FF2B5EF4-FFF2-40B4-BE49-F238E27FC236}">
                  <a16:creationId xmlns:a16="http://schemas.microsoft.com/office/drawing/2014/main" id="{E08B10B7-FB52-47A9-9CDE-904D5ED1EF3A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9329285" y="3713342"/>
              <a:ext cx="57645" cy="61324"/>
            </a:xfrm>
            <a:custGeom>
              <a:avLst/>
              <a:gdLst>
                <a:gd name="T0" fmla="*/ 0 w 106"/>
                <a:gd name="T1" fmla="*/ 5635 h 71"/>
                <a:gd name="T2" fmla="*/ 5032 w 106"/>
                <a:gd name="T3" fmla="*/ 8049 h 71"/>
                <a:gd name="T4" fmla="*/ 10064 w 106"/>
                <a:gd name="T5" fmla="*/ 9659 h 71"/>
                <a:gd name="T6" fmla="*/ 14677 w 106"/>
                <a:gd name="T7" fmla="*/ 10464 h 71"/>
                <a:gd name="T8" fmla="*/ 18870 w 106"/>
                <a:gd name="T9" fmla="*/ 10464 h 71"/>
                <a:gd name="T10" fmla="*/ 22644 w 106"/>
                <a:gd name="T11" fmla="*/ 8854 h 71"/>
                <a:gd name="T12" fmla="*/ 25580 w 106"/>
                <a:gd name="T13" fmla="*/ 6439 h 71"/>
                <a:gd name="T14" fmla="*/ 28515 w 106"/>
                <a:gd name="T15" fmla="*/ 4025 h 71"/>
                <a:gd name="T16" fmla="*/ 31031 w 106"/>
                <a:gd name="T17" fmla="*/ 0 h 71"/>
                <a:gd name="T18" fmla="*/ 35225 w 106"/>
                <a:gd name="T19" fmla="*/ 12879 h 71"/>
                <a:gd name="T20" fmla="*/ 39418 w 106"/>
                <a:gd name="T21" fmla="*/ 24148 h 71"/>
                <a:gd name="T22" fmla="*/ 42353 w 106"/>
                <a:gd name="T23" fmla="*/ 35417 h 71"/>
                <a:gd name="T24" fmla="*/ 44031 w 106"/>
                <a:gd name="T25" fmla="*/ 44271 h 71"/>
                <a:gd name="T26" fmla="*/ 44450 w 106"/>
                <a:gd name="T27" fmla="*/ 48296 h 71"/>
                <a:gd name="T28" fmla="*/ 44450 w 106"/>
                <a:gd name="T29" fmla="*/ 50711 h 71"/>
                <a:gd name="T30" fmla="*/ 44031 w 106"/>
                <a:gd name="T31" fmla="*/ 53930 h 71"/>
                <a:gd name="T32" fmla="*/ 43192 w 106"/>
                <a:gd name="T33" fmla="*/ 55540 h 71"/>
                <a:gd name="T34" fmla="*/ 42353 w 106"/>
                <a:gd name="T35" fmla="*/ 56345 h 71"/>
                <a:gd name="T36" fmla="*/ 41095 w 106"/>
                <a:gd name="T37" fmla="*/ 56345 h 71"/>
                <a:gd name="T38" fmla="*/ 38579 w 106"/>
                <a:gd name="T39" fmla="*/ 56345 h 71"/>
                <a:gd name="T40" fmla="*/ 36483 w 106"/>
                <a:gd name="T41" fmla="*/ 54735 h 71"/>
                <a:gd name="T42" fmla="*/ 31031 w 106"/>
                <a:gd name="T43" fmla="*/ 56345 h 71"/>
                <a:gd name="T44" fmla="*/ 26418 w 106"/>
                <a:gd name="T45" fmla="*/ 57150 h 71"/>
                <a:gd name="T46" fmla="*/ 22225 w 106"/>
                <a:gd name="T47" fmla="*/ 55540 h 71"/>
                <a:gd name="T48" fmla="*/ 18870 w 106"/>
                <a:gd name="T49" fmla="*/ 53125 h 71"/>
                <a:gd name="T50" fmla="*/ 15516 w 106"/>
                <a:gd name="T51" fmla="*/ 49906 h 71"/>
                <a:gd name="T52" fmla="*/ 13419 w 106"/>
                <a:gd name="T53" fmla="*/ 45881 h 71"/>
                <a:gd name="T54" fmla="*/ 11322 w 106"/>
                <a:gd name="T55" fmla="*/ 41051 h 71"/>
                <a:gd name="T56" fmla="*/ 10064 w 106"/>
                <a:gd name="T57" fmla="*/ 36222 h 71"/>
                <a:gd name="T58" fmla="*/ 8806 w 106"/>
                <a:gd name="T59" fmla="*/ 30587 h 71"/>
                <a:gd name="T60" fmla="*/ 8387 w 106"/>
                <a:gd name="T61" fmla="*/ 24148 h 71"/>
                <a:gd name="T62" fmla="*/ 7967 w 106"/>
                <a:gd name="T63" fmla="*/ 19318 h 71"/>
                <a:gd name="T64" fmla="*/ 7548 w 106"/>
                <a:gd name="T65" fmla="*/ 15294 h 71"/>
                <a:gd name="T66" fmla="*/ 7548 w 106"/>
                <a:gd name="T67" fmla="*/ 11269 h 71"/>
                <a:gd name="T68" fmla="*/ 7967 w 106"/>
                <a:gd name="T69" fmla="*/ 8049 h 71"/>
                <a:gd name="T70" fmla="*/ 8387 w 106"/>
                <a:gd name="T71" fmla="*/ 5635 h 71"/>
                <a:gd name="T72" fmla="*/ 8806 w 106"/>
                <a:gd name="T73" fmla="*/ 5635 h 71"/>
                <a:gd name="T74" fmla="*/ 8387 w 106"/>
                <a:gd name="T75" fmla="*/ 8049 h 71"/>
                <a:gd name="T76" fmla="*/ 7967 w 106"/>
                <a:gd name="T77" fmla="*/ 12879 h 71"/>
                <a:gd name="T78" fmla="*/ 7967 w 106"/>
                <a:gd name="T79" fmla="*/ 13684 h 71"/>
                <a:gd name="T80" fmla="*/ 7967 w 106"/>
                <a:gd name="T81" fmla="*/ 13684 h 71"/>
                <a:gd name="T82" fmla="*/ 8387 w 106"/>
                <a:gd name="T83" fmla="*/ 13684 h 71"/>
                <a:gd name="T84" fmla="*/ 8806 w 106"/>
                <a:gd name="T85" fmla="*/ 13684 h 71"/>
                <a:gd name="T86" fmla="*/ 9645 w 106"/>
                <a:gd name="T87" fmla="*/ 10464 h 71"/>
                <a:gd name="T88" fmla="*/ 11322 w 106"/>
                <a:gd name="T89" fmla="*/ 5635 h 71"/>
                <a:gd name="T90" fmla="*/ 0 w 106"/>
                <a:gd name="T91" fmla="*/ 5635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38" name="Group 38">
              <a:extLst>
                <a:ext uri="{FF2B5EF4-FFF2-40B4-BE49-F238E27FC236}">
                  <a16:creationId xmlns:a16="http://schemas.microsoft.com/office/drawing/2014/main" id="{8F61CBEA-D5D1-49DF-A06E-1F1478871E85}"/>
                </a:ext>
              </a:extLst>
            </p:cNvPr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3949736" y="5653546"/>
              <a:ext cx="84409" cy="59620"/>
              <a:chOff x="1654" y="3671"/>
              <a:chExt cx="49" cy="17"/>
            </a:xfrm>
          </p:grpSpPr>
          <p:sp>
            <p:nvSpPr>
              <p:cNvPr id="548" name="Freeform 39">
                <a:extLst>
                  <a:ext uri="{FF2B5EF4-FFF2-40B4-BE49-F238E27FC236}">
                    <a16:creationId xmlns:a16="http://schemas.microsoft.com/office/drawing/2014/main" id="{50D9A693-3FD4-4E71-8232-E78EE4F694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9 w 59"/>
                  <a:gd name="T1" fmla="*/ 14 h 43"/>
                  <a:gd name="T2" fmla="*/ 20 w 59"/>
                  <a:gd name="T3" fmla="*/ 6 h 43"/>
                  <a:gd name="T4" fmla="*/ 19 w 59"/>
                  <a:gd name="T5" fmla="*/ 5 h 43"/>
                  <a:gd name="T6" fmla="*/ 17 w 59"/>
                  <a:gd name="T7" fmla="*/ 3 h 43"/>
                  <a:gd name="T8" fmla="*/ 16 w 59"/>
                  <a:gd name="T9" fmla="*/ 2 h 43"/>
                  <a:gd name="T10" fmla="*/ 16 w 59"/>
                  <a:gd name="T11" fmla="*/ 0 h 43"/>
                  <a:gd name="T12" fmla="*/ 14 w 59"/>
                  <a:gd name="T13" fmla="*/ 0 h 43"/>
                  <a:gd name="T14" fmla="*/ 12 w 59"/>
                  <a:gd name="T15" fmla="*/ 1 h 43"/>
                  <a:gd name="T16" fmla="*/ 11 w 59"/>
                  <a:gd name="T17" fmla="*/ 2 h 43"/>
                  <a:gd name="T18" fmla="*/ 10 w 59"/>
                  <a:gd name="T19" fmla="*/ 3 h 43"/>
                  <a:gd name="T20" fmla="*/ 9 w 59"/>
                  <a:gd name="T21" fmla="*/ 3 h 43"/>
                  <a:gd name="T22" fmla="*/ 9 w 59"/>
                  <a:gd name="T23" fmla="*/ 4 h 43"/>
                  <a:gd name="T24" fmla="*/ 7 w 59"/>
                  <a:gd name="T25" fmla="*/ 4 h 43"/>
                  <a:gd name="T26" fmla="*/ 4 w 59"/>
                  <a:gd name="T27" fmla="*/ 5 h 43"/>
                  <a:gd name="T28" fmla="*/ 2 w 59"/>
                  <a:gd name="T29" fmla="*/ 7 h 43"/>
                  <a:gd name="T30" fmla="*/ 0 w 59"/>
                  <a:gd name="T31" fmla="*/ 8 h 43"/>
                  <a:gd name="T32" fmla="*/ 2 w 59"/>
                  <a:gd name="T33" fmla="*/ 9 h 43"/>
                  <a:gd name="T34" fmla="*/ 3 w 59"/>
                  <a:gd name="T35" fmla="*/ 11 h 43"/>
                  <a:gd name="T36" fmla="*/ 6 w 59"/>
                  <a:gd name="T37" fmla="*/ 13 h 43"/>
                  <a:gd name="T38" fmla="*/ 9 w 59"/>
                  <a:gd name="T39" fmla="*/ 14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49" name="Freeform 40">
                <a:extLst>
                  <a:ext uri="{FF2B5EF4-FFF2-40B4-BE49-F238E27FC236}">
                    <a16:creationId xmlns:a16="http://schemas.microsoft.com/office/drawing/2014/main" id="{33C25010-3991-437E-8487-70D4CAB093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1 h 51"/>
                  <a:gd name="T2" fmla="*/ 8 w 67"/>
                  <a:gd name="T3" fmla="*/ 0 h 51"/>
                  <a:gd name="T4" fmla="*/ 13 w 67"/>
                  <a:gd name="T5" fmla="*/ 0 h 51"/>
                  <a:gd name="T6" fmla="*/ 15 w 67"/>
                  <a:gd name="T7" fmla="*/ 0 h 51"/>
                  <a:gd name="T8" fmla="*/ 17 w 67"/>
                  <a:gd name="T9" fmla="*/ 1 h 51"/>
                  <a:gd name="T10" fmla="*/ 19 w 67"/>
                  <a:gd name="T11" fmla="*/ 1 h 51"/>
                  <a:gd name="T12" fmla="*/ 22 w 67"/>
                  <a:gd name="T13" fmla="*/ 3 h 51"/>
                  <a:gd name="T14" fmla="*/ 18 w 67"/>
                  <a:gd name="T15" fmla="*/ 4 h 51"/>
                  <a:gd name="T16" fmla="*/ 15 w 67"/>
                  <a:gd name="T17" fmla="*/ 6 h 51"/>
                  <a:gd name="T18" fmla="*/ 14 w 67"/>
                  <a:gd name="T19" fmla="*/ 7 h 51"/>
                  <a:gd name="T20" fmla="*/ 12 w 67"/>
                  <a:gd name="T21" fmla="*/ 8 h 51"/>
                  <a:gd name="T22" fmla="*/ 10 w 67"/>
                  <a:gd name="T23" fmla="*/ 9 h 51"/>
                  <a:gd name="T24" fmla="*/ 7 w 67"/>
                  <a:gd name="T25" fmla="*/ 9 h 51"/>
                  <a:gd name="T26" fmla="*/ 8 w 67"/>
                  <a:gd name="T27" fmla="*/ 9 h 51"/>
                  <a:gd name="T28" fmla="*/ 11 w 67"/>
                  <a:gd name="T29" fmla="*/ 9 h 51"/>
                  <a:gd name="T30" fmla="*/ 10 w 67"/>
                  <a:gd name="T31" fmla="*/ 11 h 51"/>
                  <a:gd name="T32" fmla="*/ 8 w 67"/>
                  <a:gd name="T33" fmla="*/ 13 h 51"/>
                  <a:gd name="T34" fmla="*/ 7 w 67"/>
                  <a:gd name="T35" fmla="*/ 15 h 51"/>
                  <a:gd name="T36" fmla="*/ 7 w 67"/>
                  <a:gd name="T37" fmla="*/ 15 h 51"/>
                  <a:gd name="T38" fmla="*/ 4 w 67"/>
                  <a:gd name="T39" fmla="*/ 16 h 51"/>
                  <a:gd name="T40" fmla="*/ 0 w 67"/>
                  <a:gd name="T41" fmla="*/ 17 h 51"/>
                  <a:gd name="T42" fmla="*/ 0 w 67"/>
                  <a:gd name="T43" fmla="*/ 1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39" name="Freeform 41">
              <a:extLst>
                <a:ext uri="{FF2B5EF4-FFF2-40B4-BE49-F238E27FC236}">
                  <a16:creationId xmlns:a16="http://schemas.microsoft.com/office/drawing/2014/main" id="{0374B3E5-BFFE-4E88-9B38-208C2E52F5F1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492691" y="3287485"/>
              <a:ext cx="41175" cy="63027"/>
            </a:xfrm>
            <a:custGeom>
              <a:avLst/>
              <a:gdLst>
                <a:gd name="T0" fmla="*/ 0 w 80"/>
                <a:gd name="T1" fmla="*/ 25913 h 34"/>
                <a:gd name="T2" fmla="*/ 397 w 80"/>
                <a:gd name="T3" fmla="*/ 32824 h 34"/>
                <a:gd name="T4" fmla="*/ 794 w 80"/>
                <a:gd name="T5" fmla="*/ 36279 h 34"/>
                <a:gd name="T6" fmla="*/ 1588 w 80"/>
                <a:gd name="T7" fmla="*/ 41461 h 34"/>
                <a:gd name="T8" fmla="*/ 2778 w 80"/>
                <a:gd name="T9" fmla="*/ 44917 h 34"/>
                <a:gd name="T10" fmla="*/ 5159 w 80"/>
                <a:gd name="T11" fmla="*/ 50099 h 34"/>
                <a:gd name="T12" fmla="*/ 8731 w 80"/>
                <a:gd name="T13" fmla="*/ 53554 h 34"/>
                <a:gd name="T14" fmla="*/ 15875 w 80"/>
                <a:gd name="T15" fmla="*/ 57009 h 34"/>
                <a:gd name="T16" fmla="*/ 21431 w 80"/>
                <a:gd name="T17" fmla="*/ 58737 h 34"/>
                <a:gd name="T18" fmla="*/ 23019 w 80"/>
                <a:gd name="T19" fmla="*/ 57009 h 34"/>
                <a:gd name="T20" fmla="*/ 24606 w 80"/>
                <a:gd name="T21" fmla="*/ 55282 h 34"/>
                <a:gd name="T22" fmla="*/ 25797 w 80"/>
                <a:gd name="T23" fmla="*/ 50099 h 34"/>
                <a:gd name="T24" fmla="*/ 26591 w 80"/>
                <a:gd name="T25" fmla="*/ 46644 h 34"/>
                <a:gd name="T26" fmla="*/ 28972 w 80"/>
                <a:gd name="T27" fmla="*/ 36279 h 34"/>
                <a:gd name="T28" fmla="*/ 31750 w 80"/>
                <a:gd name="T29" fmla="*/ 25913 h 34"/>
                <a:gd name="T30" fmla="*/ 29766 w 80"/>
                <a:gd name="T31" fmla="*/ 17276 h 34"/>
                <a:gd name="T32" fmla="*/ 27781 w 80"/>
                <a:gd name="T33" fmla="*/ 12093 h 34"/>
                <a:gd name="T34" fmla="*/ 25797 w 80"/>
                <a:gd name="T35" fmla="*/ 6910 h 34"/>
                <a:gd name="T36" fmla="*/ 23813 w 80"/>
                <a:gd name="T37" fmla="*/ 3455 h 34"/>
                <a:gd name="T38" fmla="*/ 21828 w 80"/>
                <a:gd name="T39" fmla="*/ 0 h 34"/>
                <a:gd name="T40" fmla="*/ 20241 w 80"/>
                <a:gd name="T41" fmla="*/ 0 h 34"/>
                <a:gd name="T42" fmla="*/ 17859 w 80"/>
                <a:gd name="T43" fmla="*/ 1728 h 34"/>
                <a:gd name="T44" fmla="*/ 16272 w 80"/>
                <a:gd name="T45" fmla="*/ 3455 h 34"/>
                <a:gd name="T46" fmla="*/ 13494 w 80"/>
                <a:gd name="T47" fmla="*/ 3455 h 34"/>
                <a:gd name="T48" fmla="*/ 8334 w 80"/>
                <a:gd name="T49" fmla="*/ 3455 h 34"/>
                <a:gd name="T50" fmla="*/ 5159 w 80"/>
                <a:gd name="T51" fmla="*/ 5183 h 34"/>
                <a:gd name="T52" fmla="*/ 2778 w 80"/>
                <a:gd name="T53" fmla="*/ 8638 h 34"/>
                <a:gd name="T54" fmla="*/ 1588 w 80"/>
                <a:gd name="T55" fmla="*/ 12093 h 34"/>
                <a:gd name="T56" fmla="*/ 794 w 80"/>
                <a:gd name="T57" fmla="*/ 15548 h 34"/>
                <a:gd name="T58" fmla="*/ 397 w 80"/>
                <a:gd name="T59" fmla="*/ 19003 h 34"/>
                <a:gd name="T60" fmla="*/ 0 w 80"/>
                <a:gd name="T61" fmla="*/ 25913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0" name="Freeform 42">
              <a:extLst>
                <a:ext uri="{FF2B5EF4-FFF2-40B4-BE49-F238E27FC236}">
                  <a16:creationId xmlns:a16="http://schemas.microsoft.com/office/drawing/2014/main" id="{79D8D965-BC1C-4D1E-9748-6053215B6F67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564746" y="3294299"/>
              <a:ext cx="2059" cy="63027"/>
            </a:xfrm>
            <a:custGeom>
              <a:avLst/>
              <a:gdLst>
                <a:gd name="T0" fmla="*/ 0 w 7"/>
                <a:gd name="T1" fmla="*/ 0 h 13"/>
                <a:gd name="T2" fmla="*/ 1588 w 7"/>
                <a:gd name="T3" fmla="*/ 58737 h 13"/>
                <a:gd name="T4" fmla="*/ 1588 w 7"/>
                <a:gd name="T5" fmla="*/ 31628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1" name="Freeform 43">
              <a:extLst>
                <a:ext uri="{FF2B5EF4-FFF2-40B4-BE49-F238E27FC236}">
                  <a16:creationId xmlns:a16="http://schemas.microsoft.com/office/drawing/2014/main" id="{AEB19968-E783-4CD0-A701-6BA666BC0D74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581216" y="3296002"/>
              <a:ext cx="8235" cy="63028"/>
            </a:xfrm>
            <a:custGeom>
              <a:avLst/>
              <a:gdLst>
                <a:gd name="T0" fmla="*/ 0 w 20"/>
                <a:gd name="T1" fmla="*/ 0 h 6"/>
                <a:gd name="T2" fmla="*/ 2223 w 20"/>
                <a:gd name="T3" fmla="*/ 29369 h 6"/>
                <a:gd name="T4" fmla="*/ 6350 w 20"/>
                <a:gd name="T5" fmla="*/ 58738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2" name="Freeform 44">
              <a:extLst>
                <a:ext uri="{FF2B5EF4-FFF2-40B4-BE49-F238E27FC236}">
                  <a16:creationId xmlns:a16="http://schemas.microsoft.com/office/drawing/2014/main" id="{F8FF7F61-3229-4024-9323-707860108F10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599747" y="3285781"/>
              <a:ext cx="10293" cy="61324"/>
            </a:xfrm>
            <a:custGeom>
              <a:avLst/>
              <a:gdLst>
                <a:gd name="T0" fmla="*/ 0 w 14"/>
                <a:gd name="T1" fmla="*/ 57150 h 12"/>
                <a:gd name="T2" fmla="*/ 7937 w 14"/>
                <a:gd name="T3" fmla="*/ 0 h 12"/>
                <a:gd name="T4" fmla="*/ 0 w 14"/>
                <a:gd name="T5" fmla="*/ 5715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3" name="Freeform 45">
              <a:extLst>
                <a:ext uri="{FF2B5EF4-FFF2-40B4-BE49-F238E27FC236}">
                  <a16:creationId xmlns:a16="http://schemas.microsoft.com/office/drawing/2014/main" id="{67C8C6F6-F959-4C49-A577-E24A39DD1D5A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572981" y="3277264"/>
              <a:ext cx="14412" cy="6302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33564 h 7"/>
                <a:gd name="T4" fmla="*/ 823 w 27"/>
                <a:gd name="T5" fmla="*/ 50346 h 7"/>
                <a:gd name="T6" fmla="*/ 2881 w 27"/>
                <a:gd name="T7" fmla="*/ 58737 h 7"/>
                <a:gd name="T8" fmla="*/ 4116 w 27"/>
                <a:gd name="T9" fmla="*/ 58737 h 7"/>
                <a:gd name="T10" fmla="*/ 6174 w 27"/>
                <a:gd name="T11" fmla="*/ 50346 h 7"/>
                <a:gd name="T12" fmla="*/ 7820 w 27"/>
                <a:gd name="T13" fmla="*/ 33564 h 7"/>
                <a:gd name="T14" fmla="*/ 9467 w 27"/>
                <a:gd name="T15" fmla="*/ 16782 h 7"/>
                <a:gd name="T16" fmla="*/ 11113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4" name="Freeform 46">
              <a:extLst>
                <a:ext uri="{FF2B5EF4-FFF2-40B4-BE49-F238E27FC236}">
                  <a16:creationId xmlns:a16="http://schemas.microsoft.com/office/drawing/2014/main" id="{987701DD-C1AB-4A5B-AF3A-E3DF0E861471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636803" y="3307926"/>
              <a:ext cx="18528" cy="64731"/>
            </a:xfrm>
            <a:custGeom>
              <a:avLst/>
              <a:gdLst>
                <a:gd name="T0" fmla="*/ 0 w 27"/>
                <a:gd name="T1" fmla="*/ 0 h 6"/>
                <a:gd name="T2" fmla="*/ 5821 w 27"/>
                <a:gd name="T3" fmla="*/ 30163 h 6"/>
                <a:gd name="T4" fmla="*/ 14287 w 27"/>
                <a:gd name="T5" fmla="*/ 60325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5" name="Line 47">
              <a:extLst>
                <a:ext uri="{FF2B5EF4-FFF2-40B4-BE49-F238E27FC236}">
                  <a16:creationId xmlns:a16="http://schemas.microsoft.com/office/drawing/2014/main" id="{4F56CE00-5016-4287-8364-7DD4633EDFCB}"/>
                </a:ext>
              </a:extLst>
            </p:cNvPr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3647098" y="3304519"/>
              <a:ext cx="8235" cy="1022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6" name="Line 48">
              <a:extLst>
                <a:ext uri="{FF2B5EF4-FFF2-40B4-BE49-F238E27FC236}">
                  <a16:creationId xmlns:a16="http://schemas.microsoft.com/office/drawing/2014/main" id="{F01B9C76-DEAD-468C-8887-52E39B4CA0DE}"/>
                </a:ext>
              </a:extLst>
            </p:cNvPr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3647098" y="3331774"/>
              <a:ext cx="8235" cy="1192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7" name="Freeform 49">
              <a:extLst>
                <a:ext uri="{FF2B5EF4-FFF2-40B4-BE49-F238E27FC236}">
                  <a16:creationId xmlns:a16="http://schemas.microsoft.com/office/drawing/2014/main" id="{79AB897D-6008-44FE-989F-4B4C45C95A64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647098" y="3326664"/>
              <a:ext cx="14412" cy="63028"/>
            </a:xfrm>
            <a:custGeom>
              <a:avLst/>
              <a:gdLst>
                <a:gd name="T0" fmla="*/ 0 w 20"/>
                <a:gd name="T1" fmla="*/ 58738 h 24"/>
                <a:gd name="T2" fmla="*/ 1111 w 20"/>
                <a:gd name="T3" fmla="*/ 58738 h 24"/>
                <a:gd name="T4" fmla="*/ 3334 w 20"/>
                <a:gd name="T5" fmla="*/ 53843 h 24"/>
                <a:gd name="T6" fmla="*/ 5001 w 20"/>
                <a:gd name="T7" fmla="*/ 48948 h 24"/>
                <a:gd name="T8" fmla="*/ 6668 w 20"/>
                <a:gd name="T9" fmla="*/ 39159 h 24"/>
                <a:gd name="T10" fmla="*/ 8335 w 20"/>
                <a:gd name="T11" fmla="*/ 31816 h 24"/>
                <a:gd name="T12" fmla="*/ 10002 w 20"/>
                <a:gd name="T13" fmla="*/ 22027 h 24"/>
                <a:gd name="T14" fmla="*/ 10557 w 20"/>
                <a:gd name="T15" fmla="*/ 9790 h 24"/>
                <a:gd name="T16" fmla="*/ 11113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8" name="Freeform 50">
              <a:extLst>
                <a:ext uri="{FF2B5EF4-FFF2-40B4-BE49-F238E27FC236}">
                  <a16:creationId xmlns:a16="http://schemas.microsoft.com/office/drawing/2014/main" id="{8922FA22-5051-4D59-AF12-77170667A794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3655332" y="3357324"/>
              <a:ext cx="22647" cy="59620"/>
            </a:xfrm>
            <a:custGeom>
              <a:avLst/>
              <a:gdLst>
                <a:gd name="T0" fmla="*/ 6879 w 33"/>
                <a:gd name="T1" fmla="*/ 15558 h 25"/>
                <a:gd name="T2" fmla="*/ 0 w 33"/>
                <a:gd name="T3" fmla="*/ 42228 h 25"/>
                <a:gd name="T4" fmla="*/ 5292 w 33"/>
                <a:gd name="T5" fmla="*/ 44450 h 25"/>
                <a:gd name="T6" fmla="*/ 10054 w 33"/>
                <a:gd name="T7" fmla="*/ 48895 h 25"/>
                <a:gd name="T8" fmla="*/ 14288 w 33"/>
                <a:gd name="T9" fmla="*/ 55563 h 25"/>
                <a:gd name="T10" fmla="*/ 17463 w 33"/>
                <a:gd name="T11" fmla="*/ 55563 h 25"/>
                <a:gd name="T12" fmla="*/ 17463 w 33"/>
                <a:gd name="T13" fmla="*/ 0 h 25"/>
                <a:gd name="T14" fmla="*/ 14288 w 33"/>
                <a:gd name="T15" fmla="*/ 0 h 25"/>
                <a:gd name="T16" fmla="*/ 6879 w 33"/>
                <a:gd name="T17" fmla="*/ 15558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9" name="Freeform 51">
              <a:extLst>
                <a:ext uri="{FF2B5EF4-FFF2-40B4-BE49-F238E27FC236}">
                  <a16:creationId xmlns:a16="http://schemas.microsoft.com/office/drawing/2014/main" id="{648A1AA0-0BDB-487D-90C7-A06CA8B9288C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3663567" y="3408428"/>
              <a:ext cx="20588" cy="61324"/>
            </a:xfrm>
            <a:custGeom>
              <a:avLst/>
              <a:gdLst>
                <a:gd name="T0" fmla="*/ 0 w 40"/>
                <a:gd name="T1" fmla="*/ 0 h 18"/>
                <a:gd name="T2" fmla="*/ 1191 w 40"/>
                <a:gd name="T3" fmla="*/ 19050 h 18"/>
                <a:gd name="T4" fmla="*/ 2381 w 40"/>
                <a:gd name="T5" fmla="*/ 34925 h 18"/>
                <a:gd name="T6" fmla="*/ 3969 w 40"/>
                <a:gd name="T7" fmla="*/ 44450 h 18"/>
                <a:gd name="T8" fmla="*/ 5953 w 40"/>
                <a:gd name="T9" fmla="*/ 50800 h 18"/>
                <a:gd name="T10" fmla="*/ 10716 w 40"/>
                <a:gd name="T11" fmla="*/ 57150 h 18"/>
                <a:gd name="T12" fmla="*/ 15875 w 40"/>
                <a:gd name="T13" fmla="*/ 57150 h 18"/>
                <a:gd name="T14" fmla="*/ 15875 w 40"/>
                <a:gd name="T15" fmla="*/ 0 h 18"/>
                <a:gd name="T16" fmla="*/ 11906 w 40"/>
                <a:gd name="T17" fmla="*/ 0 h 18"/>
                <a:gd name="T18" fmla="*/ 7938 w 40"/>
                <a:gd name="T19" fmla="*/ 0 h 18"/>
                <a:gd name="T20" fmla="*/ 3969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0" name="Freeform 52">
              <a:extLst>
                <a:ext uri="{FF2B5EF4-FFF2-40B4-BE49-F238E27FC236}">
                  <a16:creationId xmlns:a16="http://schemas.microsoft.com/office/drawing/2014/main" id="{A0720D16-A3C8-4A0A-9B58-D94C9146D617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3675919" y="3435683"/>
              <a:ext cx="4118" cy="61324"/>
            </a:xfrm>
            <a:custGeom>
              <a:avLst/>
              <a:gdLst>
                <a:gd name="T0" fmla="*/ 1155 w 11"/>
                <a:gd name="T1" fmla="*/ 57150 h 32"/>
                <a:gd name="T2" fmla="*/ 1732 w 11"/>
                <a:gd name="T3" fmla="*/ 50006 h 32"/>
                <a:gd name="T4" fmla="*/ 2309 w 11"/>
                <a:gd name="T5" fmla="*/ 44648 h 32"/>
                <a:gd name="T6" fmla="*/ 2598 w 11"/>
                <a:gd name="T7" fmla="*/ 39291 h 32"/>
                <a:gd name="T8" fmla="*/ 2886 w 11"/>
                <a:gd name="T9" fmla="*/ 32147 h 32"/>
                <a:gd name="T10" fmla="*/ 3175 w 11"/>
                <a:gd name="T11" fmla="*/ 16073 h 32"/>
                <a:gd name="T12" fmla="*/ 3175 w 11"/>
                <a:gd name="T13" fmla="*/ 0 h 32"/>
                <a:gd name="T14" fmla="*/ 1732 w 11"/>
                <a:gd name="T15" fmla="*/ 5358 h 32"/>
                <a:gd name="T16" fmla="*/ 866 w 11"/>
                <a:gd name="T17" fmla="*/ 12502 h 32"/>
                <a:gd name="T18" fmla="*/ 289 w 11"/>
                <a:gd name="T19" fmla="*/ 19645 h 32"/>
                <a:gd name="T20" fmla="*/ 0 w 11"/>
                <a:gd name="T21" fmla="*/ 28575 h 32"/>
                <a:gd name="T22" fmla="*/ 0 w 11"/>
                <a:gd name="T23" fmla="*/ 35719 h 32"/>
                <a:gd name="T24" fmla="*/ 289 w 11"/>
                <a:gd name="T25" fmla="*/ 42863 h 32"/>
                <a:gd name="T26" fmla="*/ 577 w 11"/>
                <a:gd name="T27" fmla="*/ 50006 h 32"/>
                <a:gd name="T28" fmla="*/ 1155 w 11"/>
                <a:gd name="T29" fmla="*/ 5715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1" name="Freeform 53">
              <a:extLst>
                <a:ext uri="{FF2B5EF4-FFF2-40B4-BE49-F238E27FC236}">
                  <a16:creationId xmlns:a16="http://schemas.microsoft.com/office/drawing/2014/main" id="{1D092B2A-A2F5-477F-9B2A-8CD917DD00CD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3704742" y="3468049"/>
              <a:ext cx="2059" cy="59620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55562 h 24"/>
                <a:gd name="T4" fmla="*/ 1588 w 14"/>
                <a:gd name="T5" fmla="*/ 2778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2" name="Freeform 54">
              <a:extLst>
                <a:ext uri="{FF2B5EF4-FFF2-40B4-BE49-F238E27FC236}">
                  <a16:creationId xmlns:a16="http://schemas.microsoft.com/office/drawing/2014/main" id="{661F0A63-BCFA-41C7-95A6-9A8EB7321DB6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3655332" y="3481675"/>
              <a:ext cx="20588" cy="63027"/>
            </a:xfrm>
            <a:custGeom>
              <a:avLst/>
              <a:gdLst>
                <a:gd name="T0" fmla="*/ 0 w 27"/>
                <a:gd name="T1" fmla="*/ 39158 h 18"/>
                <a:gd name="T2" fmla="*/ 4116 w 27"/>
                <a:gd name="T3" fmla="*/ 48948 h 18"/>
                <a:gd name="T4" fmla="*/ 7644 w 27"/>
                <a:gd name="T5" fmla="*/ 58737 h 18"/>
                <a:gd name="T6" fmla="*/ 12935 w 27"/>
                <a:gd name="T7" fmla="*/ 22842 h 18"/>
                <a:gd name="T8" fmla="*/ 15875 w 27"/>
                <a:gd name="T9" fmla="*/ 0 h 18"/>
                <a:gd name="T10" fmla="*/ 12935 w 27"/>
                <a:gd name="T11" fmla="*/ 0 h 18"/>
                <a:gd name="T12" fmla="*/ 10583 w 27"/>
                <a:gd name="T13" fmla="*/ 3263 h 18"/>
                <a:gd name="T14" fmla="*/ 7644 w 27"/>
                <a:gd name="T15" fmla="*/ 6526 h 18"/>
                <a:gd name="T16" fmla="*/ 5880 w 27"/>
                <a:gd name="T17" fmla="*/ 13053 h 18"/>
                <a:gd name="T18" fmla="*/ 2940 w 27"/>
                <a:gd name="T19" fmla="*/ 26105 h 18"/>
                <a:gd name="T20" fmla="*/ 0 w 27"/>
                <a:gd name="T21" fmla="*/ 3915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3" name="Freeform 55">
              <a:extLst>
                <a:ext uri="{FF2B5EF4-FFF2-40B4-BE49-F238E27FC236}">
                  <a16:creationId xmlns:a16="http://schemas.microsoft.com/office/drawing/2014/main" id="{86AD04C8-FB19-45F8-848B-F3E0092708E2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636803" y="3551516"/>
              <a:ext cx="30881" cy="61324"/>
            </a:xfrm>
            <a:custGeom>
              <a:avLst/>
              <a:gdLst>
                <a:gd name="T0" fmla="*/ 0 w 47"/>
                <a:gd name="T1" fmla="*/ 41988 h 49"/>
                <a:gd name="T2" fmla="*/ 507 w 47"/>
                <a:gd name="T3" fmla="*/ 45487 h 49"/>
                <a:gd name="T4" fmla="*/ 1013 w 47"/>
                <a:gd name="T5" fmla="*/ 47819 h 49"/>
                <a:gd name="T6" fmla="*/ 2027 w 47"/>
                <a:gd name="T7" fmla="*/ 50152 h 49"/>
                <a:gd name="T8" fmla="*/ 3040 w 47"/>
                <a:gd name="T9" fmla="*/ 52485 h 49"/>
                <a:gd name="T10" fmla="*/ 6080 w 47"/>
                <a:gd name="T11" fmla="*/ 55984 h 49"/>
                <a:gd name="T12" fmla="*/ 7093 w 47"/>
                <a:gd name="T13" fmla="*/ 57150 h 49"/>
                <a:gd name="T14" fmla="*/ 9119 w 47"/>
                <a:gd name="T15" fmla="*/ 57150 h 49"/>
                <a:gd name="T16" fmla="*/ 12159 w 47"/>
                <a:gd name="T17" fmla="*/ 53651 h 49"/>
                <a:gd name="T18" fmla="*/ 14693 w 47"/>
                <a:gd name="T19" fmla="*/ 48986 h 49"/>
                <a:gd name="T20" fmla="*/ 17732 w 47"/>
                <a:gd name="T21" fmla="*/ 45487 h 49"/>
                <a:gd name="T22" fmla="*/ 19759 w 47"/>
                <a:gd name="T23" fmla="*/ 40821 h 49"/>
                <a:gd name="T24" fmla="*/ 22292 w 47"/>
                <a:gd name="T25" fmla="*/ 36156 h 49"/>
                <a:gd name="T26" fmla="*/ 23305 w 47"/>
                <a:gd name="T27" fmla="*/ 31491 h 49"/>
                <a:gd name="T28" fmla="*/ 23812 w 47"/>
                <a:gd name="T29" fmla="*/ 27992 h 49"/>
                <a:gd name="T30" fmla="*/ 23812 w 47"/>
                <a:gd name="T31" fmla="*/ 13996 h 49"/>
                <a:gd name="T32" fmla="*/ 23812 w 47"/>
                <a:gd name="T33" fmla="*/ 0 h 49"/>
                <a:gd name="T34" fmla="*/ 13679 w 47"/>
                <a:gd name="T35" fmla="*/ 0 h 49"/>
                <a:gd name="T36" fmla="*/ 8613 w 47"/>
                <a:gd name="T37" fmla="*/ 9331 h 49"/>
                <a:gd name="T38" fmla="*/ 4560 w 47"/>
                <a:gd name="T39" fmla="*/ 18661 h 49"/>
                <a:gd name="T40" fmla="*/ 2533 w 47"/>
                <a:gd name="T41" fmla="*/ 23327 h 49"/>
                <a:gd name="T42" fmla="*/ 1013 w 47"/>
                <a:gd name="T43" fmla="*/ 29158 h 49"/>
                <a:gd name="T44" fmla="*/ 507 w 47"/>
                <a:gd name="T45" fmla="*/ 34990 h 49"/>
                <a:gd name="T46" fmla="*/ 0 w 47"/>
                <a:gd name="T47" fmla="*/ 4198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4" name="Freeform 56">
              <a:extLst>
                <a:ext uri="{FF2B5EF4-FFF2-40B4-BE49-F238E27FC236}">
                  <a16:creationId xmlns:a16="http://schemas.microsoft.com/office/drawing/2014/main" id="{632320A9-FAF8-44E0-B241-0D55F1C77031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3661509" y="3525965"/>
              <a:ext cx="16470" cy="61324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5400 h 9"/>
                <a:gd name="T4" fmla="*/ 1465 w 26"/>
                <a:gd name="T5" fmla="*/ 44450 h 9"/>
                <a:gd name="T6" fmla="*/ 2931 w 26"/>
                <a:gd name="T7" fmla="*/ 50800 h 9"/>
                <a:gd name="T8" fmla="*/ 5373 w 26"/>
                <a:gd name="T9" fmla="*/ 57150 h 9"/>
                <a:gd name="T10" fmla="*/ 7327 w 26"/>
                <a:gd name="T11" fmla="*/ 50800 h 9"/>
                <a:gd name="T12" fmla="*/ 9769 w 26"/>
                <a:gd name="T13" fmla="*/ 44450 h 9"/>
                <a:gd name="T14" fmla="*/ 11235 w 26"/>
                <a:gd name="T15" fmla="*/ 25400 h 9"/>
                <a:gd name="T16" fmla="*/ 1270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5" name="Freeform 57">
              <a:extLst>
                <a:ext uri="{FF2B5EF4-FFF2-40B4-BE49-F238E27FC236}">
                  <a16:creationId xmlns:a16="http://schemas.microsoft.com/office/drawing/2014/main" id="{0685B3B2-2FD0-4385-9269-851A2E56D9EB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2990352" y="3173355"/>
              <a:ext cx="20588" cy="61324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57150 h 18"/>
                <a:gd name="T4" fmla="*/ 2442 w 39"/>
                <a:gd name="T5" fmla="*/ 57150 h 18"/>
                <a:gd name="T6" fmla="*/ 5292 w 39"/>
                <a:gd name="T7" fmla="*/ 57150 h 18"/>
                <a:gd name="T8" fmla="*/ 9362 w 39"/>
                <a:gd name="T9" fmla="*/ 53975 h 18"/>
                <a:gd name="T10" fmla="*/ 12212 w 39"/>
                <a:gd name="T11" fmla="*/ 44450 h 18"/>
                <a:gd name="T12" fmla="*/ 13840 w 39"/>
                <a:gd name="T13" fmla="*/ 38100 h 18"/>
                <a:gd name="T14" fmla="*/ 15061 w 39"/>
                <a:gd name="T15" fmla="*/ 31750 h 18"/>
                <a:gd name="T16" fmla="*/ 15468 w 39"/>
                <a:gd name="T17" fmla="*/ 25400 h 18"/>
                <a:gd name="T18" fmla="*/ 15875 w 39"/>
                <a:gd name="T19" fmla="*/ 19050 h 18"/>
                <a:gd name="T20" fmla="*/ 11804 w 39"/>
                <a:gd name="T21" fmla="*/ 15875 h 18"/>
                <a:gd name="T22" fmla="*/ 7734 w 39"/>
                <a:gd name="T23" fmla="*/ 9525 h 18"/>
                <a:gd name="T24" fmla="*/ 4071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56" name="Group 58">
              <a:extLst>
                <a:ext uri="{FF2B5EF4-FFF2-40B4-BE49-F238E27FC236}">
                  <a16:creationId xmlns:a16="http://schemas.microsoft.com/office/drawing/2014/main" id="{3B83C5BC-BC3C-463E-AB89-93B7E23CCA8D}"/>
                </a:ext>
              </a:extLst>
            </p:cNvPr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3152994" y="2994495"/>
              <a:ext cx="170878" cy="209521"/>
              <a:chOff x="1199" y="2121"/>
              <a:chExt cx="97" cy="123"/>
            </a:xfrm>
          </p:grpSpPr>
          <p:sp>
            <p:nvSpPr>
              <p:cNvPr id="538" name="Freeform 59">
                <a:extLst>
                  <a:ext uri="{FF2B5EF4-FFF2-40B4-BE49-F238E27FC236}">
                    <a16:creationId xmlns:a16="http://schemas.microsoft.com/office/drawing/2014/main" id="{D375F798-B0E3-4C34-84A8-976417B263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8 h 25"/>
                  <a:gd name="T2" fmla="*/ 2 w 52"/>
                  <a:gd name="T3" fmla="*/ 8 h 25"/>
                  <a:gd name="T4" fmla="*/ 5 w 52"/>
                  <a:gd name="T5" fmla="*/ 8 h 25"/>
                  <a:gd name="T6" fmla="*/ 7 w 52"/>
                  <a:gd name="T7" fmla="*/ 7 h 25"/>
                  <a:gd name="T8" fmla="*/ 9 w 52"/>
                  <a:gd name="T9" fmla="*/ 6 h 25"/>
                  <a:gd name="T10" fmla="*/ 12 w 52"/>
                  <a:gd name="T11" fmla="*/ 5 h 25"/>
                  <a:gd name="T12" fmla="*/ 13 w 52"/>
                  <a:gd name="T13" fmla="*/ 4 h 25"/>
                  <a:gd name="T14" fmla="*/ 15 w 52"/>
                  <a:gd name="T15" fmla="*/ 2 h 25"/>
                  <a:gd name="T16" fmla="*/ 16 w 52"/>
                  <a:gd name="T17" fmla="*/ 0 h 25"/>
                  <a:gd name="T18" fmla="*/ 12 w 52"/>
                  <a:gd name="T19" fmla="*/ 0 h 25"/>
                  <a:gd name="T20" fmla="*/ 10 w 52"/>
                  <a:gd name="T21" fmla="*/ 0 h 25"/>
                  <a:gd name="T22" fmla="*/ 7 w 52"/>
                  <a:gd name="T23" fmla="*/ 0 h 25"/>
                  <a:gd name="T24" fmla="*/ 5 w 52"/>
                  <a:gd name="T25" fmla="*/ 1 h 25"/>
                  <a:gd name="T26" fmla="*/ 3 w 52"/>
                  <a:gd name="T27" fmla="*/ 2 h 25"/>
                  <a:gd name="T28" fmla="*/ 2 w 52"/>
                  <a:gd name="T29" fmla="*/ 3 h 25"/>
                  <a:gd name="T30" fmla="*/ 1 w 52"/>
                  <a:gd name="T31" fmla="*/ 5 h 25"/>
                  <a:gd name="T32" fmla="*/ 0 w 52"/>
                  <a:gd name="T33" fmla="*/ 8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39" name="Freeform 60">
                <a:extLst>
                  <a:ext uri="{FF2B5EF4-FFF2-40B4-BE49-F238E27FC236}">
                    <a16:creationId xmlns:a16="http://schemas.microsoft.com/office/drawing/2014/main" id="{9BCEE4C5-63BE-4D77-849F-31D0CB7F93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2 h 13"/>
                  <a:gd name="T4" fmla="*/ 0 w 33"/>
                  <a:gd name="T5" fmla="*/ 4 h 13"/>
                  <a:gd name="T6" fmla="*/ 3 w 33"/>
                  <a:gd name="T7" fmla="*/ 4 h 13"/>
                  <a:gd name="T8" fmla="*/ 5 w 33"/>
                  <a:gd name="T9" fmla="*/ 4 h 13"/>
                  <a:gd name="T10" fmla="*/ 8 w 33"/>
                  <a:gd name="T11" fmla="*/ 3 h 13"/>
                  <a:gd name="T12" fmla="*/ 11 w 33"/>
                  <a:gd name="T13" fmla="*/ 2 h 13"/>
                  <a:gd name="T14" fmla="*/ 8 w 33"/>
                  <a:gd name="T15" fmla="*/ 1 h 13"/>
                  <a:gd name="T16" fmla="*/ 5 w 33"/>
                  <a:gd name="T17" fmla="*/ 0 h 13"/>
                  <a:gd name="T18" fmla="*/ 3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40" name="Freeform 61">
                <a:extLst>
                  <a:ext uri="{FF2B5EF4-FFF2-40B4-BE49-F238E27FC236}">
                    <a16:creationId xmlns:a16="http://schemas.microsoft.com/office/drawing/2014/main" id="{C2BEECB8-BF9B-4710-8FBE-DA24DCD9F1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8 w 67"/>
                  <a:gd name="T1" fmla="*/ 6 h 86"/>
                  <a:gd name="T2" fmla="*/ 0 w 67"/>
                  <a:gd name="T3" fmla="*/ 0 h 86"/>
                  <a:gd name="T4" fmla="*/ 8 w 67"/>
                  <a:gd name="T5" fmla="*/ 0 h 86"/>
                  <a:gd name="T6" fmla="*/ 9 w 67"/>
                  <a:gd name="T7" fmla="*/ 1 h 86"/>
                  <a:gd name="T8" fmla="*/ 10 w 67"/>
                  <a:gd name="T9" fmla="*/ 3 h 86"/>
                  <a:gd name="T10" fmla="*/ 11 w 67"/>
                  <a:gd name="T11" fmla="*/ 4 h 86"/>
                  <a:gd name="T12" fmla="*/ 12 w 67"/>
                  <a:gd name="T13" fmla="*/ 5 h 86"/>
                  <a:gd name="T14" fmla="*/ 14 w 67"/>
                  <a:gd name="T15" fmla="*/ 6 h 86"/>
                  <a:gd name="T16" fmla="*/ 16 w 67"/>
                  <a:gd name="T17" fmla="*/ 6 h 86"/>
                  <a:gd name="T18" fmla="*/ 17 w 67"/>
                  <a:gd name="T19" fmla="*/ 10 h 86"/>
                  <a:gd name="T20" fmla="*/ 19 w 67"/>
                  <a:gd name="T21" fmla="*/ 13 h 86"/>
                  <a:gd name="T22" fmla="*/ 19 w 67"/>
                  <a:gd name="T23" fmla="*/ 15 h 86"/>
                  <a:gd name="T24" fmla="*/ 20 w 67"/>
                  <a:gd name="T25" fmla="*/ 16 h 86"/>
                  <a:gd name="T26" fmla="*/ 20 w 67"/>
                  <a:gd name="T27" fmla="*/ 18 h 86"/>
                  <a:gd name="T28" fmla="*/ 20 w 67"/>
                  <a:gd name="T29" fmla="*/ 20 h 86"/>
                  <a:gd name="T30" fmla="*/ 19 w 67"/>
                  <a:gd name="T31" fmla="*/ 24 h 86"/>
                  <a:gd name="T32" fmla="*/ 18 w 67"/>
                  <a:gd name="T33" fmla="*/ 28 h 86"/>
                  <a:gd name="T34" fmla="*/ 16 w 67"/>
                  <a:gd name="T35" fmla="*/ 22 h 86"/>
                  <a:gd name="T36" fmla="*/ 15 w 67"/>
                  <a:gd name="T37" fmla="*/ 18 h 86"/>
                  <a:gd name="T38" fmla="*/ 15 w 67"/>
                  <a:gd name="T39" fmla="*/ 15 h 86"/>
                  <a:gd name="T40" fmla="*/ 15 w 67"/>
                  <a:gd name="T41" fmla="*/ 13 h 86"/>
                  <a:gd name="T42" fmla="*/ 15 w 67"/>
                  <a:gd name="T43" fmla="*/ 11 h 86"/>
                  <a:gd name="T44" fmla="*/ 16 w 67"/>
                  <a:gd name="T45" fmla="*/ 10 h 86"/>
                  <a:gd name="T46" fmla="*/ 13 w 67"/>
                  <a:gd name="T47" fmla="*/ 10 h 86"/>
                  <a:gd name="T48" fmla="*/ 10 w 67"/>
                  <a:gd name="T49" fmla="*/ 9 h 86"/>
                  <a:gd name="T50" fmla="*/ 10 w 67"/>
                  <a:gd name="T51" fmla="*/ 9 h 86"/>
                  <a:gd name="T52" fmla="*/ 8 w 67"/>
                  <a:gd name="T53" fmla="*/ 8 h 86"/>
                  <a:gd name="T54" fmla="*/ 8 w 67"/>
                  <a:gd name="T55" fmla="*/ 7 h 86"/>
                  <a:gd name="T56" fmla="*/ 8 w 67"/>
                  <a:gd name="T57" fmla="*/ 6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41" name="Freeform 62">
                <a:extLst>
                  <a:ext uri="{FF2B5EF4-FFF2-40B4-BE49-F238E27FC236}">
                    <a16:creationId xmlns:a16="http://schemas.microsoft.com/office/drawing/2014/main" id="{11709A72-CB1D-47ED-B1CE-EE3E98738A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9 w 49"/>
                  <a:gd name="T1" fmla="*/ 4 h 86"/>
                  <a:gd name="T2" fmla="*/ 7 w 49"/>
                  <a:gd name="T3" fmla="*/ 2 h 86"/>
                  <a:gd name="T4" fmla="*/ 5 w 49"/>
                  <a:gd name="T5" fmla="*/ 0 h 86"/>
                  <a:gd name="T6" fmla="*/ 3 w 49"/>
                  <a:gd name="T7" fmla="*/ 2 h 86"/>
                  <a:gd name="T8" fmla="*/ 2 w 49"/>
                  <a:gd name="T9" fmla="*/ 4 h 86"/>
                  <a:gd name="T10" fmla="*/ 0 w 49"/>
                  <a:gd name="T11" fmla="*/ 7 h 86"/>
                  <a:gd name="T12" fmla="*/ 0 w 49"/>
                  <a:gd name="T13" fmla="*/ 10 h 86"/>
                  <a:gd name="T14" fmla="*/ 0 w 49"/>
                  <a:gd name="T15" fmla="*/ 12 h 86"/>
                  <a:gd name="T16" fmla="*/ 1 w 49"/>
                  <a:gd name="T17" fmla="*/ 14 h 86"/>
                  <a:gd name="T18" fmla="*/ 2 w 49"/>
                  <a:gd name="T19" fmla="*/ 16 h 86"/>
                  <a:gd name="T20" fmla="*/ 3 w 49"/>
                  <a:gd name="T21" fmla="*/ 19 h 86"/>
                  <a:gd name="T22" fmla="*/ 4 w 49"/>
                  <a:gd name="T23" fmla="*/ 21 h 86"/>
                  <a:gd name="T24" fmla="*/ 6 w 49"/>
                  <a:gd name="T25" fmla="*/ 24 h 86"/>
                  <a:gd name="T26" fmla="*/ 7 w 49"/>
                  <a:gd name="T27" fmla="*/ 26 h 86"/>
                  <a:gd name="T28" fmla="*/ 9 w 49"/>
                  <a:gd name="T29" fmla="*/ 28 h 86"/>
                  <a:gd name="T30" fmla="*/ 10 w 49"/>
                  <a:gd name="T31" fmla="*/ 26 h 86"/>
                  <a:gd name="T32" fmla="*/ 12 w 49"/>
                  <a:gd name="T33" fmla="*/ 22 h 86"/>
                  <a:gd name="T34" fmla="*/ 14 w 49"/>
                  <a:gd name="T35" fmla="*/ 19 h 86"/>
                  <a:gd name="T36" fmla="*/ 15 w 49"/>
                  <a:gd name="T37" fmla="*/ 15 h 86"/>
                  <a:gd name="T38" fmla="*/ 16 w 49"/>
                  <a:gd name="T39" fmla="*/ 13 h 86"/>
                  <a:gd name="T40" fmla="*/ 16 w 49"/>
                  <a:gd name="T41" fmla="*/ 11 h 86"/>
                  <a:gd name="T42" fmla="*/ 16 w 49"/>
                  <a:gd name="T43" fmla="*/ 8 h 86"/>
                  <a:gd name="T44" fmla="*/ 16 w 49"/>
                  <a:gd name="T45" fmla="*/ 7 h 86"/>
                  <a:gd name="T46" fmla="*/ 14 w 49"/>
                  <a:gd name="T47" fmla="*/ 6 h 86"/>
                  <a:gd name="T48" fmla="*/ 13 w 49"/>
                  <a:gd name="T49" fmla="*/ 5 h 86"/>
                  <a:gd name="T50" fmla="*/ 11 w 49"/>
                  <a:gd name="T51" fmla="*/ 4 h 86"/>
                  <a:gd name="T52" fmla="*/ 9 w 49"/>
                  <a:gd name="T53" fmla="*/ 4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42" name="Freeform 63">
                <a:extLst>
                  <a:ext uri="{FF2B5EF4-FFF2-40B4-BE49-F238E27FC236}">
                    <a16:creationId xmlns:a16="http://schemas.microsoft.com/office/drawing/2014/main" id="{1130C1E1-AB14-4D7F-B068-FA0BEF0823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4 h 12"/>
                  <a:gd name="T2" fmla="*/ 2 w 6"/>
                  <a:gd name="T3" fmla="*/ 0 h 12"/>
                  <a:gd name="T4" fmla="*/ 1 w 6"/>
                  <a:gd name="T5" fmla="*/ 0 h 12"/>
                  <a:gd name="T6" fmla="*/ 1 w 6"/>
                  <a:gd name="T7" fmla="*/ 1 h 12"/>
                  <a:gd name="T8" fmla="*/ 0 w 6"/>
                  <a:gd name="T9" fmla="*/ 1 h 12"/>
                  <a:gd name="T10" fmla="*/ 0 w 6"/>
                  <a:gd name="T11" fmla="*/ 2 h 12"/>
                  <a:gd name="T12" fmla="*/ 0 w 6"/>
                  <a:gd name="T13" fmla="*/ 3 h 12"/>
                  <a:gd name="T14" fmla="*/ 0 w 6"/>
                  <a:gd name="T15" fmla="*/ 4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43" name="Freeform 64">
                <a:extLst>
                  <a:ext uri="{FF2B5EF4-FFF2-40B4-BE49-F238E27FC236}">
                    <a16:creationId xmlns:a16="http://schemas.microsoft.com/office/drawing/2014/main" id="{277E5698-C037-406C-8256-4157BDC564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4 w 39"/>
                  <a:gd name="T3" fmla="*/ 3 h 48"/>
                  <a:gd name="T4" fmla="*/ 7 w 39"/>
                  <a:gd name="T5" fmla="*/ 5 h 48"/>
                  <a:gd name="T6" fmla="*/ 11 w 39"/>
                  <a:gd name="T7" fmla="*/ 8 h 48"/>
                  <a:gd name="T8" fmla="*/ 13 w 39"/>
                  <a:gd name="T9" fmla="*/ 9 h 48"/>
                  <a:gd name="T10" fmla="*/ 12 w 39"/>
                  <a:gd name="T11" fmla="*/ 12 h 48"/>
                  <a:gd name="T12" fmla="*/ 11 w 39"/>
                  <a:gd name="T13" fmla="*/ 15 h 48"/>
                  <a:gd name="T14" fmla="*/ 6 w 39"/>
                  <a:gd name="T15" fmla="*/ 11 h 48"/>
                  <a:gd name="T16" fmla="*/ 3 w 39"/>
                  <a:gd name="T17" fmla="*/ 8 h 48"/>
                  <a:gd name="T18" fmla="*/ 1 w 39"/>
                  <a:gd name="T19" fmla="*/ 7 h 48"/>
                  <a:gd name="T20" fmla="*/ 1 w 39"/>
                  <a:gd name="T21" fmla="*/ 5 h 48"/>
                  <a:gd name="T22" fmla="*/ 0 w 39"/>
                  <a:gd name="T23" fmla="*/ 3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44" name="Freeform 65">
                <a:extLst>
                  <a:ext uri="{FF2B5EF4-FFF2-40B4-BE49-F238E27FC236}">
                    <a16:creationId xmlns:a16="http://schemas.microsoft.com/office/drawing/2014/main" id="{7C249FAF-D62C-4730-9D72-B59CAA3DC5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3 w 16"/>
                  <a:gd name="T1" fmla="*/ 0 h 43"/>
                  <a:gd name="T2" fmla="*/ 4 w 16"/>
                  <a:gd name="T3" fmla="*/ 3 h 43"/>
                  <a:gd name="T4" fmla="*/ 6 w 16"/>
                  <a:gd name="T5" fmla="*/ 5 h 43"/>
                  <a:gd name="T6" fmla="*/ 6 w 16"/>
                  <a:gd name="T7" fmla="*/ 7 h 43"/>
                  <a:gd name="T8" fmla="*/ 6 w 16"/>
                  <a:gd name="T9" fmla="*/ 9 h 43"/>
                  <a:gd name="T10" fmla="*/ 6 w 16"/>
                  <a:gd name="T11" fmla="*/ 10 h 43"/>
                  <a:gd name="T12" fmla="*/ 4 w 16"/>
                  <a:gd name="T13" fmla="*/ 11 h 43"/>
                  <a:gd name="T14" fmla="*/ 3 w 16"/>
                  <a:gd name="T15" fmla="*/ 13 h 43"/>
                  <a:gd name="T16" fmla="*/ 0 w 16"/>
                  <a:gd name="T17" fmla="*/ 14 h 43"/>
                  <a:gd name="T18" fmla="*/ 1 w 16"/>
                  <a:gd name="T19" fmla="*/ 9 h 43"/>
                  <a:gd name="T20" fmla="*/ 2 w 16"/>
                  <a:gd name="T21" fmla="*/ 6 h 43"/>
                  <a:gd name="T22" fmla="*/ 2 w 16"/>
                  <a:gd name="T23" fmla="*/ 3 h 43"/>
                  <a:gd name="T24" fmla="*/ 3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45" name="Freeform 66">
                <a:extLst>
                  <a:ext uri="{FF2B5EF4-FFF2-40B4-BE49-F238E27FC236}">
                    <a16:creationId xmlns:a16="http://schemas.microsoft.com/office/drawing/2014/main" id="{6ADF0B04-C051-451E-8905-E90F1038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8 w 24"/>
                  <a:gd name="T1" fmla="*/ 12 h 37"/>
                  <a:gd name="T2" fmla="*/ 6 w 24"/>
                  <a:gd name="T3" fmla="*/ 9 h 37"/>
                  <a:gd name="T4" fmla="*/ 5 w 24"/>
                  <a:gd name="T5" fmla="*/ 6 h 37"/>
                  <a:gd name="T6" fmla="*/ 4 w 24"/>
                  <a:gd name="T7" fmla="*/ 3 h 37"/>
                  <a:gd name="T8" fmla="*/ 4 w 24"/>
                  <a:gd name="T9" fmla="*/ 0 h 37"/>
                  <a:gd name="T10" fmla="*/ 2 w 24"/>
                  <a:gd name="T11" fmla="*/ 3 h 37"/>
                  <a:gd name="T12" fmla="*/ 1 w 24"/>
                  <a:gd name="T13" fmla="*/ 6 h 37"/>
                  <a:gd name="T14" fmla="*/ 0 w 24"/>
                  <a:gd name="T15" fmla="*/ 8 h 37"/>
                  <a:gd name="T16" fmla="*/ 0 w 24"/>
                  <a:gd name="T17" fmla="*/ 10 h 37"/>
                  <a:gd name="T18" fmla="*/ 0 w 24"/>
                  <a:gd name="T19" fmla="*/ 11 h 37"/>
                  <a:gd name="T20" fmla="*/ 1 w 24"/>
                  <a:gd name="T21" fmla="*/ 11 h 37"/>
                  <a:gd name="T22" fmla="*/ 1 w 24"/>
                  <a:gd name="T23" fmla="*/ 12 h 37"/>
                  <a:gd name="T24" fmla="*/ 2 w 24"/>
                  <a:gd name="T25" fmla="*/ 12 h 37"/>
                  <a:gd name="T26" fmla="*/ 5 w 24"/>
                  <a:gd name="T27" fmla="*/ 12 h 37"/>
                  <a:gd name="T28" fmla="*/ 8 w 24"/>
                  <a:gd name="T29" fmla="*/ 12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46" name="Freeform 67">
                <a:extLst>
                  <a:ext uri="{FF2B5EF4-FFF2-40B4-BE49-F238E27FC236}">
                    <a16:creationId xmlns:a16="http://schemas.microsoft.com/office/drawing/2014/main" id="{A2150F7D-92FD-49F1-A8FB-B9B8C45E00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1 w 34"/>
                  <a:gd name="T1" fmla="*/ 0 h 55"/>
                  <a:gd name="T2" fmla="*/ 11 w 34"/>
                  <a:gd name="T3" fmla="*/ 4 h 55"/>
                  <a:gd name="T4" fmla="*/ 11 w 34"/>
                  <a:gd name="T5" fmla="*/ 8 h 55"/>
                  <a:gd name="T6" fmla="*/ 11 w 34"/>
                  <a:gd name="T7" fmla="*/ 10 h 55"/>
                  <a:gd name="T8" fmla="*/ 10 w 34"/>
                  <a:gd name="T9" fmla="*/ 12 h 55"/>
                  <a:gd name="T10" fmla="*/ 9 w 34"/>
                  <a:gd name="T11" fmla="*/ 13 h 55"/>
                  <a:gd name="T12" fmla="*/ 8 w 34"/>
                  <a:gd name="T13" fmla="*/ 15 h 55"/>
                  <a:gd name="T14" fmla="*/ 6 w 34"/>
                  <a:gd name="T15" fmla="*/ 16 h 55"/>
                  <a:gd name="T16" fmla="*/ 5 w 34"/>
                  <a:gd name="T17" fmla="*/ 16 h 55"/>
                  <a:gd name="T18" fmla="*/ 3 w 34"/>
                  <a:gd name="T19" fmla="*/ 17 h 55"/>
                  <a:gd name="T20" fmla="*/ 0 w 34"/>
                  <a:gd name="T21" fmla="*/ 17 h 55"/>
                  <a:gd name="T22" fmla="*/ 3 w 34"/>
                  <a:gd name="T23" fmla="*/ 11 h 55"/>
                  <a:gd name="T24" fmla="*/ 5 w 34"/>
                  <a:gd name="T25" fmla="*/ 6 h 55"/>
                  <a:gd name="T26" fmla="*/ 6 w 34"/>
                  <a:gd name="T27" fmla="*/ 5 h 55"/>
                  <a:gd name="T28" fmla="*/ 7 w 34"/>
                  <a:gd name="T29" fmla="*/ 3 h 55"/>
                  <a:gd name="T30" fmla="*/ 9 w 34"/>
                  <a:gd name="T31" fmla="*/ 2 h 55"/>
                  <a:gd name="T32" fmla="*/ 1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47" name="Freeform 68">
                <a:extLst>
                  <a:ext uri="{FF2B5EF4-FFF2-40B4-BE49-F238E27FC236}">
                    <a16:creationId xmlns:a16="http://schemas.microsoft.com/office/drawing/2014/main" id="{A6B14A14-6B1F-4F62-BC78-CDA9BCF425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1 w 33"/>
                  <a:gd name="T3" fmla="*/ 1 h 12"/>
                  <a:gd name="T4" fmla="*/ 2 w 33"/>
                  <a:gd name="T5" fmla="*/ 2 h 12"/>
                  <a:gd name="T6" fmla="*/ 3 w 33"/>
                  <a:gd name="T7" fmla="*/ 3 h 12"/>
                  <a:gd name="T8" fmla="*/ 5 w 33"/>
                  <a:gd name="T9" fmla="*/ 4 h 12"/>
                  <a:gd name="T10" fmla="*/ 8 w 33"/>
                  <a:gd name="T11" fmla="*/ 4 h 12"/>
                  <a:gd name="T12" fmla="*/ 11 w 33"/>
                  <a:gd name="T13" fmla="*/ 4 h 12"/>
                  <a:gd name="T14" fmla="*/ 9 w 33"/>
                  <a:gd name="T15" fmla="*/ 3 h 12"/>
                  <a:gd name="T16" fmla="*/ 6 w 33"/>
                  <a:gd name="T17" fmla="*/ 1 h 12"/>
                  <a:gd name="T18" fmla="*/ 3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57" name="Freeform 69">
              <a:extLst>
                <a:ext uri="{FF2B5EF4-FFF2-40B4-BE49-F238E27FC236}">
                  <a16:creationId xmlns:a16="http://schemas.microsoft.com/office/drawing/2014/main" id="{497FA42C-A66B-45F4-BBC7-EA935FF6F85F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10692187" y="4525875"/>
              <a:ext cx="16470" cy="61324"/>
            </a:xfrm>
            <a:custGeom>
              <a:avLst/>
              <a:gdLst>
                <a:gd name="T0" fmla="*/ 0 w 33"/>
                <a:gd name="T1" fmla="*/ 57150 h 62"/>
                <a:gd name="T2" fmla="*/ 0 w 33"/>
                <a:gd name="T3" fmla="*/ 48854 h 62"/>
                <a:gd name="T4" fmla="*/ 0 w 33"/>
                <a:gd name="T5" fmla="*/ 41480 h 62"/>
                <a:gd name="T6" fmla="*/ 0 w 33"/>
                <a:gd name="T7" fmla="*/ 34106 h 62"/>
                <a:gd name="T8" fmla="*/ 0 w 33"/>
                <a:gd name="T9" fmla="*/ 28575 h 62"/>
                <a:gd name="T10" fmla="*/ 0 w 33"/>
                <a:gd name="T11" fmla="*/ 23966 h 62"/>
                <a:gd name="T12" fmla="*/ 770 w 33"/>
                <a:gd name="T13" fmla="*/ 20279 h 62"/>
                <a:gd name="T14" fmla="*/ 1539 w 33"/>
                <a:gd name="T15" fmla="*/ 15670 h 62"/>
                <a:gd name="T16" fmla="*/ 3079 w 33"/>
                <a:gd name="T17" fmla="*/ 11983 h 62"/>
                <a:gd name="T18" fmla="*/ 5388 w 33"/>
                <a:gd name="T19" fmla="*/ 5531 h 62"/>
                <a:gd name="T20" fmla="*/ 7697 w 33"/>
                <a:gd name="T21" fmla="*/ 0 h 62"/>
                <a:gd name="T22" fmla="*/ 10006 w 33"/>
                <a:gd name="T23" fmla="*/ 5531 h 62"/>
                <a:gd name="T24" fmla="*/ 12700 w 33"/>
                <a:gd name="T25" fmla="*/ 1198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8" name="Freeform 70">
              <a:extLst>
                <a:ext uri="{FF2B5EF4-FFF2-40B4-BE49-F238E27FC236}">
                  <a16:creationId xmlns:a16="http://schemas.microsoft.com/office/drawing/2014/main" id="{2436A5CD-2DE0-46A2-87FE-D8B06C065357}"/>
                </a:ext>
              </a:extLst>
            </p:cNvPr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10704539" y="4622972"/>
              <a:ext cx="12353" cy="63027"/>
            </a:xfrm>
            <a:custGeom>
              <a:avLst/>
              <a:gdLst>
                <a:gd name="T0" fmla="*/ 0 w 26"/>
                <a:gd name="T1" fmla="*/ 58737 h 18"/>
                <a:gd name="T2" fmla="*/ 0 w 26"/>
                <a:gd name="T3" fmla="*/ 0 h 18"/>
                <a:gd name="T4" fmla="*/ 9525 w 26"/>
                <a:gd name="T5" fmla="*/ 0 h 18"/>
                <a:gd name="T6" fmla="*/ 2198 w 26"/>
                <a:gd name="T7" fmla="*/ 39158 h 18"/>
                <a:gd name="T8" fmla="*/ 2198 w 26"/>
                <a:gd name="T9" fmla="*/ 1957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9" name="Freeform 71">
              <a:extLst>
                <a:ext uri="{FF2B5EF4-FFF2-40B4-BE49-F238E27FC236}">
                  <a16:creationId xmlns:a16="http://schemas.microsoft.com/office/drawing/2014/main" id="{2F03F4D7-F248-4EBF-9D4E-6C81511EB018}"/>
                </a:ext>
              </a:extLst>
            </p:cNvPr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10852770" y="4525875"/>
              <a:ext cx="100880" cy="139681"/>
            </a:xfrm>
            <a:custGeom>
              <a:avLst/>
              <a:gdLst>
                <a:gd name="T0" fmla="*/ 77788 w 180"/>
                <a:gd name="T1" fmla="*/ 120412 h 240"/>
                <a:gd name="T2" fmla="*/ 75627 w 180"/>
                <a:gd name="T3" fmla="*/ 120954 h 240"/>
                <a:gd name="T4" fmla="*/ 73899 w 180"/>
                <a:gd name="T5" fmla="*/ 120954 h 240"/>
                <a:gd name="T6" fmla="*/ 72170 w 180"/>
                <a:gd name="T7" fmla="*/ 122039 h 240"/>
                <a:gd name="T8" fmla="*/ 70874 w 180"/>
                <a:gd name="T9" fmla="*/ 123124 h 240"/>
                <a:gd name="T10" fmla="*/ 68281 w 180"/>
                <a:gd name="T11" fmla="*/ 125836 h 240"/>
                <a:gd name="T12" fmla="*/ 66120 w 180"/>
                <a:gd name="T13" fmla="*/ 130175 h 240"/>
                <a:gd name="T14" fmla="*/ 60502 w 180"/>
                <a:gd name="T15" fmla="*/ 125836 h 240"/>
                <a:gd name="T16" fmla="*/ 56612 w 180"/>
                <a:gd name="T17" fmla="*/ 120954 h 240"/>
                <a:gd name="T18" fmla="*/ 53155 w 180"/>
                <a:gd name="T19" fmla="*/ 116073 h 240"/>
                <a:gd name="T20" fmla="*/ 50994 w 180"/>
                <a:gd name="T21" fmla="*/ 111734 h 240"/>
                <a:gd name="T22" fmla="*/ 48401 w 180"/>
                <a:gd name="T23" fmla="*/ 105767 h 240"/>
                <a:gd name="T24" fmla="*/ 45808 w 180"/>
                <a:gd name="T25" fmla="*/ 100343 h 240"/>
                <a:gd name="T26" fmla="*/ 42351 w 180"/>
                <a:gd name="T27" fmla="*/ 94377 h 240"/>
                <a:gd name="T28" fmla="*/ 37598 w 180"/>
                <a:gd name="T29" fmla="*/ 87326 h 240"/>
                <a:gd name="T30" fmla="*/ 35437 w 180"/>
                <a:gd name="T31" fmla="*/ 82987 h 240"/>
                <a:gd name="T32" fmla="*/ 32412 w 180"/>
                <a:gd name="T33" fmla="*/ 79190 h 240"/>
                <a:gd name="T34" fmla="*/ 30251 w 180"/>
                <a:gd name="T35" fmla="*/ 75393 h 240"/>
                <a:gd name="T36" fmla="*/ 26794 w 180"/>
                <a:gd name="T37" fmla="*/ 72139 h 240"/>
                <a:gd name="T38" fmla="*/ 20743 w 180"/>
                <a:gd name="T39" fmla="*/ 65630 h 240"/>
                <a:gd name="T40" fmla="*/ 14261 w 180"/>
                <a:gd name="T41" fmla="*/ 59664 h 240"/>
                <a:gd name="T42" fmla="*/ 11668 w 180"/>
                <a:gd name="T43" fmla="*/ 56409 h 240"/>
                <a:gd name="T44" fmla="*/ 9075 w 180"/>
                <a:gd name="T45" fmla="*/ 53155 h 240"/>
                <a:gd name="T46" fmla="*/ 6482 w 180"/>
                <a:gd name="T47" fmla="*/ 49900 h 240"/>
                <a:gd name="T48" fmla="*/ 4322 w 180"/>
                <a:gd name="T49" fmla="*/ 45561 h 240"/>
                <a:gd name="T50" fmla="*/ 2593 w 180"/>
                <a:gd name="T51" fmla="*/ 41764 h 240"/>
                <a:gd name="T52" fmla="*/ 1729 w 180"/>
                <a:gd name="T53" fmla="*/ 36883 h 240"/>
                <a:gd name="T54" fmla="*/ 432 w 180"/>
                <a:gd name="T55" fmla="*/ 32544 h 240"/>
                <a:gd name="T56" fmla="*/ 0 w 180"/>
                <a:gd name="T57" fmla="*/ 27120 h 240"/>
                <a:gd name="T58" fmla="*/ 0 w 180"/>
                <a:gd name="T59" fmla="*/ 18984 h 240"/>
                <a:gd name="T60" fmla="*/ 0 w 180"/>
                <a:gd name="T61" fmla="*/ 13560 h 240"/>
                <a:gd name="T62" fmla="*/ 0 w 180"/>
                <a:gd name="T63" fmla="*/ 8136 h 240"/>
                <a:gd name="T64" fmla="*/ 0 w 180"/>
                <a:gd name="T65" fmla="*/ 0 h 240"/>
                <a:gd name="T66" fmla="*/ 4322 w 180"/>
                <a:gd name="T67" fmla="*/ 4339 h 240"/>
                <a:gd name="T68" fmla="*/ 8211 w 180"/>
                <a:gd name="T69" fmla="*/ 9221 h 240"/>
                <a:gd name="T70" fmla="*/ 11668 w 180"/>
                <a:gd name="T71" fmla="*/ 14645 h 240"/>
                <a:gd name="T72" fmla="*/ 14693 w 180"/>
                <a:gd name="T73" fmla="*/ 20611 h 240"/>
                <a:gd name="T74" fmla="*/ 17718 w 180"/>
                <a:gd name="T75" fmla="*/ 26035 h 240"/>
                <a:gd name="T76" fmla="*/ 19879 w 180"/>
                <a:gd name="T77" fmla="*/ 31459 h 240"/>
                <a:gd name="T78" fmla="*/ 22040 w 180"/>
                <a:gd name="T79" fmla="*/ 35798 h 240"/>
                <a:gd name="T80" fmla="*/ 23336 w 180"/>
                <a:gd name="T81" fmla="*/ 40137 h 240"/>
                <a:gd name="T82" fmla="*/ 25929 w 180"/>
                <a:gd name="T83" fmla="*/ 46646 h 240"/>
                <a:gd name="T84" fmla="*/ 28522 w 180"/>
                <a:gd name="T85" fmla="*/ 53155 h 240"/>
                <a:gd name="T86" fmla="*/ 31980 w 180"/>
                <a:gd name="T87" fmla="*/ 58036 h 240"/>
                <a:gd name="T88" fmla="*/ 35437 w 180"/>
                <a:gd name="T89" fmla="*/ 62918 h 240"/>
                <a:gd name="T90" fmla="*/ 43216 w 180"/>
                <a:gd name="T91" fmla="*/ 72139 h 240"/>
                <a:gd name="T92" fmla="*/ 51427 w 180"/>
                <a:gd name="T93" fmla="*/ 80817 h 240"/>
                <a:gd name="T94" fmla="*/ 60070 w 180"/>
                <a:gd name="T95" fmla="*/ 88953 h 240"/>
                <a:gd name="T96" fmla="*/ 66984 w 180"/>
                <a:gd name="T97" fmla="*/ 97631 h 240"/>
                <a:gd name="T98" fmla="*/ 70441 w 180"/>
                <a:gd name="T99" fmla="*/ 102513 h 240"/>
                <a:gd name="T100" fmla="*/ 73034 w 180"/>
                <a:gd name="T101" fmla="*/ 107937 h 240"/>
                <a:gd name="T102" fmla="*/ 75627 w 180"/>
                <a:gd name="T103" fmla="*/ 113903 h 240"/>
                <a:gd name="T104" fmla="*/ 77788 w 180"/>
                <a:gd name="T105" fmla="*/ 12041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0" name="Freeform 72">
              <a:extLst>
                <a:ext uri="{FF2B5EF4-FFF2-40B4-BE49-F238E27FC236}">
                  <a16:creationId xmlns:a16="http://schemas.microsoft.com/office/drawing/2014/main" id="{351C27DE-1D36-4A0C-B8F2-CF358F8E0471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10852770" y="4496919"/>
              <a:ext cx="18530" cy="61324"/>
            </a:xfrm>
            <a:custGeom>
              <a:avLst/>
              <a:gdLst>
                <a:gd name="T0" fmla="*/ 0 w 27"/>
                <a:gd name="T1" fmla="*/ 0 h 30"/>
                <a:gd name="T2" fmla="*/ 529 w 27"/>
                <a:gd name="T3" fmla="*/ 9525 h 30"/>
                <a:gd name="T4" fmla="*/ 1588 w 27"/>
                <a:gd name="T5" fmla="*/ 20955 h 30"/>
                <a:gd name="T6" fmla="*/ 2117 w 27"/>
                <a:gd name="T7" fmla="*/ 26670 h 30"/>
                <a:gd name="T8" fmla="*/ 2117 w 27"/>
                <a:gd name="T9" fmla="*/ 36195 h 30"/>
                <a:gd name="T10" fmla="*/ 1588 w 27"/>
                <a:gd name="T11" fmla="*/ 45720 h 30"/>
                <a:gd name="T12" fmla="*/ 0 w 27"/>
                <a:gd name="T13" fmla="*/ 57150 h 30"/>
                <a:gd name="T14" fmla="*/ 8996 w 27"/>
                <a:gd name="T15" fmla="*/ 51435 h 30"/>
                <a:gd name="T16" fmla="*/ 14288 w 27"/>
                <a:gd name="T17" fmla="*/ 45720 h 30"/>
                <a:gd name="T18" fmla="*/ 12171 w 27"/>
                <a:gd name="T19" fmla="*/ 38100 h 30"/>
                <a:gd name="T20" fmla="*/ 8996 w 27"/>
                <a:gd name="T21" fmla="*/ 22860 h 30"/>
                <a:gd name="T22" fmla="*/ 5821 w 27"/>
                <a:gd name="T23" fmla="*/ 15240 h 30"/>
                <a:gd name="T24" fmla="*/ 3704 w 27"/>
                <a:gd name="T25" fmla="*/ 7620 h 30"/>
                <a:gd name="T26" fmla="*/ 2117 w 27"/>
                <a:gd name="T27" fmla="*/ 190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61" name="Group 73">
              <a:extLst>
                <a:ext uri="{FF2B5EF4-FFF2-40B4-BE49-F238E27FC236}">
                  <a16:creationId xmlns:a16="http://schemas.microsoft.com/office/drawing/2014/main" id="{616EC3F8-D0BA-487B-8A68-0B1D238B26B7}"/>
                </a:ext>
              </a:extLst>
            </p:cNvPr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10451312" y="5055643"/>
              <a:ext cx="594982" cy="434374"/>
              <a:chOff x="5372" y="3323"/>
              <a:chExt cx="341" cy="253"/>
            </a:xfrm>
          </p:grpSpPr>
          <p:sp>
            <p:nvSpPr>
              <p:cNvPr id="535" name="Freeform 74">
                <a:extLst>
                  <a:ext uri="{FF2B5EF4-FFF2-40B4-BE49-F238E27FC236}">
                    <a16:creationId xmlns:a16="http://schemas.microsoft.com/office/drawing/2014/main" id="{00969BD7-157C-4029-8574-33D4BE1A90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36" name="Freeform 75">
                <a:extLst>
                  <a:ext uri="{FF2B5EF4-FFF2-40B4-BE49-F238E27FC236}">
                    <a16:creationId xmlns:a16="http://schemas.microsoft.com/office/drawing/2014/main" id="{E9E585FC-8E45-430C-8317-762E9B3605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37" name="Freeform 76">
                <a:extLst>
                  <a:ext uri="{FF2B5EF4-FFF2-40B4-BE49-F238E27FC236}">
                    <a16:creationId xmlns:a16="http://schemas.microsoft.com/office/drawing/2014/main" id="{A92A040E-86DE-4CD7-8E83-AA62BA0A73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62" name="Freeform 77">
              <a:extLst>
                <a:ext uri="{FF2B5EF4-FFF2-40B4-BE49-F238E27FC236}">
                  <a16:creationId xmlns:a16="http://schemas.microsoft.com/office/drawing/2014/main" id="{07AAB167-249D-4920-B099-4C68DB534A04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9988089" y="3614544"/>
              <a:ext cx="12353" cy="61324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3" name="Freeform 78">
              <a:extLst>
                <a:ext uri="{FF2B5EF4-FFF2-40B4-BE49-F238E27FC236}">
                  <a16:creationId xmlns:a16="http://schemas.microsoft.com/office/drawing/2014/main" id="{48B88499-A8A1-4EF7-9860-B5B6343DA9EB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10931003" y="4582090"/>
              <a:ext cx="18530" cy="61324"/>
            </a:xfrm>
            <a:custGeom>
              <a:avLst/>
              <a:gdLst>
                <a:gd name="T0" fmla="*/ 0 w 33"/>
                <a:gd name="T1" fmla="*/ 0 h 24"/>
                <a:gd name="T2" fmla="*/ 2165 w 33"/>
                <a:gd name="T3" fmla="*/ 11906 h 24"/>
                <a:gd name="T4" fmla="*/ 4330 w 33"/>
                <a:gd name="T5" fmla="*/ 23813 h 24"/>
                <a:gd name="T6" fmla="*/ 4763 w 33"/>
                <a:gd name="T7" fmla="*/ 30956 h 24"/>
                <a:gd name="T8" fmla="*/ 5196 w 33"/>
                <a:gd name="T9" fmla="*/ 38100 h 24"/>
                <a:gd name="T10" fmla="*/ 5629 w 33"/>
                <a:gd name="T11" fmla="*/ 47625 h 24"/>
                <a:gd name="T12" fmla="*/ 5629 w 33"/>
                <a:gd name="T13" fmla="*/ 57150 h 24"/>
                <a:gd name="T14" fmla="*/ 14288 w 33"/>
                <a:gd name="T15" fmla="*/ 0 h 24"/>
                <a:gd name="T16" fmla="*/ 10391 w 33"/>
                <a:gd name="T17" fmla="*/ 0 h 24"/>
                <a:gd name="T18" fmla="*/ 6928 w 33"/>
                <a:gd name="T19" fmla="*/ 0 h 24"/>
                <a:gd name="T20" fmla="*/ 389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4" name="Freeform 79">
              <a:extLst>
                <a:ext uri="{FF2B5EF4-FFF2-40B4-BE49-F238E27FC236}">
                  <a16:creationId xmlns:a16="http://schemas.microsoft.com/office/drawing/2014/main" id="{39BA7C71-03D1-478A-B500-36C15EFD1FDA}"/>
                </a:ext>
              </a:extLst>
            </p:cNvPr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10959826" y="4592310"/>
              <a:ext cx="22647" cy="63027"/>
            </a:xfrm>
            <a:custGeom>
              <a:avLst/>
              <a:gdLst>
                <a:gd name="T0" fmla="*/ 13759 w 33"/>
                <a:gd name="T1" fmla="*/ 58737 h 25"/>
                <a:gd name="T2" fmla="*/ 15346 w 33"/>
                <a:gd name="T3" fmla="*/ 51689 h 25"/>
                <a:gd name="T4" fmla="*/ 17463 w 33"/>
                <a:gd name="T5" fmla="*/ 42291 h 25"/>
                <a:gd name="T6" fmla="*/ 17463 w 33"/>
                <a:gd name="T7" fmla="*/ 0 h 25"/>
                <a:gd name="T8" fmla="*/ 13230 w 33"/>
                <a:gd name="T9" fmla="*/ 0 h 25"/>
                <a:gd name="T10" fmla="*/ 8467 w 33"/>
                <a:gd name="T11" fmla="*/ 0 h 25"/>
                <a:gd name="T12" fmla="*/ 3175 w 33"/>
                <a:gd name="T13" fmla="*/ 0 h 25"/>
                <a:gd name="T14" fmla="*/ 0 w 33"/>
                <a:gd name="T15" fmla="*/ 0 h 25"/>
                <a:gd name="T16" fmla="*/ 13759 w 33"/>
                <a:gd name="T17" fmla="*/ 5873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5" name="Freeform 80">
              <a:extLst>
                <a:ext uri="{FF2B5EF4-FFF2-40B4-BE49-F238E27FC236}">
                  <a16:creationId xmlns:a16="http://schemas.microsoft.com/office/drawing/2014/main" id="{B3781958-236B-4C21-ABBA-3DC0F968644B}"/>
                </a:ext>
              </a:extLst>
            </p:cNvPr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10070440" y="3602619"/>
              <a:ext cx="2059" cy="59620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6" name="Freeform 81">
              <a:extLst>
                <a:ext uri="{FF2B5EF4-FFF2-40B4-BE49-F238E27FC236}">
                  <a16:creationId xmlns:a16="http://schemas.microsoft.com/office/drawing/2014/main" id="{E1FD67D8-1C97-468E-A373-825BDB2E7188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10146615" y="3542999"/>
              <a:ext cx="8235" cy="61324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7" name="Freeform 82">
              <a:extLst>
                <a:ext uri="{FF2B5EF4-FFF2-40B4-BE49-F238E27FC236}">
                  <a16:creationId xmlns:a16="http://schemas.microsoft.com/office/drawing/2014/main" id="{FEA8E34D-5861-44D4-ACA5-344AF706D60D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10292787" y="3423759"/>
              <a:ext cx="6177" cy="61324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8" name="Freeform 83">
              <a:extLst>
                <a:ext uri="{FF2B5EF4-FFF2-40B4-BE49-F238E27FC236}">
                  <a16:creationId xmlns:a16="http://schemas.microsoft.com/office/drawing/2014/main" id="{2B27AECE-04B2-4D87-AE0E-618EDF8B098C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10490427" y="4173267"/>
              <a:ext cx="35000" cy="63027"/>
            </a:xfrm>
            <a:custGeom>
              <a:avLst/>
              <a:gdLst>
                <a:gd name="T0" fmla="*/ 0 w 67"/>
                <a:gd name="T1" fmla="*/ 0 h 74"/>
                <a:gd name="T2" fmla="*/ 403 w 67"/>
                <a:gd name="T3" fmla="*/ 13494 h 74"/>
                <a:gd name="T4" fmla="*/ 1208 w 67"/>
                <a:gd name="T5" fmla="*/ 23812 h 74"/>
                <a:gd name="T6" fmla="*/ 2820 w 67"/>
                <a:gd name="T7" fmla="*/ 32543 h 74"/>
                <a:gd name="T8" fmla="*/ 4834 w 67"/>
                <a:gd name="T9" fmla="*/ 39687 h 74"/>
                <a:gd name="T10" fmla="*/ 6848 w 67"/>
                <a:gd name="T11" fmla="*/ 46037 h 74"/>
                <a:gd name="T12" fmla="*/ 9265 w 67"/>
                <a:gd name="T13" fmla="*/ 50800 h 74"/>
                <a:gd name="T14" fmla="*/ 11279 w 67"/>
                <a:gd name="T15" fmla="*/ 54768 h 74"/>
                <a:gd name="T16" fmla="*/ 13293 w 67"/>
                <a:gd name="T17" fmla="*/ 58737 h 74"/>
                <a:gd name="T18" fmla="*/ 17723 w 67"/>
                <a:gd name="T19" fmla="*/ 51593 h 74"/>
                <a:gd name="T20" fmla="*/ 22154 w 67"/>
                <a:gd name="T21" fmla="*/ 43656 h 74"/>
                <a:gd name="T22" fmla="*/ 23766 w 67"/>
                <a:gd name="T23" fmla="*/ 38893 h 74"/>
                <a:gd name="T24" fmla="*/ 25377 w 67"/>
                <a:gd name="T25" fmla="*/ 34131 h 74"/>
                <a:gd name="T26" fmla="*/ 26585 w 67"/>
                <a:gd name="T27" fmla="*/ 29369 h 74"/>
                <a:gd name="T28" fmla="*/ 26988 w 67"/>
                <a:gd name="T29" fmla="*/ 23812 h 74"/>
                <a:gd name="T30" fmla="*/ 26988 w 67"/>
                <a:gd name="T31" fmla="*/ 19844 h 74"/>
                <a:gd name="T32" fmla="*/ 26988 w 67"/>
                <a:gd name="T33" fmla="*/ 14287 h 74"/>
                <a:gd name="T34" fmla="*/ 26988 w 67"/>
                <a:gd name="T35" fmla="*/ 7144 h 74"/>
                <a:gd name="T36" fmla="*/ 26988 w 67"/>
                <a:gd name="T37" fmla="*/ 0 h 74"/>
                <a:gd name="T38" fmla="*/ 19335 w 67"/>
                <a:gd name="T39" fmla="*/ 0 h 74"/>
                <a:gd name="T40" fmla="*/ 13293 w 67"/>
                <a:gd name="T41" fmla="*/ 0 h 74"/>
                <a:gd name="T42" fmla="*/ 6848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9" name="Freeform 84">
              <a:extLst>
                <a:ext uri="{FF2B5EF4-FFF2-40B4-BE49-F238E27FC236}">
                  <a16:creationId xmlns:a16="http://schemas.microsoft.com/office/drawing/2014/main" id="{0B02239F-0478-47B8-9690-2141B56FE024}"/>
                </a:ext>
              </a:extLst>
            </p:cNvPr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10572779" y="4188597"/>
              <a:ext cx="16470" cy="61324"/>
            </a:xfrm>
            <a:custGeom>
              <a:avLst/>
              <a:gdLst>
                <a:gd name="T0" fmla="*/ 0 w 34"/>
                <a:gd name="T1" fmla="*/ 0 h 38"/>
                <a:gd name="T2" fmla="*/ 747 w 34"/>
                <a:gd name="T3" fmla="*/ 4512 h 38"/>
                <a:gd name="T4" fmla="*/ 1494 w 34"/>
                <a:gd name="T5" fmla="*/ 10528 h 38"/>
                <a:gd name="T6" fmla="*/ 1868 w 34"/>
                <a:gd name="T7" fmla="*/ 16543 h 38"/>
                <a:gd name="T8" fmla="*/ 2241 w 34"/>
                <a:gd name="T9" fmla="*/ 24063 h 38"/>
                <a:gd name="T10" fmla="*/ 3735 w 34"/>
                <a:gd name="T11" fmla="*/ 42111 h 38"/>
                <a:gd name="T12" fmla="*/ 4856 w 34"/>
                <a:gd name="T13" fmla="*/ 57150 h 38"/>
                <a:gd name="T14" fmla="*/ 5976 w 34"/>
                <a:gd name="T15" fmla="*/ 55646 h 38"/>
                <a:gd name="T16" fmla="*/ 7471 w 34"/>
                <a:gd name="T17" fmla="*/ 54142 h 38"/>
                <a:gd name="T18" fmla="*/ 8591 w 34"/>
                <a:gd name="T19" fmla="*/ 51134 h 38"/>
                <a:gd name="T20" fmla="*/ 9712 w 34"/>
                <a:gd name="T21" fmla="*/ 46622 h 38"/>
                <a:gd name="T22" fmla="*/ 10459 w 34"/>
                <a:gd name="T23" fmla="*/ 42111 h 38"/>
                <a:gd name="T24" fmla="*/ 11953 w 34"/>
                <a:gd name="T25" fmla="*/ 36095 h 38"/>
                <a:gd name="T26" fmla="*/ 12326 w 34"/>
                <a:gd name="T27" fmla="*/ 31583 h 38"/>
                <a:gd name="T28" fmla="*/ 12700 w 34"/>
                <a:gd name="T29" fmla="*/ 28575 h 38"/>
                <a:gd name="T30" fmla="*/ 11579 w 34"/>
                <a:gd name="T31" fmla="*/ 27071 h 38"/>
                <a:gd name="T32" fmla="*/ 10459 w 34"/>
                <a:gd name="T33" fmla="*/ 25567 h 38"/>
                <a:gd name="T34" fmla="*/ 9712 w 34"/>
                <a:gd name="T35" fmla="*/ 21055 h 38"/>
                <a:gd name="T36" fmla="*/ 8965 w 34"/>
                <a:gd name="T37" fmla="*/ 18047 h 38"/>
                <a:gd name="T38" fmla="*/ 7097 w 34"/>
                <a:gd name="T39" fmla="*/ 9024 h 38"/>
                <a:gd name="T40" fmla="*/ 4856 w 34"/>
                <a:gd name="T41" fmla="*/ 0 h 38"/>
                <a:gd name="T42" fmla="*/ 2241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0" name="Freeform 85">
              <a:extLst>
                <a:ext uri="{FF2B5EF4-FFF2-40B4-BE49-F238E27FC236}">
                  <a16:creationId xmlns:a16="http://schemas.microsoft.com/office/drawing/2014/main" id="{CEDFECDF-16BE-468D-B01F-A7017C9CA76D}"/>
                </a:ext>
              </a:extLst>
            </p:cNvPr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10387490" y="3948415"/>
              <a:ext cx="32940" cy="59620"/>
            </a:xfrm>
            <a:custGeom>
              <a:avLst/>
              <a:gdLst>
                <a:gd name="T0" fmla="*/ 25400 w 53"/>
                <a:gd name="T1" fmla="*/ 55562 h 23"/>
                <a:gd name="T2" fmla="*/ 25400 w 53"/>
                <a:gd name="T3" fmla="*/ 9663 h 23"/>
                <a:gd name="T4" fmla="*/ 23483 w 53"/>
                <a:gd name="T5" fmla="*/ 4831 h 23"/>
                <a:gd name="T6" fmla="*/ 21566 w 53"/>
                <a:gd name="T7" fmla="*/ 2416 h 23"/>
                <a:gd name="T8" fmla="*/ 20128 w 53"/>
                <a:gd name="T9" fmla="*/ 0 h 23"/>
                <a:gd name="T10" fmla="*/ 18211 w 53"/>
                <a:gd name="T11" fmla="*/ 0 h 23"/>
                <a:gd name="T12" fmla="*/ 14857 w 53"/>
                <a:gd name="T13" fmla="*/ 2416 h 23"/>
                <a:gd name="T14" fmla="*/ 11502 w 53"/>
                <a:gd name="T15" fmla="*/ 9663 h 23"/>
                <a:gd name="T16" fmla="*/ 5272 w 53"/>
                <a:gd name="T17" fmla="*/ 31405 h 23"/>
                <a:gd name="T18" fmla="*/ 0 w 53"/>
                <a:gd name="T19" fmla="*/ 55562 h 23"/>
                <a:gd name="T20" fmla="*/ 25400 w 53"/>
                <a:gd name="T21" fmla="*/ 55562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1" name="Freeform 86">
              <a:extLst>
                <a:ext uri="{FF2B5EF4-FFF2-40B4-BE49-F238E27FC236}">
                  <a16:creationId xmlns:a16="http://schemas.microsoft.com/office/drawing/2014/main" id="{1EAC56E2-F86F-4DE4-A23E-832780A22819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10313374" y="3921160"/>
              <a:ext cx="14412" cy="61324"/>
            </a:xfrm>
            <a:custGeom>
              <a:avLst/>
              <a:gdLst>
                <a:gd name="T0" fmla="*/ 0 w 26"/>
                <a:gd name="T1" fmla="*/ 0 h 12"/>
                <a:gd name="T2" fmla="*/ 1710 w 26"/>
                <a:gd name="T3" fmla="*/ 19050 h 12"/>
                <a:gd name="T4" fmla="*/ 4702 w 26"/>
                <a:gd name="T5" fmla="*/ 38100 h 12"/>
                <a:gd name="T6" fmla="*/ 5984 w 26"/>
                <a:gd name="T7" fmla="*/ 42863 h 12"/>
                <a:gd name="T8" fmla="*/ 7694 w 26"/>
                <a:gd name="T9" fmla="*/ 52388 h 12"/>
                <a:gd name="T10" fmla="*/ 9403 w 26"/>
                <a:gd name="T11" fmla="*/ 52388 h 12"/>
                <a:gd name="T12" fmla="*/ 11113 w 26"/>
                <a:gd name="T13" fmla="*/ 57150 h 12"/>
                <a:gd name="T14" fmla="*/ 8976 w 26"/>
                <a:gd name="T15" fmla="*/ 33338 h 12"/>
                <a:gd name="T16" fmla="*/ 5557 w 26"/>
                <a:gd name="T17" fmla="*/ 14288 h 12"/>
                <a:gd name="T18" fmla="*/ 2137 w 26"/>
                <a:gd name="T19" fmla="*/ 4763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2" name="Freeform 87">
              <a:extLst>
                <a:ext uri="{FF2B5EF4-FFF2-40B4-BE49-F238E27FC236}">
                  <a16:creationId xmlns:a16="http://schemas.microsoft.com/office/drawing/2014/main" id="{5734F635-A6C0-4265-991F-4B6C92863AA7}"/>
                </a:ext>
              </a:extLst>
            </p:cNvPr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10572779" y="4277176"/>
              <a:ext cx="41175" cy="61324"/>
            </a:xfrm>
            <a:custGeom>
              <a:avLst/>
              <a:gdLst>
                <a:gd name="T0" fmla="*/ 0 w 73"/>
                <a:gd name="T1" fmla="*/ 0 h 57150"/>
                <a:gd name="T2" fmla="*/ 8699 w 73"/>
                <a:gd name="T3" fmla="*/ 0 h 57150"/>
                <a:gd name="T4" fmla="*/ 16092 w 73"/>
                <a:gd name="T5" fmla="*/ 0 h 57150"/>
                <a:gd name="T6" fmla="*/ 23921 w 73"/>
                <a:gd name="T7" fmla="*/ 0 h 57150"/>
                <a:gd name="T8" fmla="*/ 31750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3" name="Freeform 88">
              <a:extLst>
                <a:ext uri="{FF2B5EF4-FFF2-40B4-BE49-F238E27FC236}">
                  <a16:creationId xmlns:a16="http://schemas.microsoft.com/office/drawing/2014/main" id="{E6A272CD-74E1-407E-B613-60DE71392F97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10515134" y="4265253"/>
              <a:ext cx="28823" cy="61324"/>
            </a:xfrm>
            <a:custGeom>
              <a:avLst/>
              <a:gdLst>
                <a:gd name="T0" fmla="*/ 0 w 53"/>
                <a:gd name="T1" fmla="*/ 0 h 3"/>
                <a:gd name="T2" fmla="*/ 5871 w 53"/>
                <a:gd name="T3" fmla="*/ 0 h 3"/>
                <a:gd name="T4" fmla="*/ 11322 w 53"/>
                <a:gd name="T5" fmla="*/ 57150 h 3"/>
                <a:gd name="T6" fmla="*/ 13419 w 53"/>
                <a:gd name="T7" fmla="*/ 57150 h 3"/>
                <a:gd name="T8" fmla="*/ 16354 w 53"/>
                <a:gd name="T9" fmla="*/ 57150 h 3"/>
                <a:gd name="T10" fmla="*/ 18870 w 53"/>
                <a:gd name="T11" fmla="*/ 19050 h 3"/>
                <a:gd name="T12" fmla="*/ 22225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4" name="Line 89">
              <a:extLst>
                <a:ext uri="{FF2B5EF4-FFF2-40B4-BE49-F238E27FC236}">
                  <a16:creationId xmlns:a16="http://schemas.microsoft.com/office/drawing/2014/main" id="{E10BCA10-F494-40F1-89E3-0E1F09C95F0D}"/>
                </a:ext>
              </a:extLst>
            </p:cNvPr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10558367" y="4249920"/>
              <a:ext cx="26763" cy="681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5" name="Freeform 90">
              <a:extLst>
                <a:ext uri="{FF2B5EF4-FFF2-40B4-BE49-F238E27FC236}">
                  <a16:creationId xmlns:a16="http://schemas.microsoft.com/office/drawing/2014/main" id="{90BD0390-3755-46FD-874C-74EFB2552001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10585130" y="4256735"/>
              <a:ext cx="2059" cy="61324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6377 h 13"/>
                <a:gd name="T4" fmla="*/ 0 w 1588"/>
                <a:gd name="T5" fmla="*/ 5715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6" name="Freeform 91">
              <a:extLst>
                <a:ext uri="{FF2B5EF4-FFF2-40B4-BE49-F238E27FC236}">
                  <a16:creationId xmlns:a16="http://schemas.microsoft.com/office/drawing/2014/main" id="{FD3F7901-CA0D-4C4F-AFAC-074E5FA29048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10525427" y="4249920"/>
              <a:ext cx="18528" cy="63028"/>
            </a:xfrm>
            <a:custGeom>
              <a:avLst/>
              <a:gdLst>
                <a:gd name="T0" fmla="*/ 0 w 26"/>
                <a:gd name="T1" fmla="*/ 0 h 58738"/>
                <a:gd name="T2" fmla="*/ 8243 w 26"/>
                <a:gd name="T3" fmla="*/ 0 h 58738"/>
                <a:gd name="T4" fmla="*/ 1428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7" name="Freeform 92">
              <a:extLst>
                <a:ext uri="{FF2B5EF4-FFF2-40B4-BE49-F238E27FC236}">
                  <a16:creationId xmlns:a16="http://schemas.microsoft.com/office/drawing/2014/main" id="{9787F5E6-7469-493D-B805-70A2CF8BE629}"/>
                </a:ext>
              </a:extLst>
            </p:cNvPr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10517193" y="4229480"/>
              <a:ext cx="8235" cy="64731"/>
            </a:xfrm>
            <a:custGeom>
              <a:avLst/>
              <a:gdLst>
                <a:gd name="T0" fmla="*/ 6350 w 20"/>
                <a:gd name="T1" fmla="*/ 0 h 25"/>
                <a:gd name="T2" fmla="*/ 0 w 20"/>
                <a:gd name="T3" fmla="*/ 31369 h 25"/>
                <a:gd name="T4" fmla="*/ 1270 w 20"/>
                <a:gd name="T5" fmla="*/ 43434 h 25"/>
                <a:gd name="T6" fmla="*/ 3175 w 20"/>
                <a:gd name="T7" fmla="*/ 50673 h 25"/>
                <a:gd name="T8" fmla="*/ 4445 w 20"/>
                <a:gd name="T9" fmla="*/ 57912 h 25"/>
                <a:gd name="T10" fmla="*/ 6350 w 20"/>
                <a:gd name="T11" fmla="*/ 60325 h 25"/>
                <a:gd name="T12" fmla="*/ 635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8" name="Freeform 93">
              <a:extLst>
                <a:ext uri="{FF2B5EF4-FFF2-40B4-BE49-F238E27FC236}">
                  <a16:creationId xmlns:a16="http://schemas.microsoft.com/office/drawing/2014/main" id="{C38C41F8-9156-42DE-BBE5-46841D4063ED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10622188" y="3936490"/>
              <a:ext cx="2059" cy="61324"/>
            </a:xfrm>
            <a:custGeom>
              <a:avLst/>
              <a:gdLst>
                <a:gd name="T0" fmla="*/ 0 w 6"/>
                <a:gd name="T1" fmla="*/ 57150 h 24"/>
                <a:gd name="T2" fmla="*/ 0 w 6"/>
                <a:gd name="T3" fmla="*/ 0 h 24"/>
                <a:gd name="T4" fmla="*/ 1588 w 6"/>
                <a:gd name="T5" fmla="*/ 28575 h 24"/>
                <a:gd name="T6" fmla="*/ 0 w 6"/>
                <a:gd name="T7" fmla="*/ 5715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79" name="Group 94">
              <a:extLst>
                <a:ext uri="{FF2B5EF4-FFF2-40B4-BE49-F238E27FC236}">
                  <a16:creationId xmlns:a16="http://schemas.microsoft.com/office/drawing/2014/main" id="{D437401B-21B7-4BC7-A4BB-C858004EF479}"/>
                </a:ext>
              </a:extLst>
            </p:cNvPr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10459548" y="3583882"/>
              <a:ext cx="212052" cy="122647"/>
              <a:chOff x="5379" y="2466"/>
              <a:chExt cx="122" cy="71"/>
            </a:xfrm>
          </p:grpSpPr>
          <p:sp>
            <p:nvSpPr>
              <p:cNvPr id="526" name="Freeform 95">
                <a:extLst>
                  <a:ext uri="{FF2B5EF4-FFF2-40B4-BE49-F238E27FC236}">
                    <a16:creationId xmlns:a16="http://schemas.microsoft.com/office/drawing/2014/main" id="{54C4A6AD-F523-477E-9CFC-8C05D90C6A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27" name="Freeform 96">
                <a:extLst>
                  <a:ext uri="{FF2B5EF4-FFF2-40B4-BE49-F238E27FC236}">
                    <a16:creationId xmlns:a16="http://schemas.microsoft.com/office/drawing/2014/main" id="{47F539A4-D292-4617-8C2C-C4F0D4BE7C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28" name="Freeform 97">
                <a:extLst>
                  <a:ext uri="{FF2B5EF4-FFF2-40B4-BE49-F238E27FC236}">
                    <a16:creationId xmlns:a16="http://schemas.microsoft.com/office/drawing/2014/main" id="{0A85EB06-88B1-437E-BB2A-037B903ACF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29" name="Freeform 98">
                <a:extLst>
                  <a:ext uri="{FF2B5EF4-FFF2-40B4-BE49-F238E27FC236}">
                    <a16:creationId xmlns:a16="http://schemas.microsoft.com/office/drawing/2014/main" id="{C275FB30-5FBC-42F9-A792-073286A71C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30" name="Freeform 99">
                <a:extLst>
                  <a:ext uri="{FF2B5EF4-FFF2-40B4-BE49-F238E27FC236}">
                    <a16:creationId xmlns:a16="http://schemas.microsoft.com/office/drawing/2014/main" id="{BB7E8A0E-958E-45DF-B22C-7BBFD4CDBF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31" name="Line 100">
                <a:extLst>
                  <a:ext uri="{FF2B5EF4-FFF2-40B4-BE49-F238E27FC236}">
                    <a16:creationId xmlns:a16="http://schemas.microsoft.com/office/drawing/2014/main" id="{33CA8B82-3C7F-47DB-9BF5-3B5213F0AB1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32" name="Freeform 101">
                <a:extLst>
                  <a:ext uri="{FF2B5EF4-FFF2-40B4-BE49-F238E27FC236}">
                    <a16:creationId xmlns:a16="http://schemas.microsoft.com/office/drawing/2014/main" id="{851450F6-97DC-4CA0-A059-CCDEDDDA21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33" name="Line 102">
                <a:extLst>
                  <a:ext uri="{FF2B5EF4-FFF2-40B4-BE49-F238E27FC236}">
                    <a16:creationId xmlns:a16="http://schemas.microsoft.com/office/drawing/2014/main" id="{B2BCE1EA-70EF-4A61-87D0-C70D3C9D564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34" name="Freeform 103">
                <a:extLst>
                  <a:ext uri="{FF2B5EF4-FFF2-40B4-BE49-F238E27FC236}">
                    <a16:creationId xmlns:a16="http://schemas.microsoft.com/office/drawing/2014/main" id="{E2BE91A8-393B-4F59-987B-3DFA514ABC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80" name="Freeform 104">
              <a:extLst>
                <a:ext uri="{FF2B5EF4-FFF2-40B4-BE49-F238E27FC236}">
                  <a16:creationId xmlns:a16="http://schemas.microsoft.com/office/drawing/2014/main" id="{3AC5B964-9B76-494D-967A-F5710AB65DB5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8623129" y="3435683"/>
              <a:ext cx="8235" cy="61324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1" name="Freeform 105">
              <a:extLst>
                <a:ext uri="{FF2B5EF4-FFF2-40B4-BE49-F238E27FC236}">
                  <a16:creationId xmlns:a16="http://schemas.microsoft.com/office/drawing/2014/main" id="{C5AE32CA-3CC6-4A35-94C5-4405FCEB6FFE}"/>
                </a:ext>
              </a:extLst>
            </p:cNvPr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602363" y="5731903"/>
              <a:ext cx="69998" cy="63028"/>
            </a:xfrm>
            <a:custGeom>
              <a:avLst/>
              <a:gdLst>
                <a:gd name="T0" fmla="*/ 0 w 126"/>
                <a:gd name="T1" fmla="*/ 18000 h 62"/>
                <a:gd name="T2" fmla="*/ 4712 w 126"/>
                <a:gd name="T3" fmla="*/ 18948 h 62"/>
                <a:gd name="T4" fmla="*/ 8996 w 126"/>
                <a:gd name="T5" fmla="*/ 19895 h 62"/>
                <a:gd name="T6" fmla="*/ 12423 w 126"/>
                <a:gd name="T7" fmla="*/ 21790 h 62"/>
                <a:gd name="T8" fmla="*/ 15421 w 126"/>
                <a:gd name="T9" fmla="*/ 24632 h 62"/>
                <a:gd name="T10" fmla="*/ 21419 w 126"/>
                <a:gd name="T11" fmla="*/ 31264 h 62"/>
                <a:gd name="T12" fmla="*/ 26131 w 126"/>
                <a:gd name="T13" fmla="*/ 37895 h 62"/>
                <a:gd name="T14" fmla="*/ 29986 w 126"/>
                <a:gd name="T15" fmla="*/ 45475 h 62"/>
                <a:gd name="T16" fmla="*/ 33841 w 126"/>
                <a:gd name="T17" fmla="*/ 52106 h 62"/>
                <a:gd name="T18" fmla="*/ 35983 w 126"/>
                <a:gd name="T19" fmla="*/ 54948 h 62"/>
                <a:gd name="T20" fmla="*/ 38125 w 126"/>
                <a:gd name="T21" fmla="*/ 56843 h 62"/>
                <a:gd name="T22" fmla="*/ 40695 w 126"/>
                <a:gd name="T23" fmla="*/ 57791 h 62"/>
                <a:gd name="T24" fmla="*/ 42837 w 126"/>
                <a:gd name="T25" fmla="*/ 58738 h 62"/>
                <a:gd name="T26" fmla="*/ 44979 w 126"/>
                <a:gd name="T27" fmla="*/ 57791 h 62"/>
                <a:gd name="T28" fmla="*/ 46693 w 126"/>
                <a:gd name="T29" fmla="*/ 56843 h 62"/>
                <a:gd name="T30" fmla="*/ 48406 w 126"/>
                <a:gd name="T31" fmla="*/ 54948 h 62"/>
                <a:gd name="T32" fmla="*/ 50120 w 126"/>
                <a:gd name="T33" fmla="*/ 53054 h 62"/>
                <a:gd name="T34" fmla="*/ 52262 w 126"/>
                <a:gd name="T35" fmla="*/ 48317 h 62"/>
                <a:gd name="T36" fmla="*/ 53975 w 126"/>
                <a:gd name="T37" fmla="*/ 46422 h 62"/>
                <a:gd name="T38" fmla="*/ 47121 w 126"/>
                <a:gd name="T39" fmla="*/ 31264 h 62"/>
                <a:gd name="T40" fmla="*/ 41124 w 126"/>
                <a:gd name="T41" fmla="*/ 19895 h 62"/>
                <a:gd name="T42" fmla="*/ 38125 w 126"/>
                <a:gd name="T43" fmla="*/ 14211 h 62"/>
                <a:gd name="T44" fmla="*/ 34698 w 126"/>
                <a:gd name="T45" fmla="*/ 8526 h 62"/>
                <a:gd name="T46" fmla="*/ 30843 w 126"/>
                <a:gd name="T47" fmla="*/ 4737 h 62"/>
                <a:gd name="T48" fmla="*/ 26131 w 126"/>
                <a:gd name="T49" fmla="*/ 0 h 62"/>
                <a:gd name="T50" fmla="*/ 0 w 126"/>
                <a:gd name="T51" fmla="*/ 0 h 62"/>
                <a:gd name="T52" fmla="*/ 0 w 126"/>
                <a:gd name="T53" fmla="*/ 8526 h 62"/>
                <a:gd name="T54" fmla="*/ 0 w 126"/>
                <a:gd name="T55" fmla="*/ 1800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2" name="Freeform 106">
              <a:extLst>
                <a:ext uri="{FF2B5EF4-FFF2-40B4-BE49-F238E27FC236}">
                  <a16:creationId xmlns:a16="http://schemas.microsoft.com/office/drawing/2014/main" id="{52E2D46E-D698-43BC-AC8B-D896318362D4}"/>
                </a:ext>
              </a:extLst>
            </p:cNvPr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7587570" y="5558153"/>
              <a:ext cx="39117" cy="59620"/>
            </a:xfrm>
            <a:custGeom>
              <a:avLst/>
              <a:gdLst>
                <a:gd name="T0" fmla="*/ 0 w 66"/>
                <a:gd name="T1" fmla="*/ 0 h 44"/>
                <a:gd name="T2" fmla="*/ 5941 w 66"/>
                <a:gd name="T3" fmla="*/ 1263 h 44"/>
                <a:gd name="T4" fmla="*/ 10511 w 66"/>
                <a:gd name="T5" fmla="*/ 2526 h 44"/>
                <a:gd name="T6" fmla="*/ 14624 w 66"/>
                <a:gd name="T7" fmla="*/ 5051 h 44"/>
                <a:gd name="T8" fmla="*/ 17367 w 66"/>
                <a:gd name="T9" fmla="*/ 8840 h 44"/>
                <a:gd name="T10" fmla="*/ 20109 w 66"/>
                <a:gd name="T11" fmla="*/ 11365 h 44"/>
                <a:gd name="T12" fmla="*/ 22851 w 66"/>
                <a:gd name="T13" fmla="*/ 13891 h 44"/>
                <a:gd name="T14" fmla="*/ 26050 w 66"/>
                <a:gd name="T15" fmla="*/ 15154 h 44"/>
                <a:gd name="T16" fmla="*/ 30163 w 66"/>
                <a:gd name="T17" fmla="*/ 16416 h 44"/>
                <a:gd name="T18" fmla="*/ 29706 w 66"/>
                <a:gd name="T19" fmla="*/ 21468 h 44"/>
                <a:gd name="T20" fmla="*/ 28335 w 66"/>
                <a:gd name="T21" fmla="*/ 26519 h 44"/>
                <a:gd name="T22" fmla="*/ 27421 w 66"/>
                <a:gd name="T23" fmla="*/ 31570 h 44"/>
                <a:gd name="T24" fmla="*/ 26050 w 66"/>
                <a:gd name="T25" fmla="*/ 35358 h 44"/>
                <a:gd name="T26" fmla="*/ 22394 w 66"/>
                <a:gd name="T27" fmla="*/ 42935 h 44"/>
                <a:gd name="T28" fmla="*/ 18281 w 66"/>
                <a:gd name="T29" fmla="*/ 49249 h 44"/>
                <a:gd name="T30" fmla="*/ 14167 w 66"/>
                <a:gd name="T31" fmla="*/ 53037 h 44"/>
                <a:gd name="T32" fmla="*/ 9597 w 66"/>
                <a:gd name="T33" fmla="*/ 55563 h 44"/>
                <a:gd name="T34" fmla="*/ 4570 w 66"/>
                <a:gd name="T35" fmla="*/ 55563 h 44"/>
                <a:gd name="T36" fmla="*/ 0 w 66"/>
                <a:gd name="T37" fmla="*/ 54300 h 44"/>
                <a:gd name="T38" fmla="*/ 0 w 66"/>
                <a:gd name="T39" fmla="*/ 39147 h 44"/>
                <a:gd name="T40" fmla="*/ 0 w 66"/>
                <a:gd name="T41" fmla="*/ 27782 h 44"/>
                <a:gd name="T42" fmla="*/ 0 w 66"/>
                <a:gd name="T43" fmla="*/ 15154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3" name="Freeform 107">
              <a:extLst>
                <a:ext uri="{FF2B5EF4-FFF2-40B4-BE49-F238E27FC236}">
                  <a16:creationId xmlns:a16="http://schemas.microsoft.com/office/drawing/2014/main" id="{8EDAE0EA-0692-470E-8CD7-4D3305D6093F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10381314" y="2093382"/>
              <a:ext cx="26763" cy="61324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4" name="Freeform 108">
              <a:extLst>
                <a:ext uri="{FF2B5EF4-FFF2-40B4-BE49-F238E27FC236}">
                  <a16:creationId xmlns:a16="http://schemas.microsoft.com/office/drawing/2014/main" id="{4AA8F1CC-C8A6-4DEF-B237-906E899B3646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10609836" y="2129154"/>
              <a:ext cx="20588" cy="61324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5" name="Freeform 109">
              <a:extLst>
                <a:ext uri="{FF2B5EF4-FFF2-40B4-BE49-F238E27FC236}">
                  <a16:creationId xmlns:a16="http://schemas.microsoft.com/office/drawing/2014/main" id="{8907FAA4-3019-4BCC-A298-A38309B4FE83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9895446" y="2376151"/>
              <a:ext cx="6176" cy="63028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6" name="Freeform 110">
              <a:extLst>
                <a:ext uri="{FF2B5EF4-FFF2-40B4-BE49-F238E27FC236}">
                  <a16:creationId xmlns:a16="http://schemas.microsoft.com/office/drawing/2014/main" id="{1AE14E21-ADF6-43E7-BADA-5DC7D408694D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9654569" y="2979164"/>
              <a:ext cx="18530" cy="63028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7" name="Freeform 111">
              <a:extLst>
                <a:ext uri="{FF2B5EF4-FFF2-40B4-BE49-F238E27FC236}">
                  <a16:creationId xmlns:a16="http://schemas.microsoft.com/office/drawing/2014/main" id="{40D8D5F2-AA02-4F74-9031-F9D9433F3A02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9677216" y="2909324"/>
              <a:ext cx="20588" cy="61324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8" name="Freeform 112">
              <a:extLst>
                <a:ext uri="{FF2B5EF4-FFF2-40B4-BE49-F238E27FC236}">
                  <a16:creationId xmlns:a16="http://schemas.microsoft.com/office/drawing/2014/main" id="{147BE441-3868-49BD-B93D-0B9D54AD1F2A}"/>
                </a:ext>
              </a:extLst>
            </p:cNvPr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9533103" y="2747498"/>
              <a:ext cx="2058" cy="64731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9" name="Freeform 113">
              <a:extLst>
                <a:ext uri="{FF2B5EF4-FFF2-40B4-BE49-F238E27FC236}">
                  <a16:creationId xmlns:a16="http://schemas.microsoft.com/office/drawing/2014/main" id="{90799D54-ED8E-433D-A5EF-87D73B3871BB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5450573" y="1810613"/>
              <a:ext cx="12353" cy="61324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0" name="Freeform 114">
              <a:extLst>
                <a:ext uri="{FF2B5EF4-FFF2-40B4-BE49-F238E27FC236}">
                  <a16:creationId xmlns:a16="http://schemas.microsoft.com/office/drawing/2014/main" id="{AD00745C-E1EC-4307-9841-1F2E4E80648D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5432045" y="1561912"/>
              <a:ext cx="4118" cy="61324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1" name="Freeform 115">
              <a:extLst>
                <a:ext uri="{FF2B5EF4-FFF2-40B4-BE49-F238E27FC236}">
                  <a16:creationId xmlns:a16="http://schemas.microsoft.com/office/drawing/2014/main" id="{F1DCBA58-2717-41BC-B90E-D28B0AE61E1F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7352872" y="3469750"/>
              <a:ext cx="32940" cy="59620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2" name="Freeform 116">
              <a:extLst>
                <a:ext uri="{FF2B5EF4-FFF2-40B4-BE49-F238E27FC236}">
                  <a16:creationId xmlns:a16="http://schemas.microsoft.com/office/drawing/2014/main" id="{DE42FA7A-E772-43FD-B928-0EB9F910C53C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6967884" y="3321554"/>
              <a:ext cx="24705" cy="63027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93" name="Group 117">
              <a:extLst>
                <a:ext uri="{FF2B5EF4-FFF2-40B4-BE49-F238E27FC236}">
                  <a16:creationId xmlns:a16="http://schemas.microsoft.com/office/drawing/2014/main" id="{869DDE72-BBE0-4AA0-9002-B1F68C23EFA3}"/>
                </a:ext>
              </a:extLst>
            </p:cNvPr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7968443" y="3522558"/>
              <a:ext cx="59704" cy="402009"/>
              <a:chOff x="3950" y="2430"/>
              <a:chExt cx="36" cy="234"/>
            </a:xfrm>
          </p:grpSpPr>
          <p:sp>
            <p:nvSpPr>
              <p:cNvPr id="495" name="Freeform 118">
                <a:extLst>
                  <a:ext uri="{FF2B5EF4-FFF2-40B4-BE49-F238E27FC236}">
                    <a16:creationId xmlns:a16="http://schemas.microsoft.com/office/drawing/2014/main" id="{CE7C393A-0F3D-4C8C-8860-CF3B2F4D97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96" name="Freeform 119">
                <a:extLst>
                  <a:ext uri="{FF2B5EF4-FFF2-40B4-BE49-F238E27FC236}">
                    <a16:creationId xmlns:a16="http://schemas.microsoft.com/office/drawing/2014/main" id="{AE3CA47F-C3C4-4E79-BF8C-E63FC88DA1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97" name="Freeform 120">
                <a:extLst>
                  <a:ext uri="{FF2B5EF4-FFF2-40B4-BE49-F238E27FC236}">
                    <a16:creationId xmlns:a16="http://schemas.microsoft.com/office/drawing/2014/main" id="{5272233B-4780-4EE4-B495-F8FFA5DBC3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98" name="Rectangle 121">
                <a:extLst>
                  <a:ext uri="{FF2B5EF4-FFF2-40B4-BE49-F238E27FC236}">
                    <a16:creationId xmlns:a16="http://schemas.microsoft.com/office/drawing/2014/main" id="{25E65626-DFFD-4278-85FE-7B385D14C4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+mn-cs"/>
                </a:endParaRPr>
              </a:p>
            </p:txBody>
          </p:sp>
          <p:sp>
            <p:nvSpPr>
              <p:cNvPr id="499" name="Line 122">
                <a:extLst>
                  <a:ext uri="{FF2B5EF4-FFF2-40B4-BE49-F238E27FC236}">
                    <a16:creationId xmlns:a16="http://schemas.microsoft.com/office/drawing/2014/main" id="{781BF68F-348B-4C4B-B7B1-EBCB854556D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00" name="Freeform 123">
                <a:extLst>
                  <a:ext uri="{FF2B5EF4-FFF2-40B4-BE49-F238E27FC236}">
                    <a16:creationId xmlns:a16="http://schemas.microsoft.com/office/drawing/2014/main" id="{C3963A01-5D53-41F2-922F-B4794A85BD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01" name="Freeform 124">
                <a:extLst>
                  <a:ext uri="{FF2B5EF4-FFF2-40B4-BE49-F238E27FC236}">
                    <a16:creationId xmlns:a16="http://schemas.microsoft.com/office/drawing/2014/main" id="{F61CDC42-75AD-4A97-875E-8567C3A7CD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02" name="Line 125">
                <a:extLst>
                  <a:ext uri="{FF2B5EF4-FFF2-40B4-BE49-F238E27FC236}">
                    <a16:creationId xmlns:a16="http://schemas.microsoft.com/office/drawing/2014/main" id="{63238D64-774A-43D6-A83D-9B27F35B21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03" name="Freeform 126">
                <a:extLst>
                  <a:ext uri="{FF2B5EF4-FFF2-40B4-BE49-F238E27FC236}">
                    <a16:creationId xmlns:a16="http://schemas.microsoft.com/office/drawing/2014/main" id="{0A6FD718-D363-4F88-A1D0-210DCCFAD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04" name="Freeform 127">
                <a:extLst>
                  <a:ext uri="{FF2B5EF4-FFF2-40B4-BE49-F238E27FC236}">
                    <a16:creationId xmlns:a16="http://schemas.microsoft.com/office/drawing/2014/main" id="{FC9B03B8-30A0-43ED-B9E7-4721DF5930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05" name="Line 128">
                <a:extLst>
                  <a:ext uri="{FF2B5EF4-FFF2-40B4-BE49-F238E27FC236}">
                    <a16:creationId xmlns:a16="http://schemas.microsoft.com/office/drawing/2014/main" id="{837623F4-D21F-4455-8422-397E2D45665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06" name="Freeform 129">
                <a:extLst>
                  <a:ext uri="{FF2B5EF4-FFF2-40B4-BE49-F238E27FC236}">
                    <a16:creationId xmlns:a16="http://schemas.microsoft.com/office/drawing/2014/main" id="{E7E93305-5AF8-4288-AAEC-EC87C0851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07" name="Freeform 130">
                <a:extLst>
                  <a:ext uri="{FF2B5EF4-FFF2-40B4-BE49-F238E27FC236}">
                    <a16:creationId xmlns:a16="http://schemas.microsoft.com/office/drawing/2014/main" id="{F36335FA-D731-4E70-B967-CE2F2409CE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08" name="Freeform 131">
                <a:extLst>
                  <a:ext uri="{FF2B5EF4-FFF2-40B4-BE49-F238E27FC236}">
                    <a16:creationId xmlns:a16="http://schemas.microsoft.com/office/drawing/2014/main" id="{1980BECC-E9E7-4765-A72F-14684E9ED6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09" name="Freeform 132">
                <a:extLst>
                  <a:ext uri="{FF2B5EF4-FFF2-40B4-BE49-F238E27FC236}">
                    <a16:creationId xmlns:a16="http://schemas.microsoft.com/office/drawing/2014/main" id="{7AA80392-1E43-46A6-BF31-CD306DD2AD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10" name="Freeform 133">
                <a:extLst>
                  <a:ext uri="{FF2B5EF4-FFF2-40B4-BE49-F238E27FC236}">
                    <a16:creationId xmlns:a16="http://schemas.microsoft.com/office/drawing/2014/main" id="{1982C7B6-D5B6-43BF-ADD0-72EE84DE55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11" name="Freeform 134">
                <a:extLst>
                  <a:ext uri="{FF2B5EF4-FFF2-40B4-BE49-F238E27FC236}">
                    <a16:creationId xmlns:a16="http://schemas.microsoft.com/office/drawing/2014/main" id="{D00D4416-3FDE-42AF-BAA6-C11BCFB043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12" name="Freeform 135">
                <a:extLst>
                  <a:ext uri="{FF2B5EF4-FFF2-40B4-BE49-F238E27FC236}">
                    <a16:creationId xmlns:a16="http://schemas.microsoft.com/office/drawing/2014/main" id="{4FC719F4-7AF0-40B0-AC96-12F676625F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13" name="Rectangle 136">
                <a:extLst>
                  <a:ext uri="{FF2B5EF4-FFF2-40B4-BE49-F238E27FC236}">
                    <a16:creationId xmlns:a16="http://schemas.microsoft.com/office/drawing/2014/main" id="{84FF598C-D961-45AE-9415-E22336AE56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+mn-cs"/>
                </a:endParaRPr>
              </a:p>
            </p:txBody>
          </p:sp>
          <p:sp>
            <p:nvSpPr>
              <p:cNvPr id="514" name="Line 137">
                <a:extLst>
                  <a:ext uri="{FF2B5EF4-FFF2-40B4-BE49-F238E27FC236}">
                    <a16:creationId xmlns:a16="http://schemas.microsoft.com/office/drawing/2014/main" id="{3A5266FA-D148-49AF-AE0E-9ED15768B31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15" name="Freeform 138">
                <a:extLst>
                  <a:ext uri="{FF2B5EF4-FFF2-40B4-BE49-F238E27FC236}">
                    <a16:creationId xmlns:a16="http://schemas.microsoft.com/office/drawing/2014/main" id="{EF320AE3-04B3-4E52-ACB2-F80851C38E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16" name="Freeform 139">
                <a:extLst>
                  <a:ext uri="{FF2B5EF4-FFF2-40B4-BE49-F238E27FC236}">
                    <a16:creationId xmlns:a16="http://schemas.microsoft.com/office/drawing/2014/main" id="{5F92CAD1-B7C4-41CB-BEC4-5DC7C178AE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17" name="Line 140">
                <a:extLst>
                  <a:ext uri="{FF2B5EF4-FFF2-40B4-BE49-F238E27FC236}">
                    <a16:creationId xmlns:a16="http://schemas.microsoft.com/office/drawing/2014/main" id="{8929E584-74FB-4F3A-B566-50B032164B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18" name="Freeform 141">
                <a:extLst>
                  <a:ext uri="{FF2B5EF4-FFF2-40B4-BE49-F238E27FC236}">
                    <a16:creationId xmlns:a16="http://schemas.microsoft.com/office/drawing/2014/main" id="{531A640A-0ADF-483E-9263-18C9334336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19" name="Freeform 142">
                <a:extLst>
                  <a:ext uri="{FF2B5EF4-FFF2-40B4-BE49-F238E27FC236}">
                    <a16:creationId xmlns:a16="http://schemas.microsoft.com/office/drawing/2014/main" id="{4FFF7BC1-AB9B-4DFA-8176-AD6057FF91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20" name="Line 143">
                <a:extLst>
                  <a:ext uri="{FF2B5EF4-FFF2-40B4-BE49-F238E27FC236}">
                    <a16:creationId xmlns:a16="http://schemas.microsoft.com/office/drawing/2014/main" id="{76C5E550-0316-44A4-BFD9-FFB6F4DE0F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21" name="Freeform 144">
                <a:extLst>
                  <a:ext uri="{FF2B5EF4-FFF2-40B4-BE49-F238E27FC236}">
                    <a16:creationId xmlns:a16="http://schemas.microsoft.com/office/drawing/2014/main" id="{3C82B0BD-4DC9-4E2C-83FE-69E9CDA5F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22" name="Freeform 145">
                <a:extLst>
                  <a:ext uri="{FF2B5EF4-FFF2-40B4-BE49-F238E27FC236}">
                    <a16:creationId xmlns:a16="http://schemas.microsoft.com/office/drawing/2014/main" id="{F557349C-27C5-4B38-8673-8844773A36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23" name="Freeform 146">
                <a:extLst>
                  <a:ext uri="{FF2B5EF4-FFF2-40B4-BE49-F238E27FC236}">
                    <a16:creationId xmlns:a16="http://schemas.microsoft.com/office/drawing/2014/main" id="{F81FDE3C-3836-4FD9-84EA-7F0BB3011E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24" name="Freeform 147">
                <a:extLst>
                  <a:ext uri="{FF2B5EF4-FFF2-40B4-BE49-F238E27FC236}">
                    <a16:creationId xmlns:a16="http://schemas.microsoft.com/office/drawing/2014/main" id="{BB4E1249-D24E-4DFF-B10D-D3BE85E2A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25" name="Freeform 148">
                <a:extLst>
                  <a:ext uri="{FF2B5EF4-FFF2-40B4-BE49-F238E27FC236}">
                    <a16:creationId xmlns:a16="http://schemas.microsoft.com/office/drawing/2014/main" id="{D1CB77C8-5656-4ED8-90B9-A027CDDD86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grpSp>
          <p:nvGrpSpPr>
            <p:cNvPr id="94" name="Group 149">
              <a:extLst>
                <a:ext uri="{FF2B5EF4-FFF2-40B4-BE49-F238E27FC236}">
                  <a16:creationId xmlns:a16="http://schemas.microsoft.com/office/drawing/2014/main" id="{E396BB6E-FF02-4AE4-A972-B3677B5B5D5C}"/>
                </a:ext>
              </a:extLst>
            </p:cNvPr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10646893" y="4059137"/>
              <a:ext cx="240875" cy="229963"/>
              <a:chOff x="5486" y="2743"/>
              <a:chExt cx="137" cy="132"/>
            </a:xfrm>
          </p:grpSpPr>
          <p:sp>
            <p:nvSpPr>
              <p:cNvPr id="486" name="Freeform 150">
                <a:extLst>
                  <a:ext uri="{FF2B5EF4-FFF2-40B4-BE49-F238E27FC236}">
                    <a16:creationId xmlns:a16="http://schemas.microsoft.com/office/drawing/2014/main" id="{3132F286-7676-4B85-ADB1-B84BAD1DD5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0 h 87"/>
                  <a:gd name="T2" fmla="*/ 0 w 40"/>
                  <a:gd name="T3" fmla="*/ 14 h 87"/>
                  <a:gd name="T4" fmla="*/ 1 w 40"/>
                  <a:gd name="T5" fmla="*/ 16 h 87"/>
                  <a:gd name="T6" fmla="*/ 2 w 40"/>
                  <a:gd name="T7" fmla="*/ 19 h 87"/>
                  <a:gd name="T8" fmla="*/ 3 w 40"/>
                  <a:gd name="T9" fmla="*/ 21 h 87"/>
                  <a:gd name="T10" fmla="*/ 5 w 40"/>
                  <a:gd name="T11" fmla="*/ 23 h 87"/>
                  <a:gd name="T12" fmla="*/ 7 w 40"/>
                  <a:gd name="T13" fmla="*/ 25 h 87"/>
                  <a:gd name="T14" fmla="*/ 10 w 40"/>
                  <a:gd name="T15" fmla="*/ 26 h 87"/>
                  <a:gd name="T16" fmla="*/ 13 w 40"/>
                  <a:gd name="T17" fmla="*/ 28 h 87"/>
                  <a:gd name="T18" fmla="*/ 11 w 40"/>
                  <a:gd name="T19" fmla="*/ 26 h 87"/>
                  <a:gd name="T20" fmla="*/ 10 w 40"/>
                  <a:gd name="T21" fmla="*/ 25 h 87"/>
                  <a:gd name="T22" fmla="*/ 9 w 40"/>
                  <a:gd name="T23" fmla="*/ 23 h 87"/>
                  <a:gd name="T24" fmla="*/ 8 w 40"/>
                  <a:gd name="T25" fmla="*/ 21 h 87"/>
                  <a:gd name="T26" fmla="*/ 7 w 40"/>
                  <a:gd name="T27" fmla="*/ 17 h 87"/>
                  <a:gd name="T28" fmla="*/ 7 w 40"/>
                  <a:gd name="T29" fmla="*/ 13 h 87"/>
                  <a:gd name="T30" fmla="*/ 6 w 40"/>
                  <a:gd name="T31" fmla="*/ 9 h 87"/>
                  <a:gd name="T32" fmla="*/ 4 w 40"/>
                  <a:gd name="T33" fmla="*/ 5 h 87"/>
                  <a:gd name="T34" fmla="*/ 4 w 40"/>
                  <a:gd name="T35" fmla="*/ 4 h 87"/>
                  <a:gd name="T36" fmla="*/ 3 w 40"/>
                  <a:gd name="T37" fmla="*/ 2 h 87"/>
                  <a:gd name="T38" fmla="*/ 1 w 40"/>
                  <a:gd name="T39" fmla="*/ 1 h 87"/>
                  <a:gd name="T40" fmla="*/ 0 w 40"/>
                  <a:gd name="T41" fmla="*/ 0 h 87"/>
                  <a:gd name="T42" fmla="*/ 0 w 40"/>
                  <a:gd name="T43" fmla="*/ 3 h 87"/>
                  <a:gd name="T44" fmla="*/ 0 w 40"/>
                  <a:gd name="T45" fmla="*/ 5 h 87"/>
                  <a:gd name="T46" fmla="*/ 0 w 40"/>
                  <a:gd name="T47" fmla="*/ 7 h 87"/>
                  <a:gd name="T48" fmla="*/ 0 w 40"/>
                  <a:gd name="T49" fmla="*/ 1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87" name="Freeform 151">
                <a:extLst>
                  <a:ext uri="{FF2B5EF4-FFF2-40B4-BE49-F238E27FC236}">
                    <a16:creationId xmlns:a16="http://schemas.microsoft.com/office/drawing/2014/main" id="{C10D3F34-B487-4DEC-A9AC-642344E7A6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0 h 37"/>
                  <a:gd name="T2" fmla="*/ 6 w 61"/>
                  <a:gd name="T3" fmla="*/ 10 h 37"/>
                  <a:gd name="T4" fmla="*/ 11 w 61"/>
                  <a:gd name="T5" fmla="*/ 11 h 37"/>
                  <a:gd name="T6" fmla="*/ 16 w 61"/>
                  <a:gd name="T7" fmla="*/ 12 h 37"/>
                  <a:gd name="T8" fmla="*/ 20 w 61"/>
                  <a:gd name="T9" fmla="*/ 12 h 37"/>
                  <a:gd name="T10" fmla="*/ 18 w 61"/>
                  <a:gd name="T11" fmla="*/ 9 h 37"/>
                  <a:gd name="T12" fmla="*/ 16 w 61"/>
                  <a:gd name="T13" fmla="*/ 7 h 37"/>
                  <a:gd name="T14" fmla="*/ 14 w 61"/>
                  <a:gd name="T15" fmla="*/ 6 h 37"/>
                  <a:gd name="T16" fmla="*/ 11 w 61"/>
                  <a:gd name="T17" fmla="*/ 4 h 37"/>
                  <a:gd name="T18" fmla="*/ 9 w 61"/>
                  <a:gd name="T19" fmla="*/ 3 h 37"/>
                  <a:gd name="T20" fmla="*/ 6 w 61"/>
                  <a:gd name="T21" fmla="*/ 2 h 37"/>
                  <a:gd name="T22" fmla="*/ 3 w 61"/>
                  <a:gd name="T23" fmla="*/ 1 h 37"/>
                  <a:gd name="T24" fmla="*/ 0 w 61"/>
                  <a:gd name="T25" fmla="*/ 0 h 37"/>
                  <a:gd name="T26" fmla="*/ 0 w 61"/>
                  <a:gd name="T27" fmla="*/ 1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88" name="Freeform 152">
                <a:extLst>
                  <a:ext uri="{FF2B5EF4-FFF2-40B4-BE49-F238E27FC236}">
                    <a16:creationId xmlns:a16="http://schemas.microsoft.com/office/drawing/2014/main" id="{AAB9825B-982C-4498-9AC7-E57CF9F19A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3 w 40"/>
                  <a:gd name="T1" fmla="*/ 10 h 30"/>
                  <a:gd name="T2" fmla="*/ 11 w 40"/>
                  <a:gd name="T3" fmla="*/ 9 h 30"/>
                  <a:gd name="T4" fmla="*/ 8 w 40"/>
                  <a:gd name="T5" fmla="*/ 8 h 30"/>
                  <a:gd name="T6" fmla="*/ 7 w 40"/>
                  <a:gd name="T7" fmla="*/ 7 h 30"/>
                  <a:gd name="T8" fmla="*/ 5 w 40"/>
                  <a:gd name="T9" fmla="*/ 6 h 30"/>
                  <a:gd name="T10" fmla="*/ 4 w 40"/>
                  <a:gd name="T11" fmla="*/ 5 h 30"/>
                  <a:gd name="T12" fmla="*/ 2 w 40"/>
                  <a:gd name="T13" fmla="*/ 4 h 30"/>
                  <a:gd name="T14" fmla="*/ 1 w 40"/>
                  <a:gd name="T15" fmla="*/ 2 h 30"/>
                  <a:gd name="T16" fmla="*/ 0 w 40"/>
                  <a:gd name="T17" fmla="*/ 0 h 30"/>
                  <a:gd name="T18" fmla="*/ 3 w 40"/>
                  <a:gd name="T19" fmla="*/ 1 h 30"/>
                  <a:gd name="T20" fmla="*/ 5 w 40"/>
                  <a:gd name="T21" fmla="*/ 2 h 30"/>
                  <a:gd name="T22" fmla="*/ 7 w 40"/>
                  <a:gd name="T23" fmla="*/ 3 h 30"/>
                  <a:gd name="T24" fmla="*/ 9 w 40"/>
                  <a:gd name="T25" fmla="*/ 5 h 30"/>
                  <a:gd name="T26" fmla="*/ 11 w 40"/>
                  <a:gd name="T27" fmla="*/ 6 h 30"/>
                  <a:gd name="T28" fmla="*/ 12 w 40"/>
                  <a:gd name="T29" fmla="*/ 8 h 30"/>
                  <a:gd name="T30" fmla="*/ 13 w 40"/>
                  <a:gd name="T31" fmla="*/ 9 h 30"/>
                  <a:gd name="T32" fmla="*/ 13 w 40"/>
                  <a:gd name="T33" fmla="*/ 1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89" name="Freeform 153">
                <a:extLst>
                  <a:ext uri="{FF2B5EF4-FFF2-40B4-BE49-F238E27FC236}">
                    <a16:creationId xmlns:a16="http://schemas.microsoft.com/office/drawing/2014/main" id="{3DC7E89B-0074-47A1-9C0F-64136FA98E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24 w 74"/>
                  <a:gd name="T1" fmla="*/ 26 h 80"/>
                  <a:gd name="T2" fmla="*/ 23 w 74"/>
                  <a:gd name="T3" fmla="*/ 24 h 80"/>
                  <a:gd name="T4" fmla="*/ 23 w 74"/>
                  <a:gd name="T5" fmla="*/ 21 h 80"/>
                  <a:gd name="T6" fmla="*/ 22 w 74"/>
                  <a:gd name="T7" fmla="*/ 20 h 80"/>
                  <a:gd name="T8" fmla="*/ 21 w 74"/>
                  <a:gd name="T9" fmla="*/ 17 h 80"/>
                  <a:gd name="T10" fmla="*/ 19 w 74"/>
                  <a:gd name="T11" fmla="*/ 14 h 80"/>
                  <a:gd name="T12" fmla="*/ 16 w 74"/>
                  <a:gd name="T13" fmla="*/ 11 h 80"/>
                  <a:gd name="T14" fmla="*/ 12 w 74"/>
                  <a:gd name="T15" fmla="*/ 8 h 80"/>
                  <a:gd name="T16" fmla="*/ 9 w 74"/>
                  <a:gd name="T17" fmla="*/ 6 h 80"/>
                  <a:gd name="T18" fmla="*/ 6 w 74"/>
                  <a:gd name="T19" fmla="*/ 3 h 80"/>
                  <a:gd name="T20" fmla="*/ 4 w 74"/>
                  <a:gd name="T21" fmla="*/ 0 h 80"/>
                  <a:gd name="T22" fmla="*/ 3 w 74"/>
                  <a:gd name="T23" fmla="*/ 2 h 80"/>
                  <a:gd name="T24" fmla="*/ 1 w 74"/>
                  <a:gd name="T25" fmla="*/ 3 h 80"/>
                  <a:gd name="T26" fmla="*/ 0 w 74"/>
                  <a:gd name="T27" fmla="*/ 5 h 80"/>
                  <a:gd name="T28" fmla="*/ 0 w 74"/>
                  <a:gd name="T29" fmla="*/ 6 h 80"/>
                  <a:gd name="T30" fmla="*/ 0 w 74"/>
                  <a:gd name="T31" fmla="*/ 8 h 80"/>
                  <a:gd name="T32" fmla="*/ 1 w 74"/>
                  <a:gd name="T33" fmla="*/ 10 h 80"/>
                  <a:gd name="T34" fmla="*/ 1 w 74"/>
                  <a:gd name="T35" fmla="*/ 12 h 80"/>
                  <a:gd name="T36" fmla="*/ 2 w 74"/>
                  <a:gd name="T37" fmla="*/ 13 h 80"/>
                  <a:gd name="T38" fmla="*/ 3 w 74"/>
                  <a:gd name="T39" fmla="*/ 15 h 80"/>
                  <a:gd name="T40" fmla="*/ 5 w 74"/>
                  <a:gd name="T41" fmla="*/ 17 h 80"/>
                  <a:gd name="T42" fmla="*/ 6 w 74"/>
                  <a:gd name="T43" fmla="*/ 18 h 80"/>
                  <a:gd name="T44" fmla="*/ 8 w 74"/>
                  <a:gd name="T45" fmla="*/ 20 h 80"/>
                  <a:gd name="T46" fmla="*/ 10 w 74"/>
                  <a:gd name="T47" fmla="*/ 21 h 80"/>
                  <a:gd name="T48" fmla="*/ 11 w 74"/>
                  <a:gd name="T49" fmla="*/ 22 h 80"/>
                  <a:gd name="T50" fmla="*/ 14 w 74"/>
                  <a:gd name="T51" fmla="*/ 23 h 80"/>
                  <a:gd name="T52" fmla="*/ 15 w 74"/>
                  <a:gd name="T53" fmla="*/ 24 h 80"/>
                  <a:gd name="T54" fmla="*/ 18 w 74"/>
                  <a:gd name="T55" fmla="*/ 25 h 80"/>
                  <a:gd name="T56" fmla="*/ 19 w 74"/>
                  <a:gd name="T57" fmla="*/ 26 h 80"/>
                  <a:gd name="T58" fmla="*/ 22 w 74"/>
                  <a:gd name="T59" fmla="*/ 26 h 80"/>
                  <a:gd name="T60" fmla="*/ 24 w 74"/>
                  <a:gd name="T61" fmla="*/ 26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90" name="Freeform 154">
                <a:extLst>
                  <a:ext uri="{FF2B5EF4-FFF2-40B4-BE49-F238E27FC236}">
                    <a16:creationId xmlns:a16="http://schemas.microsoft.com/office/drawing/2014/main" id="{271718B7-5661-4543-B9D5-1BDEA19918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6 w 86"/>
                  <a:gd name="T1" fmla="*/ 27 h 80"/>
                  <a:gd name="T2" fmla="*/ 26 w 86"/>
                  <a:gd name="T3" fmla="*/ 27 h 80"/>
                  <a:gd name="T4" fmla="*/ 26 w 86"/>
                  <a:gd name="T5" fmla="*/ 21 h 80"/>
                  <a:gd name="T6" fmla="*/ 24 w 86"/>
                  <a:gd name="T7" fmla="*/ 20 h 80"/>
                  <a:gd name="T8" fmla="*/ 22 w 86"/>
                  <a:gd name="T9" fmla="*/ 19 h 80"/>
                  <a:gd name="T10" fmla="*/ 20 w 86"/>
                  <a:gd name="T11" fmla="*/ 18 h 80"/>
                  <a:gd name="T12" fmla="*/ 18 w 86"/>
                  <a:gd name="T13" fmla="*/ 17 h 80"/>
                  <a:gd name="T14" fmla="*/ 15 w 86"/>
                  <a:gd name="T15" fmla="*/ 14 h 80"/>
                  <a:gd name="T16" fmla="*/ 13 w 86"/>
                  <a:gd name="T17" fmla="*/ 11 h 80"/>
                  <a:gd name="T18" fmla="*/ 10 w 86"/>
                  <a:gd name="T19" fmla="*/ 8 h 80"/>
                  <a:gd name="T20" fmla="*/ 7 w 86"/>
                  <a:gd name="T21" fmla="*/ 5 h 80"/>
                  <a:gd name="T22" fmla="*/ 4 w 86"/>
                  <a:gd name="T23" fmla="*/ 2 h 80"/>
                  <a:gd name="T24" fmla="*/ 0 w 86"/>
                  <a:gd name="T25" fmla="*/ 0 h 80"/>
                  <a:gd name="T26" fmla="*/ 0 w 86"/>
                  <a:gd name="T27" fmla="*/ 3 h 80"/>
                  <a:gd name="T28" fmla="*/ 2 w 86"/>
                  <a:gd name="T29" fmla="*/ 7 h 80"/>
                  <a:gd name="T30" fmla="*/ 3 w 86"/>
                  <a:gd name="T31" fmla="*/ 11 h 80"/>
                  <a:gd name="T32" fmla="*/ 5 w 86"/>
                  <a:gd name="T33" fmla="*/ 15 h 80"/>
                  <a:gd name="T34" fmla="*/ 8 w 86"/>
                  <a:gd name="T35" fmla="*/ 19 h 80"/>
                  <a:gd name="T36" fmla="*/ 11 w 86"/>
                  <a:gd name="T37" fmla="*/ 23 h 80"/>
                  <a:gd name="T38" fmla="*/ 12 w 86"/>
                  <a:gd name="T39" fmla="*/ 24 h 80"/>
                  <a:gd name="T40" fmla="*/ 14 w 86"/>
                  <a:gd name="T41" fmla="*/ 26 h 80"/>
                  <a:gd name="T42" fmla="*/ 15 w 86"/>
                  <a:gd name="T43" fmla="*/ 27 h 80"/>
                  <a:gd name="T44" fmla="*/ 16 w 86"/>
                  <a:gd name="T45" fmla="*/ 27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91" name="Freeform 155">
                <a:extLst>
                  <a:ext uri="{FF2B5EF4-FFF2-40B4-BE49-F238E27FC236}">
                    <a16:creationId xmlns:a16="http://schemas.microsoft.com/office/drawing/2014/main" id="{E88CC399-DAEA-40E8-9FA7-BCDA242300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2 h 31"/>
                  <a:gd name="T2" fmla="*/ 1 w 74"/>
                  <a:gd name="T3" fmla="*/ 4 h 31"/>
                  <a:gd name="T4" fmla="*/ 2 w 74"/>
                  <a:gd name="T5" fmla="*/ 5 h 31"/>
                  <a:gd name="T6" fmla="*/ 3 w 74"/>
                  <a:gd name="T7" fmla="*/ 6 h 31"/>
                  <a:gd name="T8" fmla="*/ 5 w 74"/>
                  <a:gd name="T9" fmla="*/ 7 h 31"/>
                  <a:gd name="T10" fmla="*/ 6 w 74"/>
                  <a:gd name="T11" fmla="*/ 9 h 31"/>
                  <a:gd name="T12" fmla="*/ 8 w 74"/>
                  <a:gd name="T13" fmla="*/ 9 h 31"/>
                  <a:gd name="T14" fmla="*/ 10 w 74"/>
                  <a:gd name="T15" fmla="*/ 10 h 31"/>
                  <a:gd name="T16" fmla="*/ 11 w 74"/>
                  <a:gd name="T17" fmla="*/ 10 h 31"/>
                  <a:gd name="T18" fmla="*/ 16 w 74"/>
                  <a:gd name="T19" fmla="*/ 11 h 31"/>
                  <a:gd name="T20" fmla="*/ 20 w 74"/>
                  <a:gd name="T21" fmla="*/ 11 h 31"/>
                  <a:gd name="T22" fmla="*/ 21 w 74"/>
                  <a:gd name="T23" fmla="*/ 11 h 31"/>
                  <a:gd name="T24" fmla="*/ 23 w 74"/>
                  <a:gd name="T25" fmla="*/ 10 h 31"/>
                  <a:gd name="T26" fmla="*/ 24 w 74"/>
                  <a:gd name="T27" fmla="*/ 10 h 31"/>
                  <a:gd name="T28" fmla="*/ 25 w 74"/>
                  <a:gd name="T29" fmla="*/ 9 h 31"/>
                  <a:gd name="T30" fmla="*/ 22 w 74"/>
                  <a:gd name="T31" fmla="*/ 6 h 31"/>
                  <a:gd name="T32" fmla="*/ 19 w 74"/>
                  <a:gd name="T33" fmla="*/ 5 h 31"/>
                  <a:gd name="T34" fmla="*/ 17 w 74"/>
                  <a:gd name="T35" fmla="*/ 4 h 31"/>
                  <a:gd name="T36" fmla="*/ 16 w 74"/>
                  <a:gd name="T37" fmla="*/ 3 h 31"/>
                  <a:gd name="T38" fmla="*/ 15 w 74"/>
                  <a:gd name="T39" fmla="*/ 2 h 31"/>
                  <a:gd name="T40" fmla="*/ 14 w 74"/>
                  <a:gd name="T41" fmla="*/ 0 h 31"/>
                  <a:gd name="T42" fmla="*/ 11 w 74"/>
                  <a:gd name="T43" fmla="*/ 0 h 31"/>
                  <a:gd name="T44" fmla="*/ 9 w 74"/>
                  <a:gd name="T45" fmla="*/ 0 h 31"/>
                  <a:gd name="T46" fmla="*/ 7 w 74"/>
                  <a:gd name="T47" fmla="*/ 0 h 31"/>
                  <a:gd name="T48" fmla="*/ 6 w 74"/>
                  <a:gd name="T49" fmla="*/ 0 h 31"/>
                  <a:gd name="T50" fmla="*/ 5 w 74"/>
                  <a:gd name="T51" fmla="*/ 0 h 31"/>
                  <a:gd name="T52" fmla="*/ 3 w 74"/>
                  <a:gd name="T53" fmla="*/ 0 h 31"/>
                  <a:gd name="T54" fmla="*/ 2 w 74"/>
                  <a:gd name="T55" fmla="*/ 1 h 31"/>
                  <a:gd name="T56" fmla="*/ 0 w 74"/>
                  <a:gd name="T57" fmla="*/ 2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92" name="Freeform 156">
                <a:extLst>
                  <a:ext uri="{FF2B5EF4-FFF2-40B4-BE49-F238E27FC236}">
                    <a16:creationId xmlns:a16="http://schemas.microsoft.com/office/drawing/2014/main" id="{D41C21FD-7077-4A9B-B1D6-C054F9A4F4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0 w 20"/>
                  <a:gd name="T3" fmla="*/ 0 h 1"/>
                  <a:gd name="T4" fmla="*/ 3 w 20"/>
                  <a:gd name="T5" fmla="*/ 0 h 1"/>
                  <a:gd name="T6" fmla="*/ 6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93" name="Freeform 157">
                <a:extLst>
                  <a:ext uri="{FF2B5EF4-FFF2-40B4-BE49-F238E27FC236}">
                    <a16:creationId xmlns:a16="http://schemas.microsoft.com/office/drawing/2014/main" id="{4DA234F3-7397-464B-AB43-CF934B6986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2 w 100"/>
                  <a:gd name="T1" fmla="*/ 8 h 65"/>
                  <a:gd name="T2" fmla="*/ 11 w 100"/>
                  <a:gd name="T3" fmla="*/ 13 h 65"/>
                  <a:gd name="T4" fmla="*/ 20 w 100"/>
                  <a:gd name="T5" fmla="*/ 18 h 65"/>
                  <a:gd name="T6" fmla="*/ 23 w 100"/>
                  <a:gd name="T7" fmla="*/ 19 h 65"/>
                  <a:gd name="T8" fmla="*/ 27 w 100"/>
                  <a:gd name="T9" fmla="*/ 21 h 65"/>
                  <a:gd name="T10" fmla="*/ 28 w 100"/>
                  <a:gd name="T11" fmla="*/ 21 h 65"/>
                  <a:gd name="T12" fmla="*/ 29 w 100"/>
                  <a:gd name="T13" fmla="*/ 21 h 65"/>
                  <a:gd name="T14" fmla="*/ 31 w 100"/>
                  <a:gd name="T15" fmla="*/ 21 h 65"/>
                  <a:gd name="T16" fmla="*/ 32 w 100"/>
                  <a:gd name="T17" fmla="*/ 20 h 65"/>
                  <a:gd name="T18" fmla="*/ 30 w 100"/>
                  <a:gd name="T19" fmla="*/ 19 h 65"/>
                  <a:gd name="T20" fmla="*/ 28 w 100"/>
                  <a:gd name="T21" fmla="*/ 18 h 65"/>
                  <a:gd name="T22" fmla="*/ 27 w 100"/>
                  <a:gd name="T23" fmla="*/ 17 h 65"/>
                  <a:gd name="T24" fmla="*/ 25 w 100"/>
                  <a:gd name="T25" fmla="*/ 15 h 65"/>
                  <a:gd name="T26" fmla="*/ 21 w 100"/>
                  <a:gd name="T27" fmla="*/ 11 h 65"/>
                  <a:gd name="T28" fmla="*/ 18 w 100"/>
                  <a:gd name="T29" fmla="*/ 7 h 65"/>
                  <a:gd name="T30" fmla="*/ 17 w 100"/>
                  <a:gd name="T31" fmla="*/ 5 h 65"/>
                  <a:gd name="T32" fmla="*/ 15 w 100"/>
                  <a:gd name="T33" fmla="*/ 3 h 65"/>
                  <a:gd name="T34" fmla="*/ 13 w 100"/>
                  <a:gd name="T35" fmla="*/ 1 h 65"/>
                  <a:gd name="T36" fmla="*/ 11 w 100"/>
                  <a:gd name="T37" fmla="*/ 0 h 65"/>
                  <a:gd name="T38" fmla="*/ 9 w 100"/>
                  <a:gd name="T39" fmla="*/ 0 h 65"/>
                  <a:gd name="T40" fmla="*/ 6 w 100"/>
                  <a:gd name="T41" fmla="*/ 0 h 65"/>
                  <a:gd name="T42" fmla="*/ 3 w 100"/>
                  <a:gd name="T43" fmla="*/ 1 h 65"/>
                  <a:gd name="T44" fmla="*/ 0 w 100"/>
                  <a:gd name="T45" fmla="*/ 2 h 65"/>
                  <a:gd name="T46" fmla="*/ 2 w 100"/>
                  <a:gd name="T47" fmla="*/ 8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94" name="Freeform 158">
                <a:extLst>
                  <a:ext uri="{FF2B5EF4-FFF2-40B4-BE49-F238E27FC236}">
                    <a16:creationId xmlns:a16="http://schemas.microsoft.com/office/drawing/2014/main" id="{0BF57F2A-F0E6-4A1C-B96D-7E26EE85DC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2 w 79"/>
                  <a:gd name="T1" fmla="*/ 28 h 104"/>
                  <a:gd name="T2" fmla="*/ 17 w 79"/>
                  <a:gd name="T3" fmla="*/ 20 h 104"/>
                  <a:gd name="T4" fmla="*/ 13 w 79"/>
                  <a:gd name="T5" fmla="*/ 13 h 104"/>
                  <a:gd name="T6" fmla="*/ 9 w 79"/>
                  <a:gd name="T7" fmla="*/ 7 h 104"/>
                  <a:gd name="T8" fmla="*/ 4 w 79"/>
                  <a:gd name="T9" fmla="*/ 0 h 104"/>
                  <a:gd name="T10" fmla="*/ 2 w 79"/>
                  <a:gd name="T11" fmla="*/ 5 h 104"/>
                  <a:gd name="T12" fmla="*/ 1 w 79"/>
                  <a:gd name="T13" fmla="*/ 11 h 104"/>
                  <a:gd name="T14" fmla="*/ 0 w 79"/>
                  <a:gd name="T15" fmla="*/ 13 h 104"/>
                  <a:gd name="T16" fmla="*/ 0 w 79"/>
                  <a:gd name="T17" fmla="*/ 16 h 104"/>
                  <a:gd name="T18" fmla="*/ 0 w 79"/>
                  <a:gd name="T19" fmla="*/ 18 h 104"/>
                  <a:gd name="T20" fmla="*/ 0 w 79"/>
                  <a:gd name="T21" fmla="*/ 20 h 104"/>
                  <a:gd name="T22" fmla="*/ 0 w 79"/>
                  <a:gd name="T23" fmla="*/ 22 h 104"/>
                  <a:gd name="T24" fmla="*/ 1 w 79"/>
                  <a:gd name="T25" fmla="*/ 24 h 104"/>
                  <a:gd name="T26" fmla="*/ 2 w 79"/>
                  <a:gd name="T27" fmla="*/ 26 h 104"/>
                  <a:gd name="T28" fmla="*/ 3 w 79"/>
                  <a:gd name="T29" fmla="*/ 27 h 104"/>
                  <a:gd name="T30" fmla="*/ 4 w 79"/>
                  <a:gd name="T31" fmla="*/ 29 h 104"/>
                  <a:gd name="T32" fmla="*/ 6 w 79"/>
                  <a:gd name="T33" fmla="*/ 29 h 104"/>
                  <a:gd name="T34" fmla="*/ 8 w 79"/>
                  <a:gd name="T35" fmla="*/ 30 h 104"/>
                  <a:gd name="T36" fmla="*/ 10 w 79"/>
                  <a:gd name="T37" fmla="*/ 30 h 104"/>
                  <a:gd name="T38" fmla="*/ 13 w 79"/>
                  <a:gd name="T39" fmla="*/ 30 h 104"/>
                  <a:gd name="T40" fmla="*/ 16 w 79"/>
                  <a:gd name="T41" fmla="*/ 31 h 104"/>
                  <a:gd name="T42" fmla="*/ 20 w 79"/>
                  <a:gd name="T43" fmla="*/ 33 h 104"/>
                  <a:gd name="T44" fmla="*/ 24 w 79"/>
                  <a:gd name="T45" fmla="*/ 34 h 104"/>
                  <a:gd name="T46" fmla="*/ 22 w 79"/>
                  <a:gd name="T47" fmla="*/ 28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95" name="Freeform 159">
              <a:extLst>
                <a:ext uri="{FF2B5EF4-FFF2-40B4-BE49-F238E27FC236}">
                  <a16:creationId xmlns:a16="http://schemas.microsoft.com/office/drawing/2014/main" id="{DCC3DFB6-3171-456C-BE54-01829CC41E8B}"/>
                </a:ext>
              </a:extLst>
            </p:cNvPr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907620" y="3778072"/>
              <a:ext cx="14412" cy="59620"/>
            </a:xfrm>
            <a:custGeom>
              <a:avLst/>
              <a:gdLst>
                <a:gd name="T0" fmla="*/ 11113 w 27"/>
                <a:gd name="T1" fmla="*/ 0 h 19"/>
                <a:gd name="T2" fmla="*/ 11113 w 27"/>
                <a:gd name="T3" fmla="*/ 35092 h 19"/>
                <a:gd name="T4" fmla="*/ 11113 w 27"/>
                <a:gd name="T5" fmla="*/ 55562 h 19"/>
                <a:gd name="T6" fmla="*/ 3704 w 27"/>
                <a:gd name="T7" fmla="*/ 55562 h 19"/>
                <a:gd name="T8" fmla="*/ 0 w 27"/>
                <a:gd name="T9" fmla="*/ 55562 h 19"/>
                <a:gd name="T10" fmla="*/ 3704 w 27"/>
                <a:gd name="T11" fmla="*/ 35092 h 19"/>
                <a:gd name="T12" fmla="*/ 11113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6" name="Freeform 160">
              <a:extLst>
                <a:ext uri="{FF2B5EF4-FFF2-40B4-BE49-F238E27FC236}">
                  <a16:creationId xmlns:a16="http://schemas.microsoft.com/office/drawing/2014/main" id="{0DC963FD-6C0B-436F-9553-69A002BE4C8D}"/>
                </a:ext>
              </a:extLst>
            </p:cNvPr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808799" y="3927973"/>
              <a:ext cx="18530" cy="61324"/>
            </a:xfrm>
            <a:custGeom>
              <a:avLst/>
              <a:gdLst>
                <a:gd name="T0" fmla="*/ 0 w 39"/>
                <a:gd name="T1" fmla="*/ 0 h 35"/>
                <a:gd name="T2" fmla="*/ 14288 w 39"/>
                <a:gd name="T3" fmla="*/ 0 h 35"/>
                <a:gd name="T4" fmla="*/ 13189 w 39"/>
                <a:gd name="T5" fmla="*/ 14696 h 35"/>
                <a:gd name="T6" fmla="*/ 12090 w 39"/>
                <a:gd name="T7" fmla="*/ 31024 h 35"/>
                <a:gd name="T8" fmla="*/ 9892 w 39"/>
                <a:gd name="T9" fmla="*/ 45720 h 35"/>
                <a:gd name="T10" fmla="*/ 8060 w 39"/>
                <a:gd name="T11" fmla="*/ 55517 h 35"/>
                <a:gd name="T12" fmla="*/ 6961 w 39"/>
                <a:gd name="T13" fmla="*/ 57150 h 35"/>
                <a:gd name="T14" fmla="*/ 5862 w 39"/>
                <a:gd name="T15" fmla="*/ 57150 h 35"/>
                <a:gd name="T16" fmla="*/ 4763 w 39"/>
                <a:gd name="T17" fmla="*/ 55517 h 35"/>
                <a:gd name="T18" fmla="*/ 4030 w 39"/>
                <a:gd name="T19" fmla="*/ 50619 h 35"/>
                <a:gd name="T20" fmla="*/ 2565 w 39"/>
                <a:gd name="T21" fmla="*/ 42454 h 35"/>
                <a:gd name="T22" fmla="*/ 1832 w 39"/>
                <a:gd name="T23" fmla="*/ 32657 h 35"/>
                <a:gd name="T24" fmla="*/ 733 w 39"/>
                <a:gd name="T25" fmla="*/ 1796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7" name="Freeform 161">
              <a:extLst>
                <a:ext uri="{FF2B5EF4-FFF2-40B4-BE49-F238E27FC236}">
                  <a16:creationId xmlns:a16="http://schemas.microsoft.com/office/drawing/2014/main" id="{692623F4-CBEB-4D2B-847D-40AE2764AE09}"/>
                </a:ext>
              </a:extLst>
            </p:cNvPr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8141378" y="2132560"/>
              <a:ext cx="944972" cy="356015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8" name="Freeform 162">
              <a:extLst>
                <a:ext uri="{FF2B5EF4-FFF2-40B4-BE49-F238E27FC236}">
                  <a16:creationId xmlns:a16="http://schemas.microsoft.com/office/drawing/2014/main" id="{33C9BE4A-8B3B-4196-9882-4A1E2862EE34}"/>
                </a:ext>
              </a:extLst>
            </p:cNvPr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377400" y="4243107"/>
              <a:ext cx="426164" cy="446298"/>
            </a:xfrm>
            <a:custGeom>
              <a:avLst/>
              <a:gdLst>
                <a:gd name="T0" fmla="*/ 11272 w 758"/>
                <a:gd name="T1" fmla="*/ 41854 h 795"/>
                <a:gd name="T2" fmla="*/ 21243 w 758"/>
                <a:gd name="T3" fmla="*/ 46039 h 795"/>
                <a:gd name="T4" fmla="*/ 31214 w 758"/>
                <a:gd name="T5" fmla="*/ 56503 h 795"/>
                <a:gd name="T6" fmla="*/ 38150 w 758"/>
                <a:gd name="T7" fmla="*/ 70106 h 795"/>
                <a:gd name="T8" fmla="*/ 40318 w 758"/>
                <a:gd name="T9" fmla="*/ 88417 h 795"/>
                <a:gd name="T10" fmla="*/ 36416 w 758"/>
                <a:gd name="T11" fmla="*/ 97311 h 795"/>
                <a:gd name="T12" fmla="*/ 35116 w 758"/>
                <a:gd name="T13" fmla="*/ 107251 h 795"/>
                <a:gd name="T14" fmla="*/ 38150 w 758"/>
                <a:gd name="T15" fmla="*/ 125562 h 795"/>
                <a:gd name="T16" fmla="*/ 41185 w 758"/>
                <a:gd name="T17" fmla="*/ 145443 h 795"/>
                <a:gd name="T18" fmla="*/ 35983 w 758"/>
                <a:gd name="T19" fmla="*/ 161138 h 795"/>
                <a:gd name="T20" fmla="*/ 35116 w 758"/>
                <a:gd name="T21" fmla="*/ 184158 h 795"/>
                <a:gd name="T22" fmla="*/ 40318 w 758"/>
                <a:gd name="T23" fmla="*/ 204039 h 795"/>
                <a:gd name="T24" fmla="*/ 42919 w 758"/>
                <a:gd name="T25" fmla="*/ 217118 h 795"/>
                <a:gd name="T26" fmla="*/ 33815 w 758"/>
                <a:gd name="T27" fmla="*/ 239091 h 795"/>
                <a:gd name="T28" fmla="*/ 48988 w 758"/>
                <a:gd name="T29" fmla="*/ 276760 h 795"/>
                <a:gd name="T30" fmla="*/ 59826 w 758"/>
                <a:gd name="T31" fmla="*/ 301873 h 795"/>
                <a:gd name="T32" fmla="*/ 63295 w 758"/>
                <a:gd name="T33" fmla="*/ 325416 h 795"/>
                <a:gd name="T34" fmla="*/ 65896 w 758"/>
                <a:gd name="T35" fmla="*/ 344773 h 795"/>
                <a:gd name="T36" fmla="*/ 81069 w 758"/>
                <a:gd name="T37" fmla="*/ 386104 h 795"/>
                <a:gd name="T38" fmla="*/ 92774 w 758"/>
                <a:gd name="T39" fmla="*/ 409124 h 795"/>
                <a:gd name="T40" fmla="*/ 99711 w 758"/>
                <a:gd name="T41" fmla="*/ 415402 h 795"/>
                <a:gd name="T42" fmla="*/ 108815 w 758"/>
                <a:gd name="T43" fmla="*/ 413309 h 795"/>
                <a:gd name="T44" fmla="*/ 125289 w 758"/>
                <a:gd name="T45" fmla="*/ 398137 h 795"/>
                <a:gd name="T46" fmla="*/ 140462 w 758"/>
                <a:gd name="T47" fmla="*/ 390289 h 795"/>
                <a:gd name="T48" fmla="*/ 153901 w 758"/>
                <a:gd name="T49" fmla="*/ 391336 h 795"/>
                <a:gd name="T50" fmla="*/ 168208 w 758"/>
                <a:gd name="T51" fmla="*/ 402846 h 795"/>
                <a:gd name="T52" fmla="*/ 181213 w 758"/>
                <a:gd name="T53" fmla="*/ 408077 h 795"/>
                <a:gd name="T54" fmla="*/ 189450 w 758"/>
                <a:gd name="T55" fmla="*/ 396567 h 795"/>
                <a:gd name="T56" fmla="*/ 207225 w 758"/>
                <a:gd name="T57" fmla="*/ 389766 h 795"/>
                <a:gd name="T58" fmla="*/ 227601 w 758"/>
                <a:gd name="T59" fmla="*/ 325416 h 795"/>
                <a:gd name="T60" fmla="*/ 233670 w 758"/>
                <a:gd name="T61" fmla="*/ 313906 h 795"/>
                <a:gd name="T62" fmla="*/ 249277 w 758"/>
                <a:gd name="T63" fmla="*/ 305535 h 795"/>
                <a:gd name="T64" fmla="*/ 288294 w 758"/>
                <a:gd name="T65" fmla="*/ 299780 h 795"/>
                <a:gd name="T66" fmla="*/ 297832 w 758"/>
                <a:gd name="T67" fmla="*/ 302919 h 795"/>
                <a:gd name="T68" fmla="*/ 305202 w 758"/>
                <a:gd name="T69" fmla="*/ 306058 h 795"/>
                <a:gd name="T70" fmla="*/ 322543 w 758"/>
                <a:gd name="T71" fmla="*/ 299780 h 795"/>
                <a:gd name="T72" fmla="*/ 328178 w 758"/>
                <a:gd name="T73" fmla="*/ 283038 h 795"/>
                <a:gd name="T74" fmla="*/ 326011 w 758"/>
                <a:gd name="T75" fmla="*/ 261065 h 795"/>
                <a:gd name="T76" fmla="*/ 314739 w 758"/>
                <a:gd name="T77" fmla="*/ 241707 h 795"/>
                <a:gd name="T78" fmla="*/ 307803 w 758"/>
                <a:gd name="T79" fmla="*/ 227582 h 795"/>
                <a:gd name="T80" fmla="*/ 290895 w 758"/>
                <a:gd name="T81" fmla="*/ 209794 h 795"/>
                <a:gd name="T82" fmla="*/ 274421 w 758"/>
                <a:gd name="T83" fmla="*/ 208747 h 795"/>
                <a:gd name="T84" fmla="*/ 262283 w 758"/>
                <a:gd name="T85" fmla="*/ 197761 h 795"/>
                <a:gd name="T86" fmla="*/ 255780 w 758"/>
                <a:gd name="T87" fmla="*/ 182588 h 795"/>
                <a:gd name="T88" fmla="*/ 253612 w 758"/>
                <a:gd name="T89" fmla="*/ 162708 h 795"/>
                <a:gd name="T90" fmla="*/ 252745 w 758"/>
                <a:gd name="T91" fmla="*/ 140734 h 795"/>
                <a:gd name="T92" fmla="*/ 242774 w 758"/>
                <a:gd name="T93" fmla="*/ 126609 h 795"/>
                <a:gd name="T94" fmla="*/ 218063 w 758"/>
                <a:gd name="T95" fmla="*/ 107251 h 795"/>
                <a:gd name="T96" fmla="*/ 190751 w 758"/>
                <a:gd name="T97" fmla="*/ 93125 h 795"/>
                <a:gd name="T98" fmla="*/ 169942 w 758"/>
                <a:gd name="T99" fmla="*/ 87370 h 795"/>
                <a:gd name="T100" fmla="*/ 155635 w 758"/>
                <a:gd name="T101" fmla="*/ 84231 h 795"/>
                <a:gd name="T102" fmla="*/ 143063 w 758"/>
                <a:gd name="T103" fmla="*/ 75861 h 795"/>
                <a:gd name="T104" fmla="*/ 133092 w 758"/>
                <a:gd name="T105" fmla="*/ 63827 h 795"/>
                <a:gd name="T106" fmla="*/ 126589 w 758"/>
                <a:gd name="T107" fmla="*/ 48132 h 795"/>
                <a:gd name="T108" fmla="*/ 120953 w 758"/>
                <a:gd name="T109" fmla="*/ 9940 h 795"/>
                <a:gd name="T110" fmla="*/ 113150 w 758"/>
                <a:gd name="T111" fmla="*/ 1570 h 795"/>
                <a:gd name="T112" fmla="*/ 98410 w 758"/>
                <a:gd name="T113" fmla="*/ 1570 h 795"/>
                <a:gd name="T114" fmla="*/ 75000 w 758"/>
                <a:gd name="T115" fmla="*/ 15695 h 795"/>
                <a:gd name="T116" fmla="*/ 51589 w 758"/>
                <a:gd name="T117" fmla="*/ 34530 h 795"/>
                <a:gd name="T118" fmla="*/ 0 w 758"/>
                <a:gd name="T119" fmla="*/ 41854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9" name="Freeform 163">
              <a:extLst>
                <a:ext uri="{FF2B5EF4-FFF2-40B4-BE49-F238E27FC236}">
                  <a16:creationId xmlns:a16="http://schemas.microsoft.com/office/drawing/2014/main" id="{0F2A49DB-2866-4BCE-9693-EAE63A927518}"/>
                </a:ext>
              </a:extLst>
            </p:cNvPr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3655332" y="3631577"/>
              <a:ext cx="154408" cy="231667"/>
            </a:xfrm>
            <a:custGeom>
              <a:avLst/>
              <a:gdLst>
                <a:gd name="T0" fmla="*/ 98129 w 273"/>
                <a:gd name="T1" fmla="*/ 73010 h 414"/>
                <a:gd name="T2" fmla="*/ 92895 w 273"/>
                <a:gd name="T3" fmla="*/ 69359 h 414"/>
                <a:gd name="T4" fmla="*/ 87662 w 273"/>
                <a:gd name="T5" fmla="*/ 63101 h 414"/>
                <a:gd name="T6" fmla="*/ 82864 w 273"/>
                <a:gd name="T7" fmla="*/ 54757 h 414"/>
                <a:gd name="T8" fmla="*/ 79811 w 273"/>
                <a:gd name="T9" fmla="*/ 50064 h 414"/>
                <a:gd name="T10" fmla="*/ 76759 w 273"/>
                <a:gd name="T11" fmla="*/ 48499 h 414"/>
                <a:gd name="T12" fmla="*/ 72833 w 273"/>
                <a:gd name="T13" fmla="*/ 49021 h 414"/>
                <a:gd name="T14" fmla="*/ 70217 w 273"/>
                <a:gd name="T15" fmla="*/ 52671 h 414"/>
                <a:gd name="T16" fmla="*/ 66728 w 273"/>
                <a:gd name="T17" fmla="*/ 44849 h 414"/>
                <a:gd name="T18" fmla="*/ 61930 w 273"/>
                <a:gd name="T19" fmla="*/ 28161 h 414"/>
                <a:gd name="T20" fmla="*/ 57569 w 273"/>
                <a:gd name="T21" fmla="*/ 18774 h 414"/>
                <a:gd name="T22" fmla="*/ 53644 w 273"/>
                <a:gd name="T23" fmla="*/ 13037 h 414"/>
                <a:gd name="T24" fmla="*/ 48410 w 273"/>
                <a:gd name="T25" fmla="*/ 7301 h 414"/>
                <a:gd name="T26" fmla="*/ 41868 w 273"/>
                <a:gd name="T27" fmla="*/ 2607 h 414"/>
                <a:gd name="T28" fmla="*/ 34890 w 273"/>
                <a:gd name="T29" fmla="*/ 3650 h 414"/>
                <a:gd name="T30" fmla="*/ 30093 w 273"/>
                <a:gd name="T31" fmla="*/ 9908 h 414"/>
                <a:gd name="T32" fmla="*/ 27476 w 273"/>
                <a:gd name="T33" fmla="*/ 13037 h 414"/>
                <a:gd name="T34" fmla="*/ 24859 w 273"/>
                <a:gd name="T35" fmla="*/ 16688 h 414"/>
                <a:gd name="T36" fmla="*/ 24423 w 273"/>
                <a:gd name="T37" fmla="*/ 21903 h 414"/>
                <a:gd name="T38" fmla="*/ 25295 w 273"/>
                <a:gd name="T39" fmla="*/ 30768 h 414"/>
                <a:gd name="T40" fmla="*/ 22679 w 273"/>
                <a:gd name="T41" fmla="*/ 40677 h 414"/>
                <a:gd name="T42" fmla="*/ 14392 w 273"/>
                <a:gd name="T43" fmla="*/ 46935 h 414"/>
                <a:gd name="T44" fmla="*/ 7414 w 273"/>
                <a:gd name="T45" fmla="*/ 54236 h 414"/>
                <a:gd name="T46" fmla="*/ 1745 w 273"/>
                <a:gd name="T47" fmla="*/ 61537 h 414"/>
                <a:gd name="T48" fmla="*/ 17445 w 273"/>
                <a:gd name="T49" fmla="*/ 103257 h 414"/>
                <a:gd name="T50" fmla="*/ 31837 w 273"/>
                <a:gd name="T51" fmla="*/ 106907 h 414"/>
                <a:gd name="T52" fmla="*/ 36635 w 273"/>
                <a:gd name="T53" fmla="*/ 109514 h 414"/>
                <a:gd name="T54" fmla="*/ 40560 w 273"/>
                <a:gd name="T55" fmla="*/ 113686 h 414"/>
                <a:gd name="T56" fmla="*/ 43177 w 273"/>
                <a:gd name="T57" fmla="*/ 117858 h 414"/>
                <a:gd name="T58" fmla="*/ 44921 w 273"/>
                <a:gd name="T59" fmla="*/ 123595 h 414"/>
                <a:gd name="T60" fmla="*/ 46230 w 273"/>
                <a:gd name="T61" fmla="*/ 138197 h 414"/>
                <a:gd name="T62" fmla="*/ 44921 w 273"/>
                <a:gd name="T63" fmla="*/ 145498 h 414"/>
                <a:gd name="T64" fmla="*/ 41868 w 273"/>
                <a:gd name="T65" fmla="*/ 152799 h 414"/>
                <a:gd name="T66" fmla="*/ 38815 w 273"/>
                <a:gd name="T67" fmla="*/ 160100 h 414"/>
                <a:gd name="T68" fmla="*/ 37507 w 273"/>
                <a:gd name="T69" fmla="*/ 167401 h 414"/>
                <a:gd name="T70" fmla="*/ 39688 w 273"/>
                <a:gd name="T71" fmla="*/ 178874 h 414"/>
                <a:gd name="T72" fmla="*/ 46666 w 273"/>
                <a:gd name="T73" fmla="*/ 195040 h 414"/>
                <a:gd name="T74" fmla="*/ 51027 w 273"/>
                <a:gd name="T75" fmla="*/ 202863 h 414"/>
                <a:gd name="T76" fmla="*/ 56261 w 273"/>
                <a:gd name="T77" fmla="*/ 209121 h 414"/>
                <a:gd name="T78" fmla="*/ 61494 w 273"/>
                <a:gd name="T79" fmla="*/ 214336 h 414"/>
                <a:gd name="T80" fmla="*/ 66728 w 273"/>
                <a:gd name="T81" fmla="*/ 215900 h 414"/>
                <a:gd name="T82" fmla="*/ 93768 w 273"/>
                <a:gd name="T83" fmla="*/ 207556 h 414"/>
                <a:gd name="T84" fmla="*/ 111213 w 273"/>
                <a:gd name="T85" fmla="*/ 200777 h 414"/>
                <a:gd name="T86" fmla="*/ 116446 w 273"/>
                <a:gd name="T87" fmla="*/ 196605 h 414"/>
                <a:gd name="T88" fmla="*/ 119063 w 273"/>
                <a:gd name="T89" fmla="*/ 192954 h 414"/>
                <a:gd name="T90" fmla="*/ 117318 w 273"/>
                <a:gd name="T91" fmla="*/ 183567 h 414"/>
                <a:gd name="T92" fmla="*/ 114702 w 273"/>
                <a:gd name="T93" fmla="*/ 174702 h 414"/>
                <a:gd name="T94" fmla="*/ 105543 w 273"/>
                <a:gd name="T95" fmla="*/ 161143 h 414"/>
                <a:gd name="T96" fmla="*/ 96820 w 273"/>
                <a:gd name="T97" fmla="*/ 147062 h 414"/>
                <a:gd name="T98" fmla="*/ 93768 w 273"/>
                <a:gd name="T99" fmla="*/ 138718 h 414"/>
                <a:gd name="T100" fmla="*/ 92459 w 273"/>
                <a:gd name="T101" fmla="*/ 128810 h 414"/>
                <a:gd name="T102" fmla="*/ 93768 w 273"/>
                <a:gd name="T103" fmla="*/ 112122 h 414"/>
                <a:gd name="T104" fmla="*/ 96820 w 273"/>
                <a:gd name="T105" fmla="*/ 99085 h 414"/>
                <a:gd name="T106" fmla="*/ 100309 w 273"/>
                <a:gd name="T107" fmla="*/ 87090 h 414"/>
                <a:gd name="T108" fmla="*/ 101182 w 273"/>
                <a:gd name="T109" fmla="*/ 74053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100" name="Group 164">
              <a:extLst>
                <a:ext uri="{FF2B5EF4-FFF2-40B4-BE49-F238E27FC236}">
                  <a16:creationId xmlns:a16="http://schemas.microsoft.com/office/drawing/2014/main" id="{8D813539-50A4-4217-AAD0-1FC693DDF50E}"/>
                </a:ext>
              </a:extLst>
            </p:cNvPr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3284754" y="3454421"/>
              <a:ext cx="419988" cy="430967"/>
              <a:chOff x="1486" y="2412"/>
              <a:chExt cx="244" cy="256"/>
            </a:xfrm>
          </p:grpSpPr>
          <p:sp>
            <p:nvSpPr>
              <p:cNvPr id="482" name="Freeform 165">
                <a:extLst>
                  <a:ext uri="{FF2B5EF4-FFF2-40B4-BE49-F238E27FC236}">
                    <a16:creationId xmlns:a16="http://schemas.microsoft.com/office/drawing/2014/main" id="{833A9DC0-4CA0-4FB0-BD7F-DB51ED2F2F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83" name="Freeform 166">
                <a:extLst>
                  <a:ext uri="{FF2B5EF4-FFF2-40B4-BE49-F238E27FC236}">
                    <a16:creationId xmlns:a16="http://schemas.microsoft.com/office/drawing/2014/main" id="{F0312321-C178-491B-97B3-AAC235ED67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84" name="Freeform 167">
                <a:extLst>
                  <a:ext uri="{FF2B5EF4-FFF2-40B4-BE49-F238E27FC236}">
                    <a16:creationId xmlns:a16="http://schemas.microsoft.com/office/drawing/2014/main" id="{EB6683F2-1FC7-420B-918F-65269BED14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85" name="Freeform 168">
                <a:extLst>
                  <a:ext uri="{FF2B5EF4-FFF2-40B4-BE49-F238E27FC236}">
                    <a16:creationId xmlns:a16="http://schemas.microsoft.com/office/drawing/2014/main" id="{F09D42A0-0973-4D4F-BBE8-664F4290D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101" name="Freeform 169">
              <a:extLst>
                <a:ext uri="{FF2B5EF4-FFF2-40B4-BE49-F238E27FC236}">
                  <a16:creationId xmlns:a16="http://schemas.microsoft.com/office/drawing/2014/main" id="{D490A27D-D8ED-428F-A0C3-948C911A5A4C}"/>
                </a:ext>
              </a:extLst>
            </p:cNvPr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9796625" y="5106745"/>
              <a:ext cx="41175" cy="11924"/>
            </a:xfrm>
            <a:custGeom>
              <a:avLst/>
              <a:gdLst>
                <a:gd name="T0" fmla="*/ 0 w 79"/>
                <a:gd name="T1" fmla="*/ 11112 h 23"/>
                <a:gd name="T2" fmla="*/ 8842 w 79"/>
                <a:gd name="T3" fmla="*/ 6281 h 23"/>
                <a:gd name="T4" fmla="*/ 18085 w 79"/>
                <a:gd name="T5" fmla="*/ 1933 h 23"/>
                <a:gd name="T6" fmla="*/ 22506 w 79"/>
                <a:gd name="T7" fmla="*/ 483 h 23"/>
                <a:gd name="T8" fmla="*/ 26123 w 79"/>
                <a:gd name="T9" fmla="*/ 0 h 23"/>
                <a:gd name="T10" fmla="*/ 27731 w 79"/>
                <a:gd name="T11" fmla="*/ 0 h 23"/>
                <a:gd name="T12" fmla="*/ 29741 w 79"/>
                <a:gd name="T13" fmla="*/ 483 h 23"/>
                <a:gd name="T14" fmla="*/ 30946 w 79"/>
                <a:gd name="T15" fmla="*/ 966 h 23"/>
                <a:gd name="T16" fmla="*/ 31750 w 79"/>
                <a:gd name="T17" fmla="*/ 1933 h 23"/>
                <a:gd name="T18" fmla="*/ 30946 w 79"/>
                <a:gd name="T19" fmla="*/ 3865 h 23"/>
                <a:gd name="T20" fmla="*/ 30142 w 79"/>
                <a:gd name="T21" fmla="*/ 6281 h 23"/>
                <a:gd name="T22" fmla="*/ 28937 w 79"/>
                <a:gd name="T23" fmla="*/ 7730 h 23"/>
                <a:gd name="T24" fmla="*/ 27329 w 79"/>
                <a:gd name="T25" fmla="*/ 9179 h 23"/>
                <a:gd name="T26" fmla="*/ 25722 w 79"/>
                <a:gd name="T27" fmla="*/ 10146 h 23"/>
                <a:gd name="T28" fmla="*/ 23712 w 79"/>
                <a:gd name="T29" fmla="*/ 10629 h 23"/>
                <a:gd name="T30" fmla="*/ 21301 w 79"/>
                <a:gd name="T31" fmla="*/ 11112 h 23"/>
                <a:gd name="T32" fmla="*/ 18487 w 79"/>
                <a:gd name="T33" fmla="*/ 11112 h 23"/>
                <a:gd name="T34" fmla="*/ 14870 w 79"/>
                <a:gd name="T35" fmla="*/ 11112 h 23"/>
                <a:gd name="T36" fmla="*/ 12861 w 79"/>
                <a:gd name="T37" fmla="*/ 10146 h 23"/>
                <a:gd name="T38" fmla="*/ 10449 w 79"/>
                <a:gd name="T39" fmla="*/ 9663 h 23"/>
                <a:gd name="T40" fmla="*/ 9244 w 79"/>
                <a:gd name="T41" fmla="*/ 9179 h 23"/>
                <a:gd name="T42" fmla="*/ 7636 w 79"/>
                <a:gd name="T43" fmla="*/ 8696 h 23"/>
                <a:gd name="T44" fmla="*/ 5627 w 79"/>
                <a:gd name="T45" fmla="*/ 8696 h 23"/>
                <a:gd name="T46" fmla="*/ 3617 w 79"/>
                <a:gd name="T47" fmla="*/ 9663 h 23"/>
                <a:gd name="T48" fmla="*/ 0 w 79"/>
                <a:gd name="T49" fmla="*/ 11112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2" name="Freeform 170">
              <a:extLst>
                <a:ext uri="{FF2B5EF4-FFF2-40B4-BE49-F238E27FC236}">
                  <a16:creationId xmlns:a16="http://schemas.microsoft.com/office/drawing/2014/main" id="{E661F764-49D6-4848-AC90-F653FAD22AF0}"/>
                </a:ext>
              </a:extLst>
            </p:cNvPr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9946914" y="5249834"/>
              <a:ext cx="2059" cy="5110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4762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3" name="Line 171">
              <a:extLst>
                <a:ext uri="{FF2B5EF4-FFF2-40B4-BE49-F238E27FC236}">
                  <a16:creationId xmlns:a16="http://schemas.microsoft.com/office/drawing/2014/main" id="{A2CD4AB5-CDFB-4698-8536-6387610403E1}"/>
                </a:ext>
              </a:extLst>
            </p:cNvPr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10064263" y="5248130"/>
              <a:ext cx="2058" cy="1362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4" name="Freeform 172">
              <a:extLst>
                <a:ext uri="{FF2B5EF4-FFF2-40B4-BE49-F238E27FC236}">
                  <a16:creationId xmlns:a16="http://schemas.microsoft.com/office/drawing/2014/main" id="{54B02166-AD37-4830-A161-EDC4A0E097FD}"/>
                </a:ext>
              </a:extLst>
            </p:cNvPr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10064263" y="5248130"/>
              <a:ext cx="4118" cy="17034"/>
            </a:xfrm>
            <a:custGeom>
              <a:avLst/>
              <a:gdLst>
                <a:gd name="T0" fmla="*/ 0 w 5"/>
                <a:gd name="T1" fmla="*/ 0 h 30"/>
                <a:gd name="T2" fmla="*/ 1270 w 5"/>
                <a:gd name="T3" fmla="*/ 529 h 30"/>
                <a:gd name="T4" fmla="*/ 2540 w 5"/>
                <a:gd name="T5" fmla="*/ 2117 h 30"/>
                <a:gd name="T6" fmla="*/ 3175 w 5"/>
                <a:gd name="T7" fmla="*/ 4233 h 30"/>
                <a:gd name="T8" fmla="*/ 3175 w 5"/>
                <a:gd name="T9" fmla="*/ 6879 h 30"/>
                <a:gd name="T10" fmla="*/ 3175 w 5"/>
                <a:gd name="T11" fmla="*/ 9525 h 30"/>
                <a:gd name="T12" fmla="*/ 2540 w 5"/>
                <a:gd name="T13" fmla="*/ 12171 h 30"/>
                <a:gd name="T14" fmla="*/ 1270 w 5"/>
                <a:gd name="T15" fmla="*/ 14287 h 30"/>
                <a:gd name="T16" fmla="*/ 0 w 5"/>
                <a:gd name="T17" fmla="*/ 15875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5" name="Freeform 173">
              <a:extLst>
                <a:ext uri="{FF2B5EF4-FFF2-40B4-BE49-F238E27FC236}">
                  <a16:creationId xmlns:a16="http://schemas.microsoft.com/office/drawing/2014/main" id="{43CFFD4B-17BB-47C9-8625-EF505878A1DD}"/>
                </a:ext>
              </a:extLst>
            </p:cNvPr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10451311" y="4679184"/>
              <a:ext cx="28823" cy="30662"/>
            </a:xfrm>
            <a:custGeom>
              <a:avLst/>
              <a:gdLst>
                <a:gd name="T0" fmla="*/ 0 w 53"/>
                <a:gd name="T1" fmla="*/ 6235 h 55"/>
                <a:gd name="T2" fmla="*/ 419 w 53"/>
                <a:gd name="T3" fmla="*/ 8832 h 55"/>
                <a:gd name="T4" fmla="*/ 2097 w 53"/>
                <a:gd name="T5" fmla="*/ 11430 h 55"/>
                <a:gd name="T6" fmla="*/ 3774 w 53"/>
                <a:gd name="T7" fmla="*/ 14028 h 55"/>
                <a:gd name="T8" fmla="*/ 6290 w 53"/>
                <a:gd name="T9" fmla="*/ 17145 h 55"/>
                <a:gd name="T10" fmla="*/ 10903 w 53"/>
                <a:gd name="T11" fmla="*/ 22860 h 55"/>
                <a:gd name="T12" fmla="*/ 13838 w 53"/>
                <a:gd name="T13" fmla="*/ 28575 h 55"/>
                <a:gd name="T14" fmla="*/ 22225 w 53"/>
                <a:gd name="T15" fmla="*/ 28575 h 55"/>
                <a:gd name="T16" fmla="*/ 16774 w 53"/>
                <a:gd name="T17" fmla="*/ 21301 h 55"/>
                <a:gd name="T18" fmla="*/ 11742 w 53"/>
                <a:gd name="T19" fmla="*/ 15067 h 55"/>
                <a:gd name="T20" fmla="*/ 9645 w 53"/>
                <a:gd name="T21" fmla="*/ 11950 h 55"/>
                <a:gd name="T22" fmla="*/ 7967 w 53"/>
                <a:gd name="T23" fmla="*/ 8313 h 55"/>
                <a:gd name="T24" fmla="*/ 6709 w 53"/>
                <a:gd name="T25" fmla="*/ 4156 h 55"/>
                <a:gd name="T26" fmla="*/ 5871 w 53"/>
                <a:gd name="T27" fmla="*/ 0 h 55"/>
                <a:gd name="T28" fmla="*/ 2935 w 53"/>
                <a:gd name="T29" fmla="*/ 3117 h 55"/>
                <a:gd name="T30" fmla="*/ 0 w 53"/>
                <a:gd name="T31" fmla="*/ 6235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6" name="Freeform 174">
              <a:extLst>
                <a:ext uri="{FF2B5EF4-FFF2-40B4-BE49-F238E27FC236}">
                  <a16:creationId xmlns:a16="http://schemas.microsoft.com/office/drawing/2014/main" id="{296779BA-9990-46E2-A8ED-60326A5764FE}"/>
                </a:ext>
              </a:extLst>
            </p:cNvPr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10459546" y="4600827"/>
              <a:ext cx="34998" cy="42587"/>
            </a:xfrm>
            <a:custGeom>
              <a:avLst/>
              <a:gdLst>
                <a:gd name="T0" fmla="*/ 0 w 65"/>
                <a:gd name="T1" fmla="*/ 16934 h 75"/>
                <a:gd name="T2" fmla="*/ 3737 w 65"/>
                <a:gd name="T3" fmla="*/ 22754 h 75"/>
                <a:gd name="T4" fmla="*/ 8304 w 65"/>
                <a:gd name="T5" fmla="*/ 29105 h 75"/>
                <a:gd name="T6" fmla="*/ 10795 w 65"/>
                <a:gd name="T7" fmla="*/ 32280 h 75"/>
                <a:gd name="T8" fmla="*/ 13286 w 65"/>
                <a:gd name="T9" fmla="*/ 35455 h 75"/>
                <a:gd name="T10" fmla="*/ 16192 w 65"/>
                <a:gd name="T11" fmla="*/ 37571 h 75"/>
                <a:gd name="T12" fmla="*/ 19098 w 65"/>
                <a:gd name="T13" fmla="*/ 39688 h 75"/>
                <a:gd name="T14" fmla="*/ 21174 w 65"/>
                <a:gd name="T15" fmla="*/ 32280 h 75"/>
                <a:gd name="T16" fmla="*/ 24081 w 65"/>
                <a:gd name="T17" fmla="*/ 25400 h 75"/>
                <a:gd name="T18" fmla="*/ 25326 w 65"/>
                <a:gd name="T19" fmla="*/ 22225 h 75"/>
                <a:gd name="T20" fmla="*/ 26157 w 65"/>
                <a:gd name="T21" fmla="*/ 19050 h 75"/>
                <a:gd name="T22" fmla="*/ 26987 w 65"/>
                <a:gd name="T23" fmla="*/ 16404 h 75"/>
                <a:gd name="T24" fmla="*/ 26987 w 65"/>
                <a:gd name="T25" fmla="*/ 13759 h 75"/>
                <a:gd name="T26" fmla="*/ 26987 w 65"/>
                <a:gd name="T27" fmla="*/ 11113 h 75"/>
                <a:gd name="T28" fmla="*/ 26157 w 65"/>
                <a:gd name="T29" fmla="*/ 9525 h 75"/>
                <a:gd name="T30" fmla="*/ 25326 w 65"/>
                <a:gd name="T31" fmla="*/ 6879 h 75"/>
                <a:gd name="T32" fmla="*/ 24081 w 65"/>
                <a:gd name="T33" fmla="*/ 5292 h 75"/>
                <a:gd name="T34" fmla="*/ 21174 w 65"/>
                <a:gd name="T35" fmla="*/ 2646 h 75"/>
                <a:gd name="T36" fmla="*/ 19098 w 65"/>
                <a:gd name="T37" fmla="*/ 0 h 75"/>
                <a:gd name="T38" fmla="*/ 14116 w 65"/>
                <a:gd name="T39" fmla="*/ 0 h 75"/>
                <a:gd name="T40" fmla="*/ 10795 w 65"/>
                <a:gd name="T41" fmla="*/ 0 h 75"/>
                <a:gd name="T42" fmla="*/ 10380 w 65"/>
                <a:gd name="T43" fmla="*/ 1058 h 75"/>
                <a:gd name="T44" fmla="*/ 9964 w 65"/>
                <a:gd name="T45" fmla="*/ 3704 h 75"/>
                <a:gd name="T46" fmla="*/ 9549 w 65"/>
                <a:gd name="T47" fmla="*/ 4763 h 75"/>
                <a:gd name="T48" fmla="*/ 9549 w 65"/>
                <a:gd name="T49" fmla="*/ 5821 h 75"/>
                <a:gd name="T50" fmla="*/ 9964 w 65"/>
                <a:gd name="T51" fmla="*/ 6350 h 75"/>
                <a:gd name="T52" fmla="*/ 10795 w 65"/>
                <a:gd name="T53" fmla="*/ 6879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7" name="Freeform 175">
              <a:extLst>
                <a:ext uri="{FF2B5EF4-FFF2-40B4-BE49-F238E27FC236}">
                  <a16:creationId xmlns:a16="http://schemas.microsoft.com/office/drawing/2014/main" id="{29121087-0DEF-40B5-9552-0F6DFA5AAA9C}"/>
                </a:ext>
              </a:extLst>
            </p:cNvPr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10428664" y="4575276"/>
              <a:ext cx="22647" cy="32365"/>
            </a:xfrm>
            <a:custGeom>
              <a:avLst/>
              <a:gdLst>
                <a:gd name="T0" fmla="*/ 0 w 40"/>
                <a:gd name="T1" fmla="*/ 30162 h 62"/>
                <a:gd name="T2" fmla="*/ 1310 w 40"/>
                <a:gd name="T3" fmla="*/ 25297 h 62"/>
                <a:gd name="T4" fmla="*/ 3056 w 40"/>
                <a:gd name="T5" fmla="*/ 20919 h 62"/>
                <a:gd name="T6" fmla="*/ 5239 w 40"/>
                <a:gd name="T7" fmla="*/ 16054 h 62"/>
                <a:gd name="T8" fmla="*/ 7422 w 40"/>
                <a:gd name="T9" fmla="*/ 12162 h 62"/>
                <a:gd name="T10" fmla="*/ 10041 w 40"/>
                <a:gd name="T11" fmla="*/ 8270 h 62"/>
                <a:gd name="T12" fmla="*/ 12661 w 40"/>
                <a:gd name="T13" fmla="*/ 4378 h 62"/>
                <a:gd name="T14" fmla="*/ 15280 w 40"/>
                <a:gd name="T15" fmla="*/ 1459 h 62"/>
                <a:gd name="T16" fmla="*/ 17463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8" name="Freeform 176">
              <a:extLst>
                <a:ext uri="{FF2B5EF4-FFF2-40B4-BE49-F238E27FC236}">
                  <a16:creationId xmlns:a16="http://schemas.microsoft.com/office/drawing/2014/main" id="{088EB607-ADC4-41AE-8E42-CBE69D43D573}"/>
                </a:ext>
              </a:extLst>
            </p:cNvPr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10323668" y="4444111"/>
              <a:ext cx="88526" cy="148199"/>
            </a:xfrm>
            <a:custGeom>
              <a:avLst/>
              <a:gdLst>
                <a:gd name="T0" fmla="*/ 68262 w 159"/>
                <a:gd name="T1" fmla="*/ 138113 h 259"/>
                <a:gd name="T2" fmla="*/ 68262 w 159"/>
                <a:gd name="T3" fmla="*/ 133847 h 259"/>
                <a:gd name="T4" fmla="*/ 68262 w 159"/>
                <a:gd name="T5" fmla="*/ 130114 h 259"/>
                <a:gd name="T6" fmla="*/ 68262 w 159"/>
                <a:gd name="T7" fmla="*/ 125848 h 259"/>
                <a:gd name="T8" fmla="*/ 68262 w 159"/>
                <a:gd name="T9" fmla="*/ 121582 h 259"/>
                <a:gd name="T10" fmla="*/ 68262 w 159"/>
                <a:gd name="T11" fmla="*/ 119449 h 259"/>
                <a:gd name="T12" fmla="*/ 67833 w 159"/>
                <a:gd name="T13" fmla="*/ 116783 h 259"/>
                <a:gd name="T14" fmla="*/ 66974 w 159"/>
                <a:gd name="T15" fmla="*/ 114650 h 259"/>
                <a:gd name="T16" fmla="*/ 65686 w 159"/>
                <a:gd name="T17" fmla="*/ 111984 h 259"/>
                <a:gd name="T18" fmla="*/ 62252 w 159"/>
                <a:gd name="T19" fmla="*/ 107717 h 259"/>
                <a:gd name="T20" fmla="*/ 57958 w 159"/>
                <a:gd name="T21" fmla="*/ 103985 h 259"/>
                <a:gd name="T22" fmla="*/ 53236 w 159"/>
                <a:gd name="T23" fmla="*/ 100785 h 259"/>
                <a:gd name="T24" fmla="*/ 48084 w 159"/>
                <a:gd name="T25" fmla="*/ 98119 h 259"/>
                <a:gd name="T26" fmla="*/ 42503 w 159"/>
                <a:gd name="T27" fmla="*/ 95986 h 259"/>
                <a:gd name="T28" fmla="*/ 37351 w 159"/>
                <a:gd name="T29" fmla="*/ 95453 h 259"/>
                <a:gd name="T30" fmla="*/ 36492 w 159"/>
                <a:gd name="T31" fmla="*/ 94919 h 259"/>
                <a:gd name="T32" fmla="*/ 35204 w 159"/>
                <a:gd name="T33" fmla="*/ 94386 h 259"/>
                <a:gd name="T34" fmla="*/ 34775 w 159"/>
                <a:gd name="T35" fmla="*/ 93320 h 259"/>
                <a:gd name="T36" fmla="*/ 34346 w 159"/>
                <a:gd name="T37" fmla="*/ 92253 h 259"/>
                <a:gd name="T38" fmla="*/ 34346 w 159"/>
                <a:gd name="T39" fmla="*/ 89054 h 259"/>
                <a:gd name="T40" fmla="*/ 34775 w 159"/>
                <a:gd name="T41" fmla="*/ 85854 h 259"/>
                <a:gd name="T42" fmla="*/ 36492 w 159"/>
                <a:gd name="T43" fmla="*/ 78922 h 259"/>
                <a:gd name="T44" fmla="*/ 37351 w 159"/>
                <a:gd name="T45" fmla="*/ 75722 h 259"/>
                <a:gd name="T46" fmla="*/ 31340 w 159"/>
                <a:gd name="T47" fmla="*/ 75189 h 259"/>
                <a:gd name="T48" fmla="*/ 25330 w 159"/>
                <a:gd name="T49" fmla="*/ 74122 h 259"/>
                <a:gd name="T50" fmla="*/ 20607 w 159"/>
                <a:gd name="T51" fmla="*/ 71989 h 259"/>
                <a:gd name="T52" fmla="*/ 17173 w 159"/>
                <a:gd name="T53" fmla="*/ 68790 h 259"/>
                <a:gd name="T54" fmla="*/ 13309 w 159"/>
                <a:gd name="T55" fmla="*/ 64524 h 259"/>
                <a:gd name="T56" fmla="*/ 10304 w 159"/>
                <a:gd name="T57" fmla="*/ 60258 h 259"/>
                <a:gd name="T58" fmla="*/ 7728 w 159"/>
                <a:gd name="T59" fmla="*/ 55459 h 259"/>
                <a:gd name="T60" fmla="*/ 5581 w 159"/>
                <a:gd name="T61" fmla="*/ 50126 h 259"/>
                <a:gd name="T62" fmla="*/ 3864 w 159"/>
                <a:gd name="T63" fmla="*/ 44793 h 259"/>
                <a:gd name="T64" fmla="*/ 3005 w 159"/>
                <a:gd name="T65" fmla="*/ 38928 h 259"/>
                <a:gd name="T66" fmla="*/ 2147 w 159"/>
                <a:gd name="T67" fmla="*/ 31995 h 259"/>
                <a:gd name="T68" fmla="*/ 859 w 159"/>
                <a:gd name="T69" fmla="*/ 25596 h 259"/>
                <a:gd name="T70" fmla="*/ 0 w 159"/>
                <a:gd name="T71" fmla="*/ 13331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9" name="Line 177">
              <a:extLst>
                <a:ext uri="{FF2B5EF4-FFF2-40B4-BE49-F238E27FC236}">
                  <a16:creationId xmlns:a16="http://schemas.microsoft.com/office/drawing/2014/main" id="{707EE848-DA06-48B0-8813-EB8EE4C50A05}"/>
                </a:ext>
              </a:extLst>
            </p:cNvPr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10315433" y="4408341"/>
              <a:ext cx="8235" cy="3577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0" name="Freeform 178">
              <a:extLst>
                <a:ext uri="{FF2B5EF4-FFF2-40B4-BE49-F238E27FC236}">
                  <a16:creationId xmlns:a16="http://schemas.microsoft.com/office/drawing/2014/main" id="{B2FA8595-7DA3-47B6-8342-167AE60B87EC}"/>
                </a:ext>
              </a:extLst>
            </p:cNvPr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10315433" y="4391306"/>
              <a:ext cx="8235" cy="17034"/>
            </a:xfrm>
            <a:custGeom>
              <a:avLst/>
              <a:gdLst>
                <a:gd name="T0" fmla="*/ 0 w 13"/>
                <a:gd name="T1" fmla="*/ 15875 h 25"/>
                <a:gd name="T2" fmla="*/ 488 w 13"/>
                <a:gd name="T3" fmla="*/ 12065 h 25"/>
                <a:gd name="T4" fmla="*/ 1954 w 13"/>
                <a:gd name="T5" fmla="*/ 8255 h 25"/>
                <a:gd name="T6" fmla="*/ 3908 w 13"/>
                <a:gd name="T7" fmla="*/ 3810 h 25"/>
                <a:gd name="T8" fmla="*/ 635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1" name="Line 179">
              <a:extLst>
                <a:ext uri="{FF2B5EF4-FFF2-40B4-BE49-F238E27FC236}">
                  <a16:creationId xmlns:a16="http://schemas.microsoft.com/office/drawing/2014/main" id="{B2118811-003E-4606-9240-333827334B03}"/>
                </a:ext>
              </a:extLst>
            </p:cNvPr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10323668" y="4377679"/>
              <a:ext cx="0" cy="1362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2" name="Freeform 180">
              <a:extLst>
                <a:ext uri="{FF2B5EF4-FFF2-40B4-BE49-F238E27FC236}">
                  <a16:creationId xmlns:a16="http://schemas.microsoft.com/office/drawing/2014/main" id="{027EDB3F-6CC3-4ED7-B840-AF22247FC20B}"/>
                </a:ext>
              </a:extLst>
            </p:cNvPr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10263964" y="4306134"/>
              <a:ext cx="59705" cy="71545"/>
            </a:xfrm>
            <a:custGeom>
              <a:avLst/>
              <a:gdLst>
                <a:gd name="T0" fmla="*/ 46038 w 100"/>
                <a:gd name="T1" fmla="*/ 66675 h 123"/>
                <a:gd name="T2" fmla="*/ 41434 w 100"/>
                <a:gd name="T3" fmla="*/ 66133 h 123"/>
                <a:gd name="T4" fmla="*/ 34989 w 100"/>
                <a:gd name="T5" fmla="*/ 64507 h 123"/>
                <a:gd name="T6" fmla="*/ 27623 w 100"/>
                <a:gd name="T7" fmla="*/ 61796 h 123"/>
                <a:gd name="T8" fmla="*/ 19796 w 100"/>
                <a:gd name="T9" fmla="*/ 58002 h 123"/>
                <a:gd name="T10" fmla="*/ 15653 w 100"/>
                <a:gd name="T11" fmla="*/ 55834 h 123"/>
                <a:gd name="T12" fmla="*/ 12430 w 100"/>
                <a:gd name="T13" fmla="*/ 53665 h 123"/>
                <a:gd name="T14" fmla="*/ 9208 w 100"/>
                <a:gd name="T15" fmla="*/ 50955 h 123"/>
                <a:gd name="T16" fmla="*/ 5985 w 100"/>
                <a:gd name="T17" fmla="*/ 48245 h 123"/>
                <a:gd name="T18" fmla="*/ 3683 w 100"/>
                <a:gd name="T19" fmla="*/ 45534 h 123"/>
                <a:gd name="T20" fmla="*/ 1842 w 100"/>
                <a:gd name="T21" fmla="*/ 42824 h 123"/>
                <a:gd name="T22" fmla="*/ 460 w 100"/>
                <a:gd name="T23" fmla="*/ 39571 h 123"/>
                <a:gd name="T24" fmla="*/ 0 w 100"/>
                <a:gd name="T25" fmla="*/ 36861 h 123"/>
                <a:gd name="T26" fmla="*/ 921 w 100"/>
                <a:gd name="T27" fmla="*/ 29814 h 123"/>
                <a:gd name="T28" fmla="*/ 3223 w 100"/>
                <a:gd name="T29" fmla="*/ 19515 h 123"/>
                <a:gd name="T30" fmla="*/ 5064 w 100"/>
                <a:gd name="T31" fmla="*/ 9215 h 123"/>
                <a:gd name="T32" fmla="*/ 5985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3" name="Freeform 181">
              <a:extLst>
                <a:ext uri="{FF2B5EF4-FFF2-40B4-BE49-F238E27FC236}">
                  <a16:creationId xmlns:a16="http://schemas.microsoft.com/office/drawing/2014/main" id="{EB5DD83D-B11E-400D-9D3D-7B50D6E58934}"/>
                </a:ext>
              </a:extLst>
            </p:cNvPr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10282494" y="4244811"/>
              <a:ext cx="2058" cy="54510"/>
            </a:xfrm>
            <a:custGeom>
              <a:avLst/>
              <a:gdLst>
                <a:gd name="T0" fmla="*/ 1587 w 5"/>
                <a:gd name="T1" fmla="*/ 0 h 99"/>
                <a:gd name="T2" fmla="*/ 1270 w 5"/>
                <a:gd name="T3" fmla="*/ 17446 h 99"/>
                <a:gd name="T4" fmla="*/ 317 w 5"/>
                <a:gd name="T5" fmla="*/ 30275 h 99"/>
                <a:gd name="T6" fmla="*/ 0 w 5"/>
                <a:gd name="T7" fmla="*/ 35406 h 99"/>
                <a:gd name="T8" fmla="*/ 0 w 5"/>
                <a:gd name="T9" fmla="*/ 40024 h 99"/>
                <a:gd name="T10" fmla="*/ 635 w 5"/>
                <a:gd name="T11" fmla="*/ 44642 h 99"/>
                <a:gd name="T12" fmla="*/ 1587 w 5"/>
                <a:gd name="T13" fmla="*/ 5080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4" name="Freeform 182">
              <a:extLst>
                <a:ext uri="{FF2B5EF4-FFF2-40B4-BE49-F238E27FC236}">
                  <a16:creationId xmlns:a16="http://schemas.microsoft.com/office/drawing/2014/main" id="{19F52139-4878-460E-A8FE-0D1938335864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10290727" y="4237998"/>
              <a:ext cx="10293" cy="39179"/>
            </a:xfrm>
            <a:custGeom>
              <a:avLst/>
              <a:gdLst>
                <a:gd name="T0" fmla="*/ 7937 w 14"/>
                <a:gd name="T1" fmla="*/ 0 h 68"/>
                <a:gd name="T2" fmla="*/ 4535 w 14"/>
                <a:gd name="T3" fmla="*/ 8591 h 68"/>
                <a:gd name="T4" fmla="*/ 2268 w 14"/>
                <a:gd name="T5" fmla="*/ 17719 h 68"/>
                <a:gd name="T6" fmla="*/ 1134 w 14"/>
                <a:gd name="T7" fmla="*/ 27921 h 68"/>
                <a:gd name="T8" fmla="*/ 0 w 14"/>
                <a:gd name="T9" fmla="*/ 36512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5" name="Freeform 183">
              <a:extLst>
                <a:ext uri="{FF2B5EF4-FFF2-40B4-BE49-F238E27FC236}">
                  <a16:creationId xmlns:a16="http://schemas.microsoft.com/office/drawing/2014/main" id="{7156E2AF-D411-45F2-9774-C04CF0C476AA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10311316" y="4217556"/>
              <a:ext cx="2058" cy="23848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6719 h 43"/>
                <a:gd name="T4" fmla="*/ 0 w 1587"/>
                <a:gd name="T5" fmla="*/ 13438 h 43"/>
                <a:gd name="T6" fmla="*/ 0 w 1587"/>
                <a:gd name="T7" fmla="*/ 19124 h 43"/>
                <a:gd name="T8" fmla="*/ 0 w 1587"/>
                <a:gd name="T9" fmla="*/ 22225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6" name="Line 184">
              <a:extLst>
                <a:ext uri="{FF2B5EF4-FFF2-40B4-BE49-F238E27FC236}">
                  <a16:creationId xmlns:a16="http://schemas.microsoft.com/office/drawing/2014/main" id="{F3DC7A5E-9D4F-4152-A7C8-2FE3D1F2901A}"/>
                </a:ext>
              </a:extLst>
            </p:cNvPr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10311316" y="4237998"/>
              <a:ext cx="2058" cy="340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7" name="Freeform 185">
              <a:extLst>
                <a:ext uri="{FF2B5EF4-FFF2-40B4-BE49-F238E27FC236}">
                  <a16:creationId xmlns:a16="http://schemas.microsoft.com/office/drawing/2014/main" id="{6F998622-F747-48D1-857C-0C52FF343653}"/>
                </a:ext>
              </a:extLst>
            </p:cNvPr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10290727" y="4220963"/>
              <a:ext cx="2058" cy="17034"/>
            </a:xfrm>
            <a:custGeom>
              <a:avLst/>
              <a:gdLst>
                <a:gd name="T0" fmla="*/ 0 w 1587"/>
                <a:gd name="T1" fmla="*/ 15875 h 31"/>
                <a:gd name="T2" fmla="*/ 0 w 1587"/>
                <a:gd name="T3" fmla="*/ 11266 h 31"/>
                <a:gd name="T4" fmla="*/ 0 w 1587"/>
                <a:gd name="T5" fmla="*/ 7681 h 31"/>
                <a:gd name="T6" fmla="*/ 0 w 1587"/>
                <a:gd name="T7" fmla="*/ 409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8" name="Freeform 186">
              <a:extLst>
                <a:ext uri="{FF2B5EF4-FFF2-40B4-BE49-F238E27FC236}">
                  <a16:creationId xmlns:a16="http://schemas.microsoft.com/office/drawing/2014/main" id="{8B3893C1-0242-4F67-9978-7C46BCFA33B5}"/>
                </a:ext>
              </a:extLst>
            </p:cNvPr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9928386" y="5282198"/>
              <a:ext cx="125584" cy="93689"/>
            </a:xfrm>
            <a:custGeom>
              <a:avLst/>
              <a:gdLst>
                <a:gd name="T0" fmla="*/ 8177 w 225"/>
                <a:gd name="T1" fmla="*/ 82608 h 167"/>
                <a:gd name="T2" fmla="*/ 3013 w 225"/>
                <a:gd name="T3" fmla="*/ 74242 h 167"/>
                <a:gd name="T4" fmla="*/ 0 w 225"/>
                <a:gd name="T5" fmla="*/ 67968 h 167"/>
                <a:gd name="T6" fmla="*/ 430 w 225"/>
                <a:gd name="T7" fmla="*/ 56466 h 167"/>
                <a:gd name="T8" fmla="*/ 4734 w 225"/>
                <a:gd name="T9" fmla="*/ 35553 h 167"/>
                <a:gd name="T10" fmla="*/ 10329 w 225"/>
                <a:gd name="T11" fmla="*/ 20390 h 167"/>
                <a:gd name="T12" fmla="*/ 14633 w 225"/>
                <a:gd name="T13" fmla="*/ 10979 h 167"/>
                <a:gd name="T14" fmla="*/ 18937 w 225"/>
                <a:gd name="T15" fmla="*/ 4705 h 167"/>
                <a:gd name="T16" fmla="*/ 23241 w 225"/>
                <a:gd name="T17" fmla="*/ 523 h 167"/>
                <a:gd name="T18" fmla="*/ 27975 w 225"/>
                <a:gd name="T19" fmla="*/ 523 h 167"/>
                <a:gd name="T20" fmla="*/ 32709 w 225"/>
                <a:gd name="T21" fmla="*/ 1568 h 167"/>
                <a:gd name="T22" fmla="*/ 37874 w 225"/>
                <a:gd name="T23" fmla="*/ 4183 h 167"/>
                <a:gd name="T24" fmla="*/ 43039 w 225"/>
                <a:gd name="T25" fmla="*/ 8888 h 167"/>
                <a:gd name="T26" fmla="*/ 48203 w 225"/>
                <a:gd name="T27" fmla="*/ 12548 h 167"/>
                <a:gd name="T28" fmla="*/ 55089 w 225"/>
                <a:gd name="T29" fmla="*/ 12548 h 167"/>
                <a:gd name="T30" fmla="*/ 62406 w 225"/>
                <a:gd name="T31" fmla="*/ 9934 h 167"/>
                <a:gd name="T32" fmla="*/ 71014 w 225"/>
                <a:gd name="T33" fmla="*/ 3660 h 167"/>
                <a:gd name="T34" fmla="*/ 96837 w 225"/>
                <a:gd name="T35" fmla="*/ 0 h 167"/>
                <a:gd name="T36" fmla="*/ 92533 w 225"/>
                <a:gd name="T37" fmla="*/ 11502 h 167"/>
                <a:gd name="T38" fmla="*/ 86508 w 225"/>
                <a:gd name="T39" fmla="*/ 21436 h 167"/>
                <a:gd name="T40" fmla="*/ 72305 w 225"/>
                <a:gd name="T41" fmla="*/ 37644 h 167"/>
                <a:gd name="T42" fmla="*/ 59393 w 225"/>
                <a:gd name="T43" fmla="*/ 52283 h 167"/>
                <a:gd name="T44" fmla="*/ 55520 w 225"/>
                <a:gd name="T45" fmla="*/ 59603 h 167"/>
                <a:gd name="T46" fmla="*/ 54229 w 225"/>
                <a:gd name="T47" fmla="*/ 67968 h 167"/>
                <a:gd name="T48" fmla="*/ 52938 w 225"/>
                <a:gd name="T49" fmla="*/ 65877 h 167"/>
                <a:gd name="T50" fmla="*/ 51646 w 225"/>
                <a:gd name="T51" fmla="*/ 61171 h 167"/>
                <a:gd name="T52" fmla="*/ 45621 w 225"/>
                <a:gd name="T53" fmla="*/ 63263 h 167"/>
                <a:gd name="T54" fmla="*/ 41748 w 225"/>
                <a:gd name="T55" fmla="*/ 66923 h 167"/>
                <a:gd name="T56" fmla="*/ 34431 w 225"/>
                <a:gd name="T57" fmla="*/ 75811 h 167"/>
                <a:gd name="T58" fmla="*/ 30557 w 225"/>
                <a:gd name="T59" fmla="*/ 79993 h 167"/>
                <a:gd name="T60" fmla="*/ 25823 w 225"/>
                <a:gd name="T61" fmla="*/ 83653 h 167"/>
                <a:gd name="T62" fmla="*/ 19798 w 225"/>
                <a:gd name="T63" fmla="*/ 86267 h 167"/>
                <a:gd name="T64" fmla="*/ 11190 w 225"/>
                <a:gd name="T65" fmla="*/ 87313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9" name="Freeform 187">
              <a:extLst>
                <a:ext uri="{FF2B5EF4-FFF2-40B4-BE49-F238E27FC236}">
                  <a16:creationId xmlns:a16="http://schemas.microsoft.com/office/drawing/2014/main" id="{4867D96A-8913-4316-B684-BD6E051F6867}"/>
                </a:ext>
              </a:extLst>
            </p:cNvPr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10107498" y="4444111"/>
              <a:ext cx="4118" cy="18738"/>
            </a:xfrm>
            <a:custGeom>
              <a:avLst/>
              <a:gdLst>
                <a:gd name="T0" fmla="*/ 0 w 7"/>
                <a:gd name="T1" fmla="*/ 17463 h 31"/>
                <a:gd name="T2" fmla="*/ 2268 w 7"/>
                <a:gd name="T3" fmla="*/ 12393 h 31"/>
                <a:gd name="T4" fmla="*/ 2721 w 7"/>
                <a:gd name="T5" fmla="*/ 7323 h 31"/>
                <a:gd name="T6" fmla="*/ 3175 w 7"/>
                <a:gd name="T7" fmla="*/ 3380 h 31"/>
                <a:gd name="T8" fmla="*/ 3175 w 7"/>
                <a:gd name="T9" fmla="*/ 0 h 31"/>
                <a:gd name="T10" fmla="*/ 2721 w 7"/>
                <a:gd name="T11" fmla="*/ 3380 h 31"/>
                <a:gd name="T12" fmla="*/ 1814 w 7"/>
                <a:gd name="T13" fmla="*/ 7323 h 31"/>
                <a:gd name="T14" fmla="*/ 454 w 7"/>
                <a:gd name="T15" fmla="*/ 12393 h 31"/>
                <a:gd name="T16" fmla="*/ 0 w 7"/>
                <a:gd name="T17" fmla="*/ 1746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0" name="Freeform 188">
              <a:extLst>
                <a:ext uri="{FF2B5EF4-FFF2-40B4-BE49-F238E27FC236}">
                  <a16:creationId xmlns:a16="http://schemas.microsoft.com/office/drawing/2014/main" id="{F193316B-134A-4F33-8043-C21BBBA5E2DF}"/>
                </a:ext>
              </a:extLst>
            </p:cNvPr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10021030" y="4360644"/>
              <a:ext cx="20588" cy="17034"/>
            </a:xfrm>
            <a:custGeom>
              <a:avLst/>
              <a:gdLst>
                <a:gd name="T0" fmla="*/ 15875 w 33"/>
                <a:gd name="T1" fmla="*/ 15875 h 31"/>
                <a:gd name="T2" fmla="*/ 15875 w 33"/>
                <a:gd name="T3" fmla="*/ 0 h 31"/>
                <a:gd name="T4" fmla="*/ 12989 w 33"/>
                <a:gd name="T5" fmla="*/ 0 h 31"/>
                <a:gd name="T6" fmla="*/ 10583 w 33"/>
                <a:gd name="T7" fmla="*/ 1024 h 31"/>
                <a:gd name="T8" fmla="*/ 7697 w 33"/>
                <a:gd name="T9" fmla="*/ 2560 h 31"/>
                <a:gd name="T10" fmla="*/ 5292 w 33"/>
                <a:gd name="T11" fmla="*/ 4097 h 31"/>
                <a:gd name="T12" fmla="*/ 2886 w 33"/>
                <a:gd name="T13" fmla="*/ 6145 h 31"/>
                <a:gd name="T14" fmla="*/ 1443 w 33"/>
                <a:gd name="T15" fmla="*/ 8194 h 31"/>
                <a:gd name="T16" fmla="*/ 481 w 33"/>
                <a:gd name="T17" fmla="*/ 10754 h 31"/>
                <a:gd name="T18" fmla="*/ 0 w 33"/>
                <a:gd name="T19" fmla="*/ 12802 h 31"/>
                <a:gd name="T20" fmla="*/ 481 w 33"/>
                <a:gd name="T21" fmla="*/ 13827 h 31"/>
                <a:gd name="T22" fmla="*/ 1443 w 33"/>
                <a:gd name="T23" fmla="*/ 14851 h 31"/>
                <a:gd name="T24" fmla="*/ 2886 w 33"/>
                <a:gd name="T25" fmla="*/ 15363 h 31"/>
                <a:gd name="T26" fmla="*/ 5292 w 33"/>
                <a:gd name="T27" fmla="*/ 15363 h 31"/>
                <a:gd name="T28" fmla="*/ 10583 w 33"/>
                <a:gd name="T29" fmla="*/ 15875 h 31"/>
                <a:gd name="T30" fmla="*/ 15875 w 33"/>
                <a:gd name="T31" fmla="*/ 15875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1" name="Freeform 189">
              <a:extLst>
                <a:ext uri="{FF2B5EF4-FFF2-40B4-BE49-F238E27FC236}">
                  <a16:creationId xmlns:a16="http://schemas.microsoft.com/office/drawing/2014/main" id="{C257AC0C-B668-4B15-A334-018D21FA9C00}"/>
                </a:ext>
              </a:extLst>
            </p:cNvPr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10041617" y="4266956"/>
              <a:ext cx="4118" cy="10221"/>
            </a:xfrm>
            <a:custGeom>
              <a:avLst/>
              <a:gdLst>
                <a:gd name="T0" fmla="*/ 0 w 13"/>
                <a:gd name="T1" fmla="*/ 9525 h 19"/>
                <a:gd name="T2" fmla="*/ 488 w 13"/>
                <a:gd name="T3" fmla="*/ 9024 h 19"/>
                <a:gd name="T4" fmla="*/ 1221 w 13"/>
                <a:gd name="T5" fmla="*/ 8522 h 19"/>
                <a:gd name="T6" fmla="*/ 1710 w 13"/>
                <a:gd name="T7" fmla="*/ 7520 h 19"/>
                <a:gd name="T8" fmla="*/ 1954 w 13"/>
                <a:gd name="T9" fmla="*/ 6016 h 19"/>
                <a:gd name="T10" fmla="*/ 2931 w 13"/>
                <a:gd name="T11" fmla="*/ 3008 h 19"/>
                <a:gd name="T12" fmla="*/ 3175 w 13"/>
                <a:gd name="T13" fmla="*/ 0 h 19"/>
                <a:gd name="T14" fmla="*/ 0 w 13"/>
                <a:gd name="T15" fmla="*/ 952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2" name="Freeform 190">
              <a:extLst>
                <a:ext uri="{FF2B5EF4-FFF2-40B4-BE49-F238E27FC236}">
                  <a16:creationId xmlns:a16="http://schemas.microsoft.com/office/drawing/2014/main" id="{4F49E09C-C97B-44DC-BC44-0671D087DEBD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9833683" y="4270363"/>
              <a:ext cx="47351" cy="23848"/>
            </a:xfrm>
            <a:custGeom>
              <a:avLst/>
              <a:gdLst>
                <a:gd name="T0" fmla="*/ 22663 w 87"/>
                <a:gd name="T1" fmla="*/ 22225 h 42"/>
                <a:gd name="T2" fmla="*/ 24761 w 87"/>
                <a:gd name="T3" fmla="*/ 22225 h 42"/>
                <a:gd name="T4" fmla="*/ 26859 w 87"/>
                <a:gd name="T5" fmla="*/ 21696 h 42"/>
                <a:gd name="T6" fmla="*/ 28538 w 87"/>
                <a:gd name="T7" fmla="*/ 21167 h 42"/>
                <a:gd name="T8" fmla="*/ 29797 w 87"/>
                <a:gd name="T9" fmla="*/ 20108 h 42"/>
                <a:gd name="T10" fmla="*/ 31476 w 87"/>
                <a:gd name="T11" fmla="*/ 17992 h 42"/>
                <a:gd name="T12" fmla="*/ 32735 w 87"/>
                <a:gd name="T13" fmla="*/ 14817 h 42"/>
                <a:gd name="T14" fmla="*/ 33155 w 87"/>
                <a:gd name="T15" fmla="*/ 11642 h 42"/>
                <a:gd name="T16" fmla="*/ 33574 w 87"/>
                <a:gd name="T17" fmla="*/ 8467 h 42"/>
                <a:gd name="T18" fmla="*/ 34414 w 87"/>
                <a:gd name="T19" fmla="*/ 5821 h 42"/>
                <a:gd name="T20" fmla="*/ 36512 w 87"/>
                <a:gd name="T21" fmla="*/ 3175 h 42"/>
                <a:gd name="T22" fmla="*/ 32315 w 87"/>
                <a:gd name="T23" fmla="*/ 1058 h 42"/>
                <a:gd name="T24" fmla="*/ 28118 w 87"/>
                <a:gd name="T25" fmla="*/ 0 h 42"/>
                <a:gd name="T26" fmla="*/ 23922 w 87"/>
                <a:gd name="T27" fmla="*/ 0 h 42"/>
                <a:gd name="T28" fmla="*/ 19725 w 87"/>
                <a:gd name="T29" fmla="*/ 0 h 42"/>
                <a:gd name="T30" fmla="*/ 16787 w 87"/>
                <a:gd name="T31" fmla="*/ 0 h 42"/>
                <a:gd name="T32" fmla="*/ 13430 w 87"/>
                <a:gd name="T33" fmla="*/ 1058 h 42"/>
                <a:gd name="T34" fmla="*/ 10492 w 87"/>
                <a:gd name="T35" fmla="*/ 2117 h 42"/>
                <a:gd name="T36" fmla="*/ 7974 w 87"/>
                <a:gd name="T37" fmla="*/ 3175 h 42"/>
                <a:gd name="T38" fmla="*/ 3357 w 87"/>
                <a:gd name="T39" fmla="*/ 6350 h 42"/>
                <a:gd name="T40" fmla="*/ 0 w 87"/>
                <a:gd name="T41" fmla="*/ 9525 h 42"/>
                <a:gd name="T42" fmla="*/ 4616 w 87"/>
                <a:gd name="T43" fmla="*/ 12700 h 42"/>
                <a:gd name="T44" fmla="*/ 11331 w 87"/>
                <a:gd name="T45" fmla="*/ 16933 h 42"/>
                <a:gd name="T46" fmla="*/ 18046 w 87"/>
                <a:gd name="T47" fmla="*/ 20638 h 42"/>
                <a:gd name="T48" fmla="*/ 22663 w 87"/>
                <a:gd name="T49" fmla="*/ 22225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3" name="Freeform 191">
              <a:extLst>
                <a:ext uri="{FF2B5EF4-FFF2-40B4-BE49-F238E27FC236}">
                  <a16:creationId xmlns:a16="http://schemas.microsoft.com/office/drawing/2014/main" id="{03CF1591-5FEE-41B1-B7F9-0A11D07C4191}"/>
                </a:ext>
              </a:extLst>
            </p:cNvPr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10150731" y="4767763"/>
              <a:ext cx="2058" cy="15332"/>
            </a:xfrm>
            <a:custGeom>
              <a:avLst/>
              <a:gdLst>
                <a:gd name="T0" fmla="*/ 0 w 7"/>
                <a:gd name="T1" fmla="*/ 0 h 31"/>
                <a:gd name="T2" fmla="*/ 1587 w 7"/>
                <a:gd name="T3" fmla="*/ 0 h 31"/>
                <a:gd name="T4" fmla="*/ 1587 w 7"/>
                <a:gd name="T5" fmla="*/ 8296 h 31"/>
                <a:gd name="T6" fmla="*/ 0 w 7"/>
                <a:gd name="T7" fmla="*/ 14288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4" name="Freeform 192">
              <a:extLst>
                <a:ext uri="{FF2B5EF4-FFF2-40B4-BE49-F238E27FC236}">
                  <a16:creationId xmlns:a16="http://schemas.microsoft.com/office/drawing/2014/main" id="{3B8F2859-4A6F-4A2E-93EB-31D157D6D706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9160467" y="4237998"/>
              <a:ext cx="1321725" cy="974361"/>
            </a:xfrm>
            <a:custGeom>
              <a:avLst/>
              <a:gdLst>
                <a:gd name="T0" fmla="*/ 93526 w 2332"/>
                <a:gd name="T1" fmla="*/ 370879 h 1731"/>
                <a:gd name="T2" fmla="*/ 142038 w 2332"/>
                <a:gd name="T3" fmla="*/ 340453 h 1731"/>
                <a:gd name="T4" fmla="*/ 190112 w 2332"/>
                <a:gd name="T5" fmla="*/ 317896 h 1731"/>
                <a:gd name="T6" fmla="*/ 264409 w 2332"/>
                <a:gd name="T7" fmla="*/ 299011 h 1731"/>
                <a:gd name="T8" fmla="*/ 295875 w 2332"/>
                <a:gd name="T9" fmla="*/ 229242 h 1731"/>
                <a:gd name="T10" fmla="*/ 331276 w 2332"/>
                <a:gd name="T11" fmla="*/ 230291 h 1731"/>
                <a:gd name="T12" fmla="*/ 342639 w 2332"/>
                <a:gd name="T13" fmla="*/ 190423 h 1731"/>
                <a:gd name="T14" fmla="*/ 378476 w 2332"/>
                <a:gd name="T15" fmla="*/ 165768 h 1731"/>
                <a:gd name="T16" fmla="*/ 410380 w 2332"/>
                <a:gd name="T17" fmla="*/ 129047 h 1731"/>
                <a:gd name="T18" fmla="*/ 448839 w 2332"/>
                <a:gd name="T19" fmla="*/ 116982 h 1731"/>
                <a:gd name="T20" fmla="*/ 471128 w 2332"/>
                <a:gd name="T21" fmla="*/ 148981 h 1731"/>
                <a:gd name="T22" fmla="*/ 496039 w 2332"/>
                <a:gd name="T23" fmla="*/ 141637 h 1731"/>
                <a:gd name="T24" fmla="*/ 513958 w 2332"/>
                <a:gd name="T25" fmla="*/ 90228 h 1731"/>
                <a:gd name="T26" fmla="*/ 576892 w 2332"/>
                <a:gd name="T27" fmla="*/ 61376 h 1731"/>
                <a:gd name="T28" fmla="*/ 583884 w 2332"/>
                <a:gd name="T29" fmla="*/ 21508 h 1731"/>
                <a:gd name="T30" fmla="*/ 625840 w 2332"/>
                <a:gd name="T31" fmla="*/ 56130 h 1731"/>
                <a:gd name="T32" fmla="*/ 674788 w 2332"/>
                <a:gd name="T33" fmla="*/ 61376 h 1731"/>
                <a:gd name="T34" fmla="*/ 640262 w 2332"/>
                <a:gd name="T35" fmla="*/ 137440 h 1731"/>
                <a:gd name="T36" fmla="*/ 659492 w 2332"/>
                <a:gd name="T37" fmla="*/ 174686 h 1731"/>
                <a:gd name="T38" fmla="*/ 691396 w 2332"/>
                <a:gd name="T39" fmla="*/ 185702 h 1731"/>
                <a:gd name="T40" fmla="*/ 728981 w 2332"/>
                <a:gd name="T41" fmla="*/ 221898 h 1731"/>
                <a:gd name="T42" fmla="*/ 770937 w 2332"/>
                <a:gd name="T43" fmla="*/ 216652 h 1731"/>
                <a:gd name="T44" fmla="*/ 799781 w 2332"/>
                <a:gd name="T45" fmla="*/ 107539 h 1731"/>
                <a:gd name="T46" fmla="*/ 832122 w 2332"/>
                <a:gd name="T47" fmla="*/ 5246 h 1731"/>
                <a:gd name="T48" fmla="*/ 844796 w 2332"/>
                <a:gd name="T49" fmla="*/ 41966 h 1731"/>
                <a:gd name="T50" fmla="*/ 849604 w 2332"/>
                <a:gd name="T51" fmla="*/ 92326 h 1731"/>
                <a:gd name="T52" fmla="*/ 867959 w 2332"/>
                <a:gd name="T53" fmla="*/ 125899 h 1731"/>
                <a:gd name="T54" fmla="*/ 891560 w 2332"/>
                <a:gd name="T55" fmla="*/ 225045 h 1731"/>
                <a:gd name="T56" fmla="*/ 912975 w 2332"/>
                <a:gd name="T57" fmla="*/ 283274 h 1731"/>
                <a:gd name="T58" fmla="*/ 945315 w 2332"/>
                <a:gd name="T59" fmla="*/ 359863 h 1731"/>
                <a:gd name="T60" fmla="*/ 969790 w 2332"/>
                <a:gd name="T61" fmla="*/ 403403 h 1731"/>
                <a:gd name="T62" fmla="*/ 1019175 w 2332"/>
                <a:gd name="T63" fmla="*/ 467926 h 1731"/>
                <a:gd name="T64" fmla="*/ 994701 w 2332"/>
                <a:gd name="T65" fmla="*/ 579662 h 1731"/>
                <a:gd name="T66" fmla="*/ 912100 w 2332"/>
                <a:gd name="T67" fmla="*/ 714480 h 1731"/>
                <a:gd name="T68" fmla="*/ 876263 w 2332"/>
                <a:gd name="T69" fmla="*/ 751200 h 1731"/>
                <a:gd name="T70" fmla="*/ 803278 w 2332"/>
                <a:gd name="T71" fmla="*/ 834609 h 1731"/>
                <a:gd name="T72" fmla="*/ 764381 w 2332"/>
                <a:gd name="T73" fmla="*/ 879198 h 1731"/>
                <a:gd name="T74" fmla="*/ 694455 w 2332"/>
                <a:gd name="T75" fmla="*/ 905427 h 1731"/>
                <a:gd name="T76" fmla="*/ 662988 w 2332"/>
                <a:gd name="T77" fmla="*/ 888116 h 1731"/>
                <a:gd name="T78" fmla="*/ 616225 w 2332"/>
                <a:gd name="T79" fmla="*/ 907001 h 1731"/>
                <a:gd name="T80" fmla="*/ 566840 w 2332"/>
                <a:gd name="T81" fmla="*/ 888116 h 1731"/>
                <a:gd name="T82" fmla="*/ 558973 w 2332"/>
                <a:gd name="T83" fmla="*/ 846674 h 1731"/>
                <a:gd name="T84" fmla="*/ 551980 w 2332"/>
                <a:gd name="T85" fmla="*/ 795265 h 1731"/>
                <a:gd name="T86" fmla="*/ 535373 w 2332"/>
                <a:gd name="T87" fmla="*/ 786872 h 1731"/>
                <a:gd name="T88" fmla="*/ 559410 w 2332"/>
                <a:gd name="T89" fmla="*/ 724971 h 1731"/>
                <a:gd name="T90" fmla="*/ 475498 w 2332"/>
                <a:gd name="T91" fmla="*/ 714480 h 1731"/>
                <a:gd name="T92" fmla="*/ 419995 w 2332"/>
                <a:gd name="T93" fmla="*/ 672513 h 1731"/>
                <a:gd name="T94" fmla="*/ 329527 w 2332"/>
                <a:gd name="T95" fmla="*/ 694021 h 1731"/>
                <a:gd name="T96" fmla="*/ 221579 w 2332"/>
                <a:gd name="T97" fmla="*/ 744381 h 1731"/>
                <a:gd name="T98" fmla="*/ 93526 w 2332"/>
                <a:gd name="T99" fmla="*/ 772708 h 1731"/>
                <a:gd name="T100" fmla="*/ 24037 w 2332"/>
                <a:gd name="T101" fmla="*/ 781626 h 1731"/>
                <a:gd name="T102" fmla="*/ 874 w 2332"/>
                <a:gd name="T103" fmla="*/ 746479 h 1731"/>
                <a:gd name="T104" fmla="*/ 42393 w 2332"/>
                <a:gd name="T105" fmla="*/ 705037 h 1731"/>
                <a:gd name="T106" fmla="*/ 32778 w 2332"/>
                <a:gd name="T107" fmla="*/ 651005 h 1731"/>
                <a:gd name="T108" fmla="*/ 49385 w 2332"/>
                <a:gd name="T109" fmla="*/ 613760 h 1731"/>
                <a:gd name="T110" fmla="*/ 25348 w 2332"/>
                <a:gd name="T111" fmla="*/ 494680 h 1731"/>
                <a:gd name="T112" fmla="*/ 49385 w 2332"/>
                <a:gd name="T113" fmla="*/ 505696 h 1731"/>
                <a:gd name="T114" fmla="*/ 46326 w 2332"/>
                <a:gd name="T115" fmla="*/ 452189 h 1731"/>
                <a:gd name="T116" fmla="*/ 64245 w 2332"/>
                <a:gd name="T117" fmla="*/ 40130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0185C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5" name="Freeform 193">
              <a:extLst>
                <a:ext uri="{FF2B5EF4-FFF2-40B4-BE49-F238E27FC236}">
                  <a16:creationId xmlns:a16="http://schemas.microsoft.com/office/drawing/2014/main" id="{03BE097A-A506-4249-98C9-AC6A0C505F37}"/>
                </a:ext>
              </a:extLst>
            </p:cNvPr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010381" y="2807118"/>
              <a:ext cx="866739" cy="623454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0185C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6" name="Freeform 194">
              <a:extLst>
                <a:ext uri="{FF2B5EF4-FFF2-40B4-BE49-F238E27FC236}">
                  <a16:creationId xmlns:a16="http://schemas.microsoft.com/office/drawing/2014/main" id="{5E6BEA8E-D50B-44A9-AF53-A958BBA94482}"/>
                </a:ext>
              </a:extLst>
            </p:cNvPr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3663567" y="4566759"/>
              <a:ext cx="273817" cy="284473"/>
            </a:xfrm>
            <a:custGeom>
              <a:avLst/>
              <a:gdLst>
                <a:gd name="T0" fmla="*/ 6082 w 486"/>
                <a:gd name="T1" fmla="*/ 92396 h 505"/>
                <a:gd name="T2" fmla="*/ 13468 w 486"/>
                <a:gd name="T3" fmla="*/ 103945 h 505"/>
                <a:gd name="T4" fmla="*/ 22156 w 486"/>
                <a:gd name="T5" fmla="*/ 121794 h 505"/>
                <a:gd name="T6" fmla="*/ 35624 w 486"/>
                <a:gd name="T7" fmla="*/ 139644 h 505"/>
                <a:gd name="T8" fmla="*/ 54739 w 486"/>
                <a:gd name="T9" fmla="*/ 153818 h 505"/>
                <a:gd name="T10" fmla="*/ 73855 w 486"/>
                <a:gd name="T11" fmla="*/ 162743 h 505"/>
                <a:gd name="T12" fmla="*/ 106872 w 486"/>
                <a:gd name="T13" fmla="*/ 172192 h 505"/>
                <a:gd name="T14" fmla="*/ 128160 w 486"/>
                <a:gd name="T15" fmla="*/ 180592 h 505"/>
                <a:gd name="T16" fmla="*/ 129898 w 486"/>
                <a:gd name="T17" fmla="*/ 200016 h 505"/>
                <a:gd name="T18" fmla="*/ 120340 w 486"/>
                <a:gd name="T19" fmla="*/ 219440 h 505"/>
                <a:gd name="T20" fmla="*/ 115996 w 486"/>
                <a:gd name="T21" fmla="*/ 232564 h 505"/>
                <a:gd name="T22" fmla="*/ 115561 w 486"/>
                <a:gd name="T23" fmla="*/ 243064 h 505"/>
                <a:gd name="T24" fmla="*/ 120774 w 486"/>
                <a:gd name="T25" fmla="*/ 253039 h 505"/>
                <a:gd name="T26" fmla="*/ 129898 w 486"/>
                <a:gd name="T27" fmla="*/ 259338 h 505"/>
                <a:gd name="T28" fmla="*/ 149447 w 486"/>
                <a:gd name="T29" fmla="*/ 264588 h 505"/>
                <a:gd name="T30" fmla="*/ 168128 w 486"/>
                <a:gd name="T31" fmla="*/ 264588 h 505"/>
                <a:gd name="T32" fmla="*/ 180293 w 486"/>
                <a:gd name="T33" fmla="*/ 259338 h 505"/>
                <a:gd name="T34" fmla="*/ 193760 w 486"/>
                <a:gd name="T35" fmla="*/ 248839 h 505"/>
                <a:gd name="T36" fmla="*/ 205490 w 486"/>
                <a:gd name="T37" fmla="*/ 234664 h 505"/>
                <a:gd name="T38" fmla="*/ 210704 w 486"/>
                <a:gd name="T39" fmla="*/ 219440 h 505"/>
                <a:gd name="T40" fmla="*/ 210269 w 486"/>
                <a:gd name="T41" fmla="*/ 208416 h 505"/>
                <a:gd name="T42" fmla="*/ 207662 w 486"/>
                <a:gd name="T43" fmla="*/ 187941 h 505"/>
                <a:gd name="T44" fmla="*/ 204621 w 486"/>
                <a:gd name="T45" fmla="*/ 165892 h 505"/>
                <a:gd name="T46" fmla="*/ 202015 w 486"/>
                <a:gd name="T47" fmla="*/ 141744 h 505"/>
                <a:gd name="T48" fmla="*/ 198105 w 486"/>
                <a:gd name="T49" fmla="*/ 132294 h 505"/>
                <a:gd name="T50" fmla="*/ 190719 w 486"/>
                <a:gd name="T51" fmla="*/ 125469 h 505"/>
                <a:gd name="T52" fmla="*/ 179424 w 486"/>
                <a:gd name="T53" fmla="*/ 121794 h 505"/>
                <a:gd name="T54" fmla="*/ 170301 w 486"/>
                <a:gd name="T55" fmla="*/ 116545 h 505"/>
                <a:gd name="T56" fmla="*/ 160743 w 486"/>
                <a:gd name="T57" fmla="*/ 108670 h 505"/>
                <a:gd name="T58" fmla="*/ 143365 w 486"/>
                <a:gd name="T59" fmla="*/ 98696 h 505"/>
                <a:gd name="T60" fmla="*/ 125988 w 486"/>
                <a:gd name="T61" fmla="*/ 90296 h 505"/>
                <a:gd name="T62" fmla="*/ 118602 w 486"/>
                <a:gd name="T63" fmla="*/ 83996 h 505"/>
                <a:gd name="T64" fmla="*/ 114692 w 486"/>
                <a:gd name="T65" fmla="*/ 79271 h 505"/>
                <a:gd name="T66" fmla="*/ 113389 w 486"/>
                <a:gd name="T67" fmla="*/ 65622 h 505"/>
                <a:gd name="T68" fmla="*/ 113389 w 486"/>
                <a:gd name="T69" fmla="*/ 47248 h 505"/>
                <a:gd name="T70" fmla="*/ 110782 w 486"/>
                <a:gd name="T71" fmla="*/ 37273 h 505"/>
                <a:gd name="T72" fmla="*/ 104700 w 486"/>
                <a:gd name="T73" fmla="*/ 28874 h 505"/>
                <a:gd name="T74" fmla="*/ 101659 w 486"/>
                <a:gd name="T75" fmla="*/ 19424 h 505"/>
                <a:gd name="T76" fmla="*/ 86454 w 486"/>
                <a:gd name="T77" fmla="*/ 6300 h 505"/>
                <a:gd name="T78" fmla="*/ 80806 w 486"/>
                <a:gd name="T79" fmla="*/ 4200 h 505"/>
                <a:gd name="T80" fmla="*/ 75158 w 486"/>
                <a:gd name="T81" fmla="*/ 1050 h 505"/>
                <a:gd name="T82" fmla="*/ 60387 w 486"/>
                <a:gd name="T83" fmla="*/ 525 h 505"/>
                <a:gd name="T84" fmla="*/ 30411 w 486"/>
                <a:gd name="T85" fmla="*/ 5775 h 505"/>
                <a:gd name="T86" fmla="*/ 18246 w 486"/>
                <a:gd name="T87" fmla="*/ 11025 h 505"/>
                <a:gd name="T88" fmla="*/ 10427 w 486"/>
                <a:gd name="T89" fmla="*/ 19424 h 505"/>
                <a:gd name="T90" fmla="*/ 8689 w 486"/>
                <a:gd name="T91" fmla="*/ 33598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7" name="Freeform 195">
              <a:extLst>
                <a:ext uri="{FF2B5EF4-FFF2-40B4-BE49-F238E27FC236}">
                  <a16:creationId xmlns:a16="http://schemas.microsoft.com/office/drawing/2014/main" id="{9089AAAA-1E86-4E98-8EC9-138A201766F9}"/>
                </a:ext>
              </a:extLst>
            </p:cNvPr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3883855" y="3713342"/>
              <a:ext cx="94703" cy="117536"/>
            </a:xfrm>
            <a:custGeom>
              <a:avLst/>
              <a:gdLst>
                <a:gd name="T0" fmla="*/ 3079 w 166"/>
                <a:gd name="T1" fmla="*/ 96371 h 208"/>
                <a:gd name="T2" fmla="*/ 34753 w 166"/>
                <a:gd name="T3" fmla="*/ 109537 h 208"/>
                <a:gd name="T4" fmla="*/ 37392 w 166"/>
                <a:gd name="T5" fmla="*/ 109010 h 208"/>
                <a:gd name="T6" fmla="*/ 39592 w 166"/>
                <a:gd name="T7" fmla="*/ 107431 h 208"/>
                <a:gd name="T8" fmla="*/ 42671 w 166"/>
                <a:gd name="T9" fmla="*/ 104271 h 208"/>
                <a:gd name="T10" fmla="*/ 45751 w 166"/>
                <a:gd name="T11" fmla="*/ 101111 h 208"/>
                <a:gd name="T12" fmla="*/ 51469 w 166"/>
                <a:gd name="T13" fmla="*/ 92685 h 208"/>
                <a:gd name="T14" fmla="*/ 57188 w 166"/>
                <a:gd name="T15" fmla="*/ 83206 h 208"/>
                <a:gd name="T16" fmla="*/ 67746 w 166"/>
                <a:gd name="T17" fmla="*/ 64248 h 208"/>
                <a:gd name="T18" fmla="*/ 73025 w 166"/>
                <a:gd name="T19" fmla="*/ 54242 h 208"/>
                <a:gd name="T20" fmla="*/ 63347 w 166"/>
                <a:gd name="T21" fmla="*/ 49502 h 208"/>
                <a:gd name="T22" fmla="*/ 55429 w 166"/>
                <a:gd name="T23" fmla="*/ 44236 h 208"/>
                <a:gd name="T24" fmla="*/ 47510 w 166"/>
                <a:gd name="T25" fmla="*/ 38970 h 208"/>
                <a:gd name="T26" fmla="*/ 40912 w 166"/>
                <a:gd name="T27" fmla="*/ 33704 h 208"/>
                <a:gd name="T28" fmla="*/ 37832 w 166"/>
                <a:gd name="T29" fmla="*/ 30544 h 208"/>
                <a:gd name="T30" fmla="*/ 35633 w 166"/>
                <a:gd name="T31" fmla="*/ 27911 h 208"/>
                <a:gd name="T32" fmla="*/ 32993 w 166"/>
                <a:gd name="T33" fmla="*/ 24751 h 208"/>
                <a:gd name="T34" fmla="*/ 31234 w 166"/>
                <a:gd name="T35" fmla="*/ 21065 h 208"/>
                <a:gd name="T36" fmla="*/ 29474 w 166"/>
                <a:gd name="T37" fmla="*/ 17378 h 208"/>
                <a:gd name="T38" fmla="*/ 28154 w 166"/>
                <a:gd name="T39" fmla="*/ 13692 h 208"/>
                <a:gd name="T40" fmla="*/ 27274 w 166"/>
                <a:gd name="T41" fmla="*/ 9479 h 208"/>
                <a:gd name="T42" fmla="*/ 26395 w 166"/>
                <a:gd name="T43" fmla="*/ 5793 h 208"/>
                <a:gd name="T44" fmla="*/ 21995 w 166"/>
                <a:gd name="T45" fmla="*/ 5266 h 208"/>
                <a:gd name="T46" fmla="*/ 18916 w 166"/>
                <a:gd name="T47" fmla="*/ 4213 h 208"/>
                <a:gd name="T48" fmla="*/ 17596 w 166"/>
                <a:gd name="T49" fmla="*/ 2633 h 208"/>
                <a:gd name="T50" fmla="*/ 17156 w 166"/>
                <a:gd name="T51" fmla="*/ 1580 h 208"/>
                <a:gd name="T52" fmla="*/ 16717 w 166"/>
                <a:gd name="T53" fmla="*/ 527 h 208"/>
                <a:gd name="T54" fmla="*/ 15837 w 166"/>
                <a:gd name="T55" fmla="*/ 0 h 208"/>
                <a:gd name="T56" fmla="*/ 14077 w 166"/>
                <a:gd name="T57" fmla="*/ 527 h 208"/>
                <a:gd name="T58" fmla="*/ 11878 w 166"/>
                <a:gd name="T59" fmla="*/ 2633 h 208"/>
                <a:gd name="T60" fmla="*/ 8798 w 166"/>
                <a:gd name="T61" fmla="*/ 5793 h 208"/>
                <a:gd name="T62" fmla="*/ 4839 w 166"/>
                <a:gd name="T63" fmla="*/ 11586 h 208"/>
                <a:gd name="T64" fmla="*/ 3079 w 166"/>
                <a:gd name="T65" fmla="*/ 15272 h 208"/>
                <a:gd name="T66" fmla="*/ 1760 w 166"/>
                <a:gd name="T67" fmla="*/ 19485 h 208"/>
                <a:gd name="T68" fmla="*/ 880 w 166"/>
                <a:gd name="T69" fmla="*/ 23698 h 208"/>
                <a:gd name="T70" fmla="*/ 0 w 166"/>
                <a:gd name="T71" fmla="*/ 28437 h 208"/>
                <a:gd name="T72" fmla="*/ 0 w 166"/>
                <a:gd name="T73" fmla="*/ 31597 h 208"/>
                <a:gd name="T74" fmla="*/ 880 w 166"/>
                <a:gd name="T75" fmla="*/ 34230 h 208"/>
                <a:gd name="T76" fmla="*/ 1320 w 166"/>
                <a:gd name="T77" fmla="*/ 36863 h 208"/>
                <a:gd name="T78" fmla="*/ 2200 w 166"/>
                <a:gd name="T79" fmla="*/ 40023 h 208"/>
                <a:gd name="T80" fmla="*/ 4399 w 166"/>
                <a:gd name="T81" fmla="*/ 45289 h 208"/>
                <a:gd name="T82" fmla="*/ 7478 w 166"/>
                <a:gd name="T83" fmla="*/ 51609 h 208"/>
                <a:gd name="T84" fmla="*/ 9678 w 166"/>
                <a:gd name="T85" fmla="*/ 57402 h 208"/>
                <a:gd name="T86" fmla="*/ 12317 w 166"/>
                <a:gd name="T87" fmla="*/ 63194 h 208"/>
                <a:gd name="T88" fmla="*/ 13197 w 166"/>
                <a:gd name="T89" fmla="*/ 66354 h 208"/>
                <a:gd name="T90" fmla="*/ 14077 w 166"/>
                <a:gd name="T91" fmla="*/ 70040 h 208"/>
                <a:gd name="T92" fmla="*/ 14517 w 166"/>
                <a:gd name="T93" fmla="*/ 73200 h 208"/>
                <a:gd name="T94" fmla="*/ 14517 w 166"/>
                <a:gd name="T95" fmla="*/ 77413 h 208"/>
                <a:gd name="T96" fmla="*/ 14077 w 166"/>
                <a:gd name="T97" fmla="*/ 80573 h 208"/>
                <a:gd name="T98" fmla="*/ 13637 w 166"/>
                <a:gd name="T99" fmla="*/ 83733 h 208"/>
                <a:gd name="T100" fmla="*/ 12317 w 166"/>
                <a:gd name="T101" fmla="*/ 86892 h 208"/>
                <a:gd name="T102" fmla="*/ 10998 w 166"/>
                <a:gd name="T103" fmla="*/ 88999 h 208"/>
                <a:gd name="T104" fmla="*/ 9238 w 166"/>
                <a:gd name="T105" fmla="*/ 91632 h 208"/>
                <a:gd name="T106" fmla="*/ 7478 w 166"/>
                <a:gd name="T107" fmla="*/ 93212 h 208"/>
                <a:gd name="T108" fmla="*/ 4839 w 166"/>
                <a:gd name="T109" fmla="*/ 94792 h 208"/>
                <a:gd name="T110" fmla="*/ 3079 w 166"/>
                <a:gd name="T111" fmla="*/ 96371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8" name="Freeform 196">
              <a:extLst>
                <a:ext uri="{FF2B5EF4-FFF2-40B4-BE49-F238E27FC236}">
                  <a16:creationId xmlns:a16="http://schemas.microsoft.com/office/drawing/2014/main" id="{2D0865DF-AA53-47B0-AEA2-1BDBA4615BAF}"/>
                </a:ext>
              </a:extLst>
            </p:cNvPr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253874" y="3239789"/>
              <a:ext cx="90586" cy="63027"/>
            </a:xfrm>
            <a:custGeom>
              <a:avLst/>
              <a:gdLst>
                <a:gd name="T0" fmla="*/ 65165 w 164"/>
                <a:gd name="T1" fmla="*/ 58737 h 104"/>
                <a:gd name="T2" fmla="*/ 57073 w 164"/>
                <a:gd name="T3" fmla="*/ 57607 h 104"/>
                <a:gd name="T4" fmla="*/ 46851 w 164"/>
                <a:gd name="T5" fmla="*/ 54784 h 104"/>
                <a:gd name="T6" fmla="*/ 40888 w 164"/>
                <a:gd name="T7" fmla="*/ 53089 h 104"/>
                <a:gd name="T8" fmla="*/ 34073 w 164"/>
                <a:gd name="T9" fmla="*/ 52524 h 104"/>
                <a:gd name="T10" fmla="*/ 31092 w 164"/>
                <a:gd name="T11" fmla="*/ 52524 h 104"/>
                <a:gd name="T12" fmla="*/ 27259 w 164"/>
                <a:gd name="T13" fmla="*/ 53089 h 104"/>
                <a:gd name="T14" fmla="*/ 23425 w 164"/>
                <a:gd name="T15" fmla="*/ 54219 h 104"/>
                <a:gd name="T16" fmla="*/ 20018 w 164"/>
                <a:gd name="T17" fmla="*/ 55348 h 104"/>
                <a:gd name="T18" fmla="*/ 17463 w 164"/>
                <a:gd name="T19" fmla="*/ 56478 h 104"/>
                <a:gd name="T20" fmla="*/ 14481 w 164"/>
                <a:gd name="T21" fmla="*/ 56478 h 104"/>
                <a:gd name="T22" fmla="*/ 11500 w 164"/>
                <a:gd name="T23" fmla="*/ 55913 h 104"/>
                <a:gd name="T24" fmla="*/ 8092 w 164"/>
                <a:gd name="T25" fmla="*/ 54219 h 104"/>
                <a:gd name="T26" fmla="*/ 4685 w 164"/>
                <a:gd name="T27" fmla="*/ 51960 h 104"/>
                <a:gd name="T28" fmla="*/ 2555 w 164"/>
                <a:gd name="T29" fmla="*/ 49701 h 104"/>
                <a:gd name="T30" fmla="*/ 1278 w 164"/>
                <a:gd name="T31" fmla="*/ 48571 h 104"/>
                <a:gd name="T32" fmla="*/ 426 w 164"/>
                <a:gd name="T33" fmla="*/ 47441 h 104"/>
                <a:gd name="T34" fmla="*/ 0 w 164"/>
                <a:gd name="T35" fmla="*/ 45747 h 104"/>
                <a:gd name="T36" fmla="*/ 0 w 164"/>
                <a:gd name="T37" fmla="*/ 44618 h 104"/>
                <a:gd name="T38" fmla="*/ 0 w 164"/>
                <a:gd name="T39" fmla="*/ 42923 h 104"/>
                <a:gd name="T40" fmla="*/ 426 w 164"/>
                <a:gd name="T41" fmla="*/ 41794 h 104"/>
                <a:gd name="T42" fmla="*/ 1278 w 164"/>
                <a:gd name="T43" fmla="*/ 40099 h 104"/>
                <a:gd name="T44" fmla="*/ 2555 w 164"/>
                <a:gd name="T45" fmla="*/ 39535 h 104"/>
                <a:gd name="T46" fmla="*/ 5111 w 164"/>
                <a:gd name="T47" fmla="*/ 37840 h 104"/>
                <a:gd name="T48" fmla="*/ 8518 w 164"/>
                <a:gd name="T49" fmla="*/ 37275 h 104"/>
                <a:gd name="T50" fmla="*/ 17037 w 164"/>
                <a:gd name="T51" fmla="*/ 37275 h 104"/>
                <a:gd name="T52" fmla="*/ 25981 w 164"/>
                <a:gd name="T53" fmla="*/ 37840 h 104"/>
                <a:gd name="T54" fmla="*/ 29814 w 164"/>
                <a:gd name="T55" fmla="*/ 37840 h 104"/>
                <a:gd name="T56" fmla="*/ 33647 w 164"/>
                <a:gd name="T57" fmla="*/ 37840 h 104"/>
                <a:gd name="T58" fmla="*/ 37055 w 164"/>
                <a:gd name="T59" fmla="*/ 37840 h 104"/>
                <a:gd name="T60" fmla="*/ 40036 w 164"/>
                <a:gd name="T61" fmla="*/ 37840 h 104"/>
                <a:gd name="T62" fmla="*/ 40036 w 164"/>
                <a:gd name="T63" fmla="*/ 31628 h 104"/>
                <a:gd name="T64" fmla="*/ 40036 w 164"/>
                <a:gd name="T65" fmla="*/ 24285 h 104"/>
                <a:gd name="T66" fmla="*/ 40036 w 164"/>
                <a:gd name="T67" fmla="*/ 16379 h 104"/>
                <a:gd name="T68" fmla="*/ 40036 w 164"/>
                <a:gd name="T69" fmla="*/ 10166 h 104"/>
                <a:gd name="T70" fmla="*/ 33647 w 164"/>
                <a:gd name="T71" fmla="*/ 9601 h 104"/>
                <a:gd name="T72" fmla="*/ 28536 w 164"/>
                <a:gd name="T73" fmla="*/ 8472 h 104"/>
                <a:gd name="T74" fmla="*/ 26407 w 164"/>
                <a:gd name="T75" fmla="*/ 7342 h 104"/>
                <a:gd name="T76" fmla="*/ 24277 w 164"/>
                <a:gd name="T77" fmla="*/ 5648 h 104"/>
                <a:gd name="T78" fmla="*/ 22148 w 164"/>
                <a:gd name="T79" fmla="*/ 3389 h 104"/>
                <a:gd name="T80" fmla="*/ 20018 w 164"/>
                <a:gd name="T81" fmla="*/ 0 h 104"/>
                <a:gd name="T82" fmla="*/ 62184 w 164"/>
                <a:gd name="T83" fmla="*/ 0 h 104"/>
                <a:gd name="T84" fmla="*/ 62609 w 164"/>
                <a:gd name="T85" fmla="*/ 3389 h 104"/>
                <a:gd name="T86" fmla="*/ 63035 w 164"/>
                <a:gd name="T87" fmla="*/ 7342 h 104"/>
                <a:gd name="T88" fmla="*/ 63887 w 164"/>
                <a:gd name="T89" fmla="*/ 10731 h 104"/>
                <a:gd name="T90" fmla="*/ 64739 w 164"/>
                <a:gd name="T91" fmla="*/ 14119 h 104"/>
                <a:gd name="T92" fmla="*/ 66443 w 164"/>
                <a:gd name="T93" fmla="*/ 19767 h 104"/>
                <a:gd name="T94" fmla="*/ 67720 w 164"/>
                <a:gd name="T95" fmla="*/ 25980 h 104"/>
                <a:gd name="T96" fmla="*/ 69424 w 164"/>
                <a:gd name="T97" fmla="*/ 30498 h 104"/>
                <a:gd name="T98" fmla="*/ 69850 w 164"/>
                <a:gd name="T99" fmla="*/ 35016 h 104"/>
                <a:gd name="T100" fmla="*/ 69424 w 164"/>
                <a:gd name="T101" fmla="*/ 36711 h 104"/>
                <a:gd name="T102" fmla="*/ 68146 w 164"/>
                <a:gd name="T103" fmla="*/ 38405 h 104"/>
                <a:gd name="T104" fmla="*/ 66869 w 164"/>
                <a:gd name="T105" fmla="*/ 40099 h 104"/>
                <a:gd name="T106" fmla="*/ 65165 w 164"/>
                <a:gd name="T107" fmla="*/ 41229 h 104"/>
                <a:gd name="T108" fmla="*/ 65165 w 164"/>
                <a:gd name="T109" fmla="*/ 5873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9" name="Freeform 197">
              <a:extLst>
                <a:ext uri="{FF2B5EF4-FFF2-40B4-BE49-F238E27FC236}">
                  <a16:creationId xmlns:a16="http://schemas.microsoft.com/office/drawing/2014/main" id="{A94C4815-2C33-4785-AE20-AC3963C2881C}"/>
                </a:ext>
              </a:extLst>
            </p:cNvPr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3729447" y="5765971"/>
              <a:ext cx="30882" cy="61324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0" name="Freeform 198">
              <a:extLst>
                <a:ext uri="{FF2B5EF4-FFF2-40B4-BE49-F238E27FC236}">
                  <a16:creationId xmlns:a16="http://schemas.microsoft.com/office/drawing/2014/main" id="{3A0497D9-5033-46FB-AEFD-6D97327624D6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3684154" y="5743828"/>
              <a:ext cx="45293" cy="63027"/>
            </a:xfrm>
            <a:custGeom>
              <a:avLst/>
              <a:gdLst>
                <a:gd name="T0" fmla="*/ 0 w 80"/>
                <a:gd name="T1" fmla="*/ 0 h 18"/>
                <a:gd name="T2" fmla="*/ 437 w 80"/>
                <a:gd name="T3" fmla="*/ 19579 h 18"/>
                <a:gd name="T4" fmla="*/ 2183 w 80"/>
                <a:gd name="T5" fmla="*/ 39158 h 18"/>
                <a:gd name="T6" fmla="*/ 3493 w 80"/>
                <a:gd name="T7" fmla="*/ 45684 h 18"/>
                <a:gd name="T8" fmla="*/ 4802 w 80"/>
                <a:gd name="T9" fmla="*/ 52211 h 18"/>
                <a:gd name="T10" fmla="*/ 6548 w 80"/>
                <a:gd name="T11" fmla="*/ 58737 h 18"/>
                <a:gd name="T12" fmla="*/ 8731 w 80"/>
                <a:gd name="T13" fmla="*/ 58737 h 18"/>
                <a:gd name="T14" fmla="*/ 9604 w 80"/>
                <a:gd name="T15" fmla="*/ 48948 h 18"/>
                <a:gd name="T16" fmla="*/ 10478 w 80"/>
                <a:gd name="T17" fmla="*/ 42421 h 18"/>
                <a:gd name="T18" fmla="*/ 11351 w 80"/>
                <a:gd name="T19" fmla="*/ 35895 h 18"/>
                <a:gd name="T20" fmla="*/ 13533 w 80"/>
                <a:gd name="T21" fmla="*/ 32632 h 18"/>
                <a:gd name="T22" fmla="*/ 16589 w 80"/>
                <a:gd name="T23" fmla="*/ 26105 h 18"/>
                <a:gd name="T24" fmla="*/ 20518 w 80"/>
                <a:gd name="T25" fmla="*/ 22842 h 18"/>
                <a:gd name="T26" fmla="*/ 24884 w 80"/>
                <a:gd name="T27" fmla="*/ 22842 h 18"/>
                <a:gd name="T28" fmla="*/ 28813 w 80"/>
                <a:gd name="T29" fmla="*/ 19579 h 18"/>
                <a:gd name="T30" fmla="*/ 30559 w 80"/>
                <a:gd name="T31" fmla="*/ 16316 h 18"/>
                <a:gd name="T32" fmla="*/ 32306 w 80"/>
                <a:gd name="T33" fmla="*/ 13053 h 18"/>
                <a:gd name="T34" fmla="*/ 33615 w 80"/>
                <a:gd name="T35" fmla="*/ 6526 h 18"/>
                <a:gd name="T36" fmla="*/ 34925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1" name="Freeform 199">
              <a:extLst>
                <a:ext uri="{FF2B5EF4-FFF2-40B4-BE49-F238E27FC236}">
                  <a16:creationId xmlns:a16="http://schemas.microsoft.com/office/drawing/2014/main" id="{08BB1F88-1ABB-4436-9AA4-1F94230BE600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3684154" y="5721683"/>
              <a:ext cx="28823" cy="64731"/>
            </a:xfrm>
            <a:custGeom>
              <a:avLst/>
              <a:gdLst>
                <a:gd name="T0" fmla="*/ 9663 w 46"/>
                <a:gd name="T1" fmla="*/ 0 h 27"/>
                <a:gd name="T2" fmla="*/ 0 w 46"/>
                <a:gd name="T3" fmla="*/ 40217 h 27"/>
                <a:gd name="T4" fmla="*/ 4348 w 46"/>
                <a:gd name="T5" fmla="*/ 49154 h 27"/>
                <a:gd name="T6" fmla="*/ 7730 w 46"/>
                <a:gd name="T7" fmla="*/ 55856 h 27"/>
                <a:gd name="T8" fmla="*/ 11113 w 46"/>
                <a:gd name="T9" fmla="*/ 60325 h 27"/>
                <a:gd name="T10" fmla="*/ 14011 w 46"/>
                <a:gd name="T11" fmla="*/ 60325 h 27"/>
                <a:gd name="T12" fmla="*/ 15944 w 46"/>
                <a:gd name="T13" fmla="*/ 60325 h 27"/>
                <a:gd name="T14" fmla="*/ 17877 w 46"/>
                <a:gd name="T15" fmla="*/ 55856 h 27"/>
                <a:gd name="T16" fmla="*/ 20292 w 46"/>
                <a:gd name="T17" fmla="*/ 49154 h 27"/>
                <a:gd name="T18" fmla="*/ 22225 w 46"/>
                <a:gd name="T19" fmla="*/ 40217 h 27"/>
                <a:gd name="T20" fmla="*/ 19809 w 46"/>
                <a:gd name="T21" fmla="*/ 35748 h 27"/>
                <a:gd name="T22" fmla="*/ 15944 w 46"/>
                <a:gd name="T23" fmla="*/ 24577 h 27"/>
                <a:gd name="T24" fmla="*/ 12562 w 46"/>
                <a:gd name="T25" fmla="*/ 11171 h 27"/>
                <a:gd name="T26" fmla="*/ 9663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2" name="Freeform 200">
              <a:extLst>
                <a:ext uri="{FF2B5EF4-FFF2-40B4-BE49-F238E27FC236}">
                  <a16:creationId xmlns:a16="http://schemas.microsoft.com/office/drawing/2014/main" id="{2D90008A-1130-4DE9-BD2D-D4FA727354C2}"/>
                </a:ext>
              </a:extLst>
            </p:cNvPr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645038" y="5714868"/>
              <a:ext cx="32940" cy="64731"/>
            </a:xfrm>
            <a:custGeom>
              <a:avLst/>
              <a:gdLst>
                <a:gd name="T0" fmla="*/ 15993 w 54"/>
                <a:gd name="T1" fmla="*/ 0 h 39"/>
                <a:gd name="T2" fmla="*/ 9407 w 54"/>
                <a:gd name="T3" fmla="*/ 6187 h 39"/>
                <a:gd name="T4" fmla="*/ 4704 w 54"/>
                <a:gd name="T5" fmla="*/ 15468 h 39"/>
                <a:gd name="T6" fmla="*/ 2822 w 54"/>
                <a:gd name="T7" fmla="*/ 20108 h 39"/>
                <a:gd name="T8" fmla="*/ 1881 w 54"/>
                <a:gd name="T9" fmla="*/ 24749 h 39"/>
                <a:gd name="T10" fmla="*/ 941 w 54"/>
                <a:gd name="T11" fmla="*/ 30936 h 39"/>
                <a:gd name="T12" fmla="*/ 0 w 54"/>
                <a:gd name="T13" fmla="*/ 37123 h 39"/>
                <a:gd name="T14" fmla="*/ 941 w 54"/>
                <a:gd name="T15" fmla="*/ 43310 h 39"/>
                <a:gd name="T16" fmla="*/ 1411 w 54"/>
                <a:gd name="T17" fmla="*/ 49497 h 39"/>
                <a:gd name="T18" fmla="*/ 2352 w 54"/>
                <a:gd name="T19" fmla="*/ 54138 h 39"/>
                <a:gd name="T20" fmla="*/ 3763 w 54"/>
                <a:gd name="T21" fmla="*/ 57231 h 39"/>
                <a:gd name="T22" fmla="*/ 5174 w 54"/>
                <a:gd name="T23" fmla="*/ 58778 h 39"/>
                <a:gd name="T24" fmla="*/ 7526 w 54"/>
                <a:gd name="T25" fmla="*/ 60325 h 39"/>
                <a:gd name="T26" fmla="*/ 9407 w 54"/>
                <a:gd name="T27" fmla="*/ 60325 h 39"/>
                <a:gd name="T28" fmla="*/ 11759 w 54"/>
                <a:gd name="T29" fmla="*/ 60325 h 39"/>
                <a:gd name="T30" fmla="*/ 14111 w 54"/>
                <a:gd name="T31" fmla="*/ 58778 h 39"/>
                <a:gd name="T32" fmla="*/ 15993 w 54"/>
                <a:gd name="T33" fmla="*/ 57231 h 39"/>
                <a:gd name="T34" fmla="*/ 18344 w 54"/>
                <a:gd name="T35" fmla="*/ 54138 h 39"/>
                <a:gd name="T36" fmla="*/ 20226 w 54"/>
                <a:gd name="T37" fmla="*/ 51044 h 39"/>
                <a:gd name="T38" fmla="*/ 22107 w 54"/>
                <a:gd name="T39" fmla="*/ 46404 h 39"/>
                <a:gd name="T40" fmla="*/ 23519 w 54"/>
                <a:gd name="T41" fmla="*/ 40217 h 39"/>
                <a:gd name="T42" fmla="*/ 24459 w 54"/>
                <a:gd name="T43" fmla="*/ 34029 h 39"/>
                <a:gd name="T44" fmla="*/ 25400 w 54"/>
                <a:gd name="T45" fmla="*/ 27842 h 39"/>
                <a:gd name="T46" fmla="*/ 23989 w 54"/>
                <a:gd name="T47" fmla="*/ 26296 h 39"/>
                <a:gd name="T48" fmla="*/ 22578 w 54"/>
                <a:gd name="T49" fmla="*/ 24749 h 39"/>
                <a:gd name="T50" fmla="*/ 20696 w 54"/>
                <a:gd name="T51" fmla="*/ 21655 h 39"/>
                <a:gd name="T52" fmla="*/ 19756 w 54"/>
                <a:gd name="T53" fmla="*/ 17015 h 39"/>
                <a:gd name="T54" fmla="*/ 18344 w 54"/>
                <a:gd name="T55" fmla="*/ 12374 h 39"/>
                <a:gd name="T56" fmla="*/ 17404 w 54"/>
                <a:gd name="T57" fmla="*/ 7734 h 39"/>
                <a:gd name="T58" fmla="*/ 15993 w 54"/>
                <a:gd name="T59" fmla="*/ 3094 h 39"/>
                <a:gd name="T60" fmla="*/ 15993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3" name="Freeform 201">
              <a:extLst>
                <a:ext uri="{FF2B5EF4-FFF2-40B4-BE49-F238E27FC236}">
                  <a16:creationId xmlns:a16="http://schemas.microsoft.com/office/drawing/2014/main" id="{0731D045-5AA0-43D6-A4E3-EAB72937092D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3612098" y="5704648"/>
              <a:ext cx="37058" cy="63028"/>
            </a:xfrm>
            <a:custGeom>
              <a:avLst/>
              <a:gdLst>
                <a:gd name="T0" fmla="*/ 0 w 60"/>
                <a:gd name="T1" fmla="*/ 43075 h 15"/>
                <a:gd name="T2" fmla="*/ 4763 w 60"/>
                <a:gd name="T3" fmla="*/ 50906 h 15"/>
                <a:gd name="T4" fmla="*/ 8573 w 60"/>
                <a:gd name="T5" fmla="*/ 54822 h 15"/>
                <a:gd name="T6" fmla="*/ 12859 w 60"/>
                <a:gd name="T7" fmla="*/ 58738 h 15"/>
                <a:gd name="T8" fmla="*/ 16669 w 60"/>
                <a:gd name="T9" fmla="*/ 58738 h 15"/>
                <a:gd name="T10" fmla="*/ 19526 w 60"/>
                <a:gd name="T11" fmla="*/ 54822 h 15"/>
                <a:gd name="T12" fmla="*/ 22860 w 60"/>
                <a:gd name="T13" fmla="*/ 46990 h 15"/>
                <a:gd name="T14" fmla="*/ 26194 w 60"/>
                <a:gd name="T15" fmla="*/ 35243 h 15"/>
                <a:gd name="T16" fmla="*/ 28575 w 60"/>
                <a:gd name="T17" fmla="*/ 19579 h 15"/>
                <a:gd name="T18" fmla="*/ 27146 w 60"/>
                <a:gd name="T19" fmla="*/ 11748 h 15"/>
                <a:gd name="T20" fmla="*/ 25718 w 60"/>
                <a:gd name="T21" fmla="*/ 0 h 15"/>
                <a:gd name="T22" fmla="*/ 24289 w 60"/>
                <a:gd name="T23" fmla="*/ 0 h 15"/>
                <a:gd name="T24" fmla="*/ 22384 w 60"/>
                <a:gd name="T25" fmla="*/ 0 h 15"/>
                <a:gd name="T26" fmla="*/ 19050 w 60"/>
                <a:gd name="T27" fmla="*/ 0 h 15"/>
                <a:gd name="T28" fmla="*/ 15716 w 60"/>
                <a:gd name="T29" fmla="*/ 11748 h 15"/>
                <a:gd name="T30" fmla="*/ 11430 w 60"/>
                <a:gd name="T31" fmla="*/ 23495 h 15"/>
                <a:gd name="T32" fmla="*/ 7620 w 60"/>
                <a:gd name="T33" fmla="*/ 31327 h 15"/>
                <a:gd name="T34" fmla="*/ 3334 w 60"/>
                <a:gd name="T35" fmla="*/ 39159 h 15"/>
                <a:gd name="T36" fmla="*/ 0 w 60"/>
                <a:gd name="T37" fmla="*/ 43075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4" name="Freeform 202">
              <a:extLst>
                <a:ext uri="{FF2B5EF4-FFF2-40B4-BE49-F238E27FC236}">
                  <a16:creationId xmlns:a16="http://schemas.microsoft.com/office/drawing/2014/main" id="{9A4B08EA-A95F-46FC-8903-46116C74ABCB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3581216" y="5691021"/>
              <a:ext cx="43235" cy="61324"/>
            </a:xfrm>
            <a:custGeom>
              <a:avLst/>
              <a:gdLst>
                <a:gd name="T0" fmla="*/ 16880 w 79"/>
                <a:gd name="T1" fmla="*/ 0 h 32"/>
                <a:gd name="T2" fmla="*/ 14348 w 79"/>
                <a:gd name="T3" fmla="*/ 1786 h 32"/>
                <a:gd name="T4" fmla="*/ 12660 w 79"/>
                <a:gd name="T5" fmla="*/ 3572 h 32"/>
                <a:gd name="T6" fmla="*/ 10550 w 79"/>
                <a:gd name="T7" fmla="*/ 7144 h 32"/>
                <a:gd name="T8" fmla="*/ 8440 w 79"/>
                <a:gd name="T9" fmla="*/ 10716 h 32"/>
                <a:gd name="T10" fmla="*/ 6330 w 79"/>
                <a:gd name="T11" fmla="*/ 16073 h 32"/>
                <a:gd name="T12" fmla="*/ 4220 w 79"/>
                <a:gd name="T13" fmla="*/ 19645 h 32"/>
                <a:gd name="T14" fmla="*/ 2110 w 79"/>
                <a:gd name="T15" fmla="*/ 21431 h 32"/>
                <a:gd name="T16" fmla="*/ 0 w 79"/>
                <a:gd name="T17" fmla="*/ 23217 h 32"/>
                <a:gd name="T18" fmla="*/ 2110 w 79"/>
                <a:gd name="T19" fmla="*/ 37505 h 32"/>
                <a:gd name="T20" fmla="*/ 4220 w 79"/>
                <a:gd name="T21" fmla="*/ 46434 h 32"/>
                <a:gd name="T22" fmla="*/ 5064 w 79"/>
                <a:gd name="T23" fmla="*/ 51792 h 32"/>
                <a:gd name="T24" fmla="*/ 6330 w 79"/>
                <a:gd name="T25" fmla="*/ 55364 h 32"/>
                <a:gd name="T26" fmla="*/ 7596 w 79"/>
                <a:gd name="T27" fmla="*/ 55364 h 32"/>
                <a:gd name="T28" fmla="*/ 8440 w 79"/>
                <a:gd name="T29" fmla="*/ 57150 h 32"/>
                <a:gd name="T30" fmla="*/ 11394 w 79"/>
                <a:gd name="T31" fmla="*/ 55364 h 32"/>
                <a:gd name="T32" fmla="*/ 14348 w 79"/>
                <a:gd name="T33" fmla="*/ 53578 h 32"/>
                <a:gd name="T34" fmla="*/ 17302 w 79"/>
                <a:gd name="T35" fmla="*/ 48220 h 32"/>
                <a:gd name="T36" fmla="*/ 20256 w 79"/>
                <a:gd name="T37" fmla="*/ 42863 h 32"/>
                <a:gd name="T38" fmla="*/ 26164 w 79"/>
                <a:gd name="T39" fmla="*/ 32147 h 32"/>
                <a:gd name="T40" fmla="*/ 33338 w 79"/>
                <a:gd name="T41" fmla="*/ 23217 h 32"/>
                <a:gd name="T42" fmla="*/ 28274 w 79"/>
                <a:gd name="T43" fmla="*/ 10716 h 32"/>
                <a:gd name="T44" fmla="*/ 24476 w 79"/>
                <a:gd name="T45" fmla="*/ 3572 h 32"/>
                <a:gd name="T46" fmla="*/ 20678 w 79"/>
                <a:gd name="T47" fmla="*/ 1786 h 32"/>
                <a:gd name="T48" fmla="*/ 1688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5" name="Freeform 203">
              <a:extLst>
                <a:ext uri="{FF2B5EF4-FFF2-40B4-BE49-F238E27FC236}">
                  <a16:creationId xmlns:a16="http://schemas.microsoft.com/office/drawing/2014/main" id="{ECE7048B-5208-403E-B813-002476FE6480}"/>
                </a:ext>
              </a:extLst>
            </p:cNvPr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3572981" y="5670579"/>
              <a:ext cx="39117" cy="61324"/>
            </a:xfrm>
            <a:custGeom>
              <a:avLst/>
              <a:gdLst>
                <a:gd name="T0" fmla="*/ 15082 w 66"/>
                <a:gd name="T1" fmla="*/ 0 h 19"/>
                <a:gd name="T2" fmla="*/ 11425 w 66"/>
                <a:gd name="T3" fmla="*/ 3008 h 19"/>
                <a:gd name="T4" fmla="*/ 8683 w 66"/>
                <a:gd name="T5" fmla="*/ 6016 h 19"/>
                <a:gd name="T6" fmla="*/ 5941 w 66"/>
                <a:gd name="T7" fmla="*/ 12032 h 19"/>
                <a:gd name="T8" fmla="*/ 4113 w 66"/>
                <a:gd name="T9" fmla="*/ 21055 h 19"/>
                <a:gd name="T10" fmla="*/ 2285 w 66"/>
                <a:gd name="T11" fmla="*/ 33087 h 19"/>
                <a:gd name="T12" fmla="*/ 914 w 66"/>
                <a:gd name="T13" fmla="*/ 42111 h 19"/>
                <a:gd name="T14" fmla="*/ 0 w 66"/>
                <a:gd name="T15" fmla="*/ 51134 h 19"/>
                <a:gd name="T16" fmla="*/ 0 w 66"/>
                <a:gd name="T17" fmla="*/ 57150 h 19"/>
                <a:gd name="T18" fmla="*/ 8683 w 66"/>
                <a:gd name="T19" fmla="*/ 57150 h 19"/>
                <a:gd name="T20" fmla="*/ 17367 w 66"/>
                <a:gd name="T21" fmla="*/ 57150 h 19"/>
                <a:gd name="T22" fmla="*/ 21023 w 66"/>
                <a:gd name="T23" fmla="*/ 54142 h 19"/>
                <a:gd name="T24" fmla="*/ 24679 w 66"/>
                <a:gd name="T25" fmla="*/ 51134 h 19"/>
                <a:gd name="T26" fmla="*/ 27878 w 66"/>
                <a:gd name="T27" fmla="*/ 45118 h 19"/>
                <a:gd name="T28" fmla="*/ 30163 w 66"/>
                <a:gd name="T29" fmla="*/ 39103 h 19"/>
                <a:gd name="T30" fmla="*/ 26050 w 66"/>
                <a:gd name="T31" fmla="*/ 24063 h 19"/>
                <a:gd name="T32" fmla="*/ 22851 w 66"/>
                <a:gd name="T33" fmla="*/ 12032 h 19"/>
                <a:gd name="T34" fmla="*/ 19195 w 66"/>
                <a:gd name="T35" fmla="*/ 3008 h 19"/>
                <a:gd name="T36" fmla="*/ 15082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6" name="Freeform 204">
              <a:extLst>
                <a:ext uri="{FF2B5EF4-FFF2-40B4-BE49-F238E27FC236}">
                  <a16:creationId xmlns:a16="http://schemas.microsoft.com/office/drawing/2014/main" id="{FF373B2C-F50D-4C8C-92F2-0AD86A807437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3443279" y="5338412"/>
              <a:ext cx="32940" cy="64731"/>
            </a:xfrm>
            <a:custGeom>
              <a:avLst/>
              <a:gdLst>
                <a:gd name="T0" fmla="*/ 6230 w 53"/>
                <a:gd name="T1" fmla="*/ 0 h 80"/>
                <a:gd name="T2" fmla="*/ 3834 w 53"/>
                <a:gd name="T3" fmla="*/ 3770 h 80"/>
                <a:gd name="T4" fmla="*/ 1917 w 53"/>
                <a:gd name="T5" fmla="*/ 7541 h 80"/>
                <a:gd name="T6" fmla="*/ 958 w 53"/>
                <a:gd name="T7" fmla="*/ 9803 h 80"/>
                <a:gd name="T8" fmla="*/ 479 w 53"/>
                <a:gd name="T9" fmla="*/ 12065 h 80"/>
                <a:gd name="T10" fmla="*/ 0 w 53"/>
                <a:gd name="T11" fmla="*/ 15081 h 80"/>
                <a:gd name="T12" fmla="*/ 0 w 53"/>
                <a:gd name="T13" fmla="*/ 18852 h 80"/>
                <a:gd name="T14" fmla="*/ 0 w 53"/>
                <a:gd name="T15" fmla="*/ 22622 h 80"/>
                <a:gd name="T16" fmla="*/ 958 w 53"/>
                <a:gd name="T17" fmla="*/ 29408 h 80"/>
                <a:gd name="T18" fmla="*/ 2875 w 53"/>
                <a:gd name="T19" fmla="*/ 36195 h 80"/>
                <a:gd name="T20" fmla="*/ 4313 w 53"/>
                <a:gd name="T21" fmla="*/ 42982 h 80"/>
                <a:gd name="T22" fmla="*/ 6230 w 53"/>
                <a:gd name="T23" fmla="*/ 49768 h 80"/>
                <a:gd name="T24" fmla="*/ 9585 w 53"/>
                <a:gd name="T25" fmla="*/ 55047 h 80"/>
                <a:gd name="T26" fmla="*/ 10543 w 53"/>
                <a:gd name="T27" fmla="*/ 57309 h 80"/>
                <a:gd name="T28" fmla="*/ 12460 w 53"/>
                <a:gd name="T29" fmla="*/ 58817 h 80"/>
                <a:gd name="T30" fmla="*/ 14377 w 53"/>
                <a:gd name="T31" fmla="*/ 60325 h 80"/>
                <a:gd name="T32" fmla="*/ 15815 w 53"/>
                <a:gd name="T33" fmla="*/ 60325 h 80"/>
                <a:gd name="T34" fmla="*/ 17253 w 53"/>
                <a:gd name="T35" fmla="*/ 59571 h 80"/>
                <a:gd name="T36" fmla="*/ 18211 w 53"/>
                <a:gd name="T37" fmla="*/ 58817 h 80"/>
                <a:gd name="T38" fmla="*/ 20128 w 53"/>
                <a:gd name="T39" fmla="*/ 57309 h 80"/>
                <a:gd name="T40" fmla="*/ 21566 w 53"/>
                <a:gd name="T41" fmla="*/ 55047 h 80"/>
                <a:gd name="T42" fmla="*/ 23004 w 53"/>
                <a:gd name="T43" fmla="*/ 52784 h 80"/>
                <a:gd name="T44" fmla="*/ 24442 w 53"/>
                <a:gd name="T45" fmla="*/ 50522 h 80"/>
                <a:gd name="T46" fmla="*/ 25400 w 53"/>
                <a:gd name="T47" fmla="*/ 48260 h 80"/>
                <a:gd name="T48" fmla="*/ 25400 w 53"/>
                <a:gd name="T49" fmla="*/ 46752 h 80"/>
                <a:gd name="T50" fmla="*/ 24921 w 53"/>
                <a:gd name="T51" fmla="*/ 40719 h 80"/>
                <a:gd name="T52" fmla="*/ 23483 w 53"/>
                <a:gd name="T53" fmla="*/ 35441 h 80"/>
                <a:gd name="T54" fmla="*/ 22045 w 53"/>
                <a:gd name="T55" fmla="*/ 31671 h 80"/>
                <a:gd name="T56" fmla="*/ 20608 w 53"/>
                <a:gd name="T57" fmla="*/ 27900 h 80"/>
                <a:gd name="T58" fmla="*/ 19170 w 53"/>
                <a:gd name="T59" fmla="*/ 24130 h 80"/>
                <a:gd name="T60" fmla="*/ 17253 w 53"/>
                <a:gd name="T61" fmla="*/ 20360 h 80"/>
                <a:gd name="T62" fmla="*/ 16294 w 53"/>
                <a:gd name="T63" fmla="*/ 15081 h 80"/>
                <a:gd name="T64" fmla="*/ 15815 w 53"/>
                <a:gd name="T65" fmla="*/ 9049 h 80"/>
                <a:gd name="T66" fmla="*/ 15815 w 53"/>
                <a:gd name="T67" fmla="*/ 7541 h 80"/>
                <a:gd name="T68" fmla="*/ 14857 w 53"/>
                <a:gd name="T69" fmla="*/ 6033 h 80"/>
                <a:gd name="T70" fmla="*/ 13898 w 53"/>
                <a:gd name="T71" fmla="*/ 4524 h 80"/>
                <a:gd name="T72" fmla="*/ 11981 w 53"/>
                <a:gd name="T73" fmla="*/ 3016 h 80"/>
                <a:gd name="T74" fmla="*/ 9106 w 53"/>
                <a:gd name="T75" fmla="*/ 754 h 80"/>
                <a:gd name="T76" fmla="*/ 6230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7" name="Freeform 205">
              <a:extLst>
                <a:ext uri="{FF2B5EF4-FFF2-40B4-BE49-F238E27FC236}">
                  <a16:creationId xmlns:a16="http://schemas.microsoft.com/office/drawing/2014/main" id="{64F4BFF8-041C-4DD1-9734-854A635907BD}"/>
                </a:ext>
              </a:extLst>
            </p:cNvPr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3482397" y="5440618"/>
              <a:ext cx="22647" cy="57916"/>
            </a:xfrm>
            <a:custGeom>
              <a:avLst/>
              <a:gdLst>
                <a:gd name="T0" fmla="*/ 0 w 41"/>
                <a:gd name="T1" fmla="*/ 53975 h 43"/>
                <a:gd name="T2" fmla="*/ 11500 w 41"/>
                <a:gd name="T3" fmla="*/ 53975 h 43"/>
                <a:gd name="T4" fmla="*/ 17463 w 41"/>
                <a:gd name="T5" fmla="*/ 30126 h 43"/>
                <a:gd name="T6" fmla="*/ 16185 w 41"/>
                <a:gd name="T7" fmla="*/ 15063 h 43"/>
                <a:gd name="T8" fmla="*/ 14482 w 41"/>
                <a:gd name="T9" fmla="*/ 0 h 43"/>
                <a:gd name="T10" fmla="*/ 11500 w 41"/>
                <a:gd name="T11" fmla="*/ 5021 h 43"/>
                <a:gd name="T12" fmla="*/ 8519 w 41"/>
                <a:gd name="T13" fmla="*/ 11297 h 43"/>
                <a:gd name="T14" fmla="*/ 6389 w 41"/>
                <a:gd name="T15" fmla="*/ 17573 h 43"/>
                <a:gd name="T16" fmla="*/ 4259 w 41"/>
                <a:gd name="T17" fmla="*/ 23849 h 43"/>
                <a:gd name="T18" fmla="*/ 2556 w 41"/>
                <a:gd name="T19" fmla="*/ 30126 h 43"/>
                <a:gd name="T20" fmla="*/ 1278 w 41"/>
                <a:gd name="T21" fmla="*/ 37657 h 43"/>
                <a:gd name="T22" fmla="*/ 426 w 41"/>
                <a:gd name="T23" fmla="*/ 46444 h 43"/>
                <a:gd name="T24" fmla="*/ 0 w 41"/>
                <a:gd name="T25" fmla="*/ 53975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8" name="Freeform 206">
              <a:extLst>
                <a:ext uri="{FF2B5EF4-FFF2-40B4-BE49-F238E27FC236}">
                  <a16:creationId xmlns:a16="http://schemas.microsoft.com/office/drawing/2014/main" id="{3393C59B-B4D6-44B8-BDD0-3364AB81A665}"/>
                </a:ext>
              </a:extLst>
            </p:cNvPr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3488572" y="5464465"/>
              <a:ext cx="10293" cy="63027"/>
            </a:xfrm>
            <a:custGeom>
              <a:avLst/>
              <a:gdLst>
                <a:gd name="T0" fmla="*/ 7937 w 20"/>
                <a:gd name="T1" fmla="*/ 0 h 24"/>
                <a:gd name="T2" fmla="*/ 0 w 20"/>
                <a:gd name="T3" fmla="*/ 0 h 24"/>
                <a:gd name="T4" fmla="*/ 397 w 20"/>
                <a:gd name="T5" fmla="*/ 12237 h 24"/>
                <a:gd name="T6" fmla="*/ 794 w 20"/>
                <a:gd name="T7" fmla="*/ 22026 h 24"/>
                <a:gd name="T8" fmla="*/ 1587 w 20"/>
                <a:gd name="T9" fmla="*/ 31816 h 24"/>
                <a:gd name="T10" fmla="*/ 2778 w 20"/>
                <a:gd name="T11" fmla="*/ 41605 h 24"/>
                <a:gd name="T12" fmla="*/ 3969 w 20"/>
                <a:gd name="T13" fmla="*/ 48948 h 24"/>
                <a:gd name="T14" fmla="*/ 5556 w 20"/>
                <a:gd name="T15" fmla="*/ 53842 h 24"/>
                <a:gd name="T16" fmla="*/ 6746 w 20"/>
                <a:gd name="T17" fmla="*/ 58737 h 24"/>
                <a:gd name="T18" fmla="*/ 7937 w 20"/>
                <a:gd name="T19" fmla="*/ 58737 h 24"/>
                <a:gd name="T20" fmla="*/ 793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9" name="Freeform 207">
              <a:extLst>
                <a:ext uri="{FF2B5EF4-FFF2-40B4-BE49-F238E27FC236}">
                  <a16:creationId xmlns:a16="http://schemas.microsoft.com/office/drawing/2014/main" id="{107F45C1-8BB4-4B68-9C9D-9A3340704AB4}"/>
                </a:ext>
              </a:extLst>
            </p:cNvPr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3507100" y="5530898"/>
              <a:ext cx="22647" cy="64731"/>
            </a:xfrm>
            <a:custGeom>
              <a:avLst/>
              <a:gdLst>
                <a:gd name="T0" fmla="*/ 0 w 39"/>
                <a:gd name="T1" fmla="*/ 16835 h 43"/>
                <a:gd name="T2" fmla="*/ 896 w 39"/>
                <a:gd name="T3" fmla="*/ 23849 h 43"/>
                <a:gd name="T4" fmla="*/ 2687 w 39"/>
                <a:gd name="T5" fmla="*/ 30864 h 43"/>
                <a:gd name="T6" fmla="*/ 5373 w 39"/>
                <a:gd name="T7" fmla="*/ 37878 h 43"/>
                <a:gd name="T8" fmla="*/ 7164 w 39"/>
                <a:gd name="T9" fmla="*/ 44893 h 43"/>
                <a:gd name="T10" fmla="*/ 10299 w 39"/>
                <a:gd name="T11" fmla="*/ 51908 h 43"/>
                <a:gd name="T12" fmla="*/ 12538 w 39"/>
                <a:gd name="T13" fmla="*/ 56116 h 43"/>
                <a:gd name="T14" fmla="*/ 15224 w 39"/>
                <a:gd name="T15" fmla="*/ 60325 h 43"/>
                <a:gd name="T16" fmla="*/ 17463 w 39"/>
                <a:gd name="T17" fmla="*/ 60325 h 43"/>
                <a:gd name="T18" fmla="*/ 17015 w 39"/>
                <a:gd name="T19" fmla="*/ 44893 h 43"/>
                <a:gd name="T20" fmla="*/ 16120 w 39"/>
                <a:gd name="T21" fmla="*/ 26655 h 43"/>
                <a:gd name="T22" fmla="*/ 15224 w 39"/>
                <a:gd name="T23" fmla="*/ 11223 h 43"/>
                <a:gd name="T24" fmla="*/ 14329 w 39"/>
                <a:gd name="T25" fmla="*/ 0 h 43"/>
                <a:gd name="T26" fmla="*/ 8508 w 39"/>
                <a:gd name="T27" fmla="*/ 4209 h 43"/>
                <a:gd name="T28" fmla="*/ 2687 w 39"/>
                <a:gd name="T29" fmla="*/ 8417 h 43"/>
                <a:gd name="T30" fmla="*/ 0 w 39"/>
                <a:gd name="T31" fmla="*/ 16835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0" name="Freeform 208">
              <a:extLst>
                <a:ext uri="{FF2B5EF4-FFF2-40B4-BE49-F238E27FC236}">
                  <a16:creationId xmlns:a16="http://schemas.microsoft.com/office/drawing/2014/main" id="{4BF93E2E-5CF2-455A-9C3F-16226CDD5C7F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490632" y="5544526"/>
              <a:ext cx="35000" cy="63028"/>
            </a:xfrm>
            <a:custGeom>
              <a:avLst/>
              <a:gdLst>
                <a:gd name="T0" fmla="*/ 14230 w 55"/>
                <a:gd name="T1" fmla="*/ 24632 h 62"/>
                <a:gd name="T2" fmla="*/ 3926 w 55"/>
                <a:gd name="T3" fmla="*/ 0 h 62"/>
                <a:gd name="T4" fmla="*/ 1963 w 55"/>
                <a:gd name="T5" fmla="*/ 4737 h 62"/>
                <a:gd name="T6" fmla="*/ 491 w 55"/>
                <a:gd name="T7" fmla="*/ 10421 h 62"/>
                <a:gd name="T8" fmla="*/ 0 w 55"/>
                <a:gd name="T9" fmla="*/ 15158 h 62"/>
                <a:gd name="T10" fmla="*/ 0 w 55"/>
                <a:gd name="T11" fmla="*/ 19895 h 62"/>
                <a:gd name="T12" fmla="*/ 981 w 55"/>
                <a:gd name="T13" fmla="*/ 24632 h 62"/>
                <a:gd name="T14" fmla="*/ 1963 w 55"/>
                <a:gd name="T15" fmla="*/ 29369 h 62"/>
                <a:gd name="T16" fmla="*/ 3926 w 55"/>
                <a:gd name="T17" fmla="*/ 34106 h 62"/>
                <a:gd name="T18" fmla="*/ 5398 w 55"/>
                <a:gd name="T19" fmla="*/ 38843 h 62"/>
                <a:gd name="T20" fmla="*/ 7851 w 55"/>
                <a:gd name="T21" fmla="*/ 42632 h 62"/>
                <a:gd name="T22" fmla="*/ 10305 w 55"/>
                <a:gd name="T23" fmla="*/ 46422 h 62"/>
                <a:gd name="T24" fmla="*/ 12758 w 55"/>
                <a:gd name="T25" fmla="*/ 50212 h 62"/>
                <a:gd name="T26" fmla="*/ 16193 w 55"/>
                <a:gd name="T27" fmla="*/ 53054 h 62"/>
                <a:gd name="T28" fmla="*/ 18646 w 55"/>
                <a:gd name="T29" fmla="*/ 54948 h 62"/>
                <a:gd name="T30" fmla="*/ 21590 w 55"/>
                <a:gd name="T31" fmla="*/ 56843 h 62"/>
                <a:gd name="T32" fmla="*/ 24044 w 55"/>
                <a:gd name="T33" fmla="*/ 57791 h 62"/>
                <a:gd name="T34" fmla="*/ 26988 w 55"/>
                <a:gd name="T35" fmla="*/ 58738 h 62"/>
                <a:gd name="T36" fmla="*/ 26497 w 55"/>
                <a:gd name="T37" fmla="*/ 50212 h 62"/>
                <a:gd name="T38" fmla="*/ 26007 w 55"/>
                <a:gd name="T39" fmla="*/ 43580 h 62"/>
                <a:gd name="T40" fmla="*/ 24044 w 55"/>
                <a:gd name="T41" fmla="*/ 37895 h 62"/>
                <a:gd name="T42" fmla="*/ 22572 w 55"/>
                <a:gd name="T43" fmla="*/ 33159 h 62"/>
                <a:gd name="T44" fmla="*/ 21100 w 55"/>
                <a:gd name="T45" fmla="*/ 29369 h 62"/>
                <a:gd name="T46" fmla="*/ 18646 w 55"/>
                <a:gd name="T47" fmla="*/ 26527 h 62"/>
                <a:gd name="T48" fmla="*/ 16193 w 55"/>
                <a:gd name="T49" fmla="*/ 24632 h 62"/>
                <a:gd name="T50" fmla="*/ 14230 w 55"/>
                <a:gd name="T51" fmla="*/ 24632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1" name="Freeform 209">
              <a:extLst>
                <a:ext uri="{FF2B5EF4-FFF2-40B4-BE49-F238E27FC236}">
                  <a16:creationId xmlns:a16="http://schemas.microsoft.com/office/drawing/2014/main" id="{5213D920-6555-48BD-A57B-13BB557889BC}"/>
                </a:ext>
              </a:extLst>
            </p:cNvPr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529748" y="5580298"/>
              <a:ext cx="14411" cy="63027"/>
            </a:xfrm>
            <a:custGeom>
              <a:avLst/>
              <a:gdLst>
                <a:gd name="T0" fmla="*/ 10477 w 35"/>
                <a:gd name="T1" fmla="*/ 17758 h 43"/>
                <a:gd name="T2" fmla="*/ 2222 w 35"/>
                <a:gd name="T3" fmla="*/ 0 h 43"/>
                <a:gd name="T4" fmla="*/ 1270 w 35"/>
                <a:gd name="T5" fmla="*/ 10928 h 43"/>
                <a:gd name="T6" fmla="*/ 0 w 35"/>
                <a:gd name="T7" fmla="*/ 25954 h 43"/>
                <a:gd name="T8" fmla="*/ 635 w 35"/>
                <a:gd name="T9" fmla="*/ 38247 h 43"/>
                <a:gd name="T10" fmla="*/ 1587 w 35"/>
                <a:gd name="T11" fmla="*/ 49175 h 43"/>
                <a:gd name="T12" fmla="*/ 1905 w 35"/>
                <a:gd name="T13" fmla="*/ 53273 h 43"/>
                <a:gd name="T14" fmla="*/ 2540 w 35"/>
                <a:gd name="T15" fmla="*/ 56005 h 43"/>
                <a:gd name="T16" fmla="*/ 3492 w 35"/>
                <a:gd name="T17" fmla="*/ 58737 h 43"/>
                <a:gd name="T18" fmla="*/ 4445 w 35"/>
                <a:gd name="T19" fmla="*/ 58737 h 43"/>
                <a:gd name="T20" fmla="*/ 5715 w 35"/>
                <a:gd name="T21" fmla="*/ 58737 h 43"/>
                <a:gd name="T22" fmla="*/ 6985 w 35"/>
                <a:gd name="T23" fmla="*/ 57371 h 43"/>
                <a:gd name="T24" fmla="*/ 8255 w 35"/>
                <a:gd name="T25" fmla="*/ 56005 h 43"/>
                <a:gd name="T26" fmla="*/ 8890 w 35"/>
                <a:gd name="T27" fmla="*/ 53273 h 43"/>
                <a:gd name="T28" fmla="*/ 9842 w 35"/>
                <a:gd name="T29" fmla="*/ 47809 h 43"/>
                <a:gd name="T30" fmla="*/ 10477 w 35"/>
                <a:gd name="T31" fmla="*/ 40979 h 43"/>
                <a:gd name="T32" fmla="*/ 11112 w 35"/>
                <a:gd name="T33" fmla="*/ 27320 h 43"/>
                <a:gd name="T34" fmla="*/ 10477 w 35"/>
                <a:gd name="T35" fmla="*/ 17758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2" name="Freeform 210">
              <a:extLst>
                <a:ext uri="{FF2B5EF4-FFF2-40B4-BE49-F238E27FC236}">
                  <a16:creationId xmlns:a16="http://schemas.microsoft.com/office/drawing/2014/main" id="{93ECCCA0-D3EB-423F-B8B3-E669DDACE7C6}"/>
                </a:ext>
              </a:extLst>
            </p:cNvPr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3525630" y="5616069"/>
              <a:ext cx="26763" cy="59620"/>
            </a:xfrm>
            <a:custGeom>
              <a:avLst/>
              <a:gdLst>
                <a:gd name="T0" fmla="*/ 20637 w 53"/>
                <a:gd name="T1" fmla="*/ 0 h 21"/>
                <a:gd name="T2" fmla="*/ 15964 w 53"/>
                <a:gd name="T3" fmla="*/ 2646 h 21"/>
                <a:gd name="T4" fmla="*/ 12460 w 53"/>
                <a:gd name="T5" fmla="*/ 5292 h 21"/>
                <a:gd name="T6" fmla="*/ 9734 w 53"/>
                <a:gd name="T7" fmla="*/ 13229 h 21"/>
                <a:gd name="T8" fmla="*/ 8177 w 53"/>
                <a:gd name="T9" fmla="*/ 18521 h 21"/>
                <a:gd name="T10" fmla="*/ 6619 w 53"/>
                <a:gd name="T11" fmla="*/ 26459 h 21"/>
                <a:gd name="T12" fmla="*/ 5062 w 53"/>
                <a:gd name="T13" fmla="*/ 34396 h 21"/>
                <a:gd name="T14" fmla="*/ 3115 w 53"/>
                <a:gd name="T15" fmla="*/ 42334 h 21"/>
                <a:gd name="T16" fmla="*/ 0 w 53"/>
                <a:gd name="T17" fmla="*/ 47625 h 21"/>
                <a:gd name="T18" fmla="*/ 1947 w 53"/>
                <a:gd name="T19" fmla="*/ 52917 h 21"/>
                <a:gd name="T20" fmla="*/ 4283 w 53"/>
                <a:gd name="T21" fmla="*/ 55563 h 21"/>
                <a:gd name="T22" fmla="*/ 6619 w 53"/>
                <a:gd name="T23" fmla="*/ 55563 h 21"/>
                <a:gd name="T24" fmla="*/ 9345 w 53"/>
                <a:gd name="T25" fmla="*/ 55563 h 21"/>
                <a:gd name="T26" fmla="*/ 14796 w 53"/>
                <a:gd name="T27" fmla="*/ 50271 h 21"/>
                <a:gd name="T28" fmla="*/ 20637 w 53"/>
                <a:gd name="T29" fmla="*/ 47625 h 21"/>
                <a:gd name="T30" fmla="*/ 2063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3" name="Freeform 211">
              <a:extLst>
                <a:ext uri="{FF2B5EF4-FFF2-40B4-BE49-F238E27FC236}">
                  <a16:creationId xmlns:a16="http://schemas.microsoft.com/office/drawing/2014/main" id="{C4DFC60A-CCD7-49EF-93F7-5D555580FF3D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3556511" y="5631401"/>
              <a:ext cx="22647" cy="61324"/>
            </a:xfrm>
            <a:custGeom>
              <a:avLst/>
              <a:gdLst>
                <a:gd name="T0" fmla="*/ 8935 w 43"/>
                <a:gd name="T1" fmla="*/ 0 h 38"/>
                <a:gd name="T2" fmla="*/ 4873 w 43"/>
                <a:gd name="T3" fmla="*/ 0 h 38"/>
                <a:gd name="T4" fmla="*/ 812 w 43"/>
                <a:gd name="T5" fmla="*/ 0 h 38"/>
                <a:gd name="T6" fmla="*/ 406 w 43"/>
                <a:gd name="T7" fmla="*/ 0 h 38"/>
                <a:gd name="T8" fmla="*/ 0 w 43"/>
                <a:gd name="T9" fmla="*/ 1504 h 38"/>
                <a:gd name="T10" fmla="*/ 0 w 43"/>
                <a:gd name="T11" fmla="*/ 4512 h 38"/>
                <a:gd name="T12" fmla="*/ 0 w 43"/>
                <a:gd name="T13" fmla="*/ 9024 h 38"/>
                <a:gd name="T14" fmla="*/ 406 w 43"/>
                <a:gd name="T15" fmla="*/ 15039 h 38"/>
                <a:gd name="T16" fmla="*/ 812 w 43"/>
                <a:gd name="T17" fmla="*/ 18047 h 38"/>
                <a:gd name="T18" fmla="*/ 1218 w 43"/>
                <a:gd name="T19" fmla="*/ 27071 h 38"/>
                <a:gd name="T20" fmla="*/ 2031 w 43"/>
                <a:gd name="T21" fmla="*/ 37599 h 38"/>
                <a:gd name="T22" fmla="*/ 4061 w 43"/>
                <a:gd name="T23" fmla="*/ 45118 h 38"/>
                <a:gd name="T24" fmla="*/ 6092 w 43"/>
                <a:gd name="T25" fmla="*/ 51134 h 38"/>
                <a:gd name="T26" fmla="*/ 8528 w 43"/>
                <a:gd name="T27" fmla="*/ 55646 h 38"/>
                <a:gd name="T28" fmla="*/ 10965 w 43"/>
                <a:gd name="T29" fmla="*/ 57150 h 38"/>
                <a:gd name="T30" fmla="*/ 14214 w 43"/>
                <a:gd name="T31" fmla="*/ 57150 h 38"/>
                <a:gd name="T32" fmla="*/ 17463 w 43"/>
                <a:gd name="T33" fmla="*/ 55646 h 38"/>
                <a:gd name="T34" fmla="*/ 16245 w 43"/>
                <a:gd name="T35" fmla="*/ 43614 h 38"/>
                <a:gd name="T36" fmla="*/ 14620 w 43"/>
                <a:gd name="T37" fmla="*/ 34591 h 38"/>
                <a:gd name="T38" fmla="*/ 13402 w 43"/>
                <a:gd name="T39" fmla="*/ 25567 h 38"/>
                <a:gd name="T40" fmla="*/ 12183 w 43"/>
                <a:gd name="T41" fmla="*/ 19551 h 38"/>
                <a:gd name="T42" fmla="*/ 10965 w 43"/>
                <a:gd name="T43" fmla="*/ 15039 h 38"/>
                <a:gd name="T44" fmla="*/ 9747 w 43"/>
                <a:gd name="T45" fmla="*/ 10528 h 38"/>
                <a:gd name="T46" fmla="*/ 9341 w 43"/>
                <a:gd name="T47" fmla="*/ 6016 h 38"/>
                <a:gd name="T48" fmla="*/ 8935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4" name="Freeform 212">
              <a:extLst>
                <a:ext uri="{FF2B5EF4-FFF2-40B4-BE49-F238E27FC236}">
                  <a16:creationId xmlns:a16="http://schemas.microsoft.com/office/drawing/2014/main" id="{D5621B43-6078-4239-9267-BC94824A319F}"/>
                </a:ext>
              </a:extLst>
            </p:cNvPr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3558570" y="5662063"/>
              <a:ext cx="8235" cy="61324"/>
            </a:xfrm>
            <a:custGeom>
              <a:avLst/>
              <a:gdLst>
                <a:gd name="T0" fmla="*/ 0 w 20"/>
                <a:gd name="T1" fmla="*/ 0 h 5"/>
                <a:gd name="T2" fmla="*/ 318 w 20"/>
                <a:gd name="T3" fmla="*/ 22860 h 5"/>
                <a:gd name="T4" fmla="*/ 635 w 20"/>
                <a:gd name="T5" fmla="*/ 34290 h 5"/>
                <a:gd name="T6" fmla="*/ 1270 w 20"/>
                <a:gd name="T7" fmla="*/ 45720 h 5"/>
                <a:gd name="T8" fmla="*/ 2223 w 20"/>
                <a:gd name="T9" fmla="*/ 57150 h 5"/>
                <a:gd name="T10" fmla="*/ 3493 w 20"/>
                <a:gd name="T11" fmla="*/ 45720 h 5"/>
                <a:gd name="T12" fmla="*/ 4445 w 20"/>
                <a:gd name="T13" fmla="*/ 34290 h 5"/>
                <a:gd name="T14" fmla="*/ 5398 w 20"/>
                <a:gd name="T15" fmla="*/ 22860 h 5"/>
                <a:gd name="T16" fmla="*/ 635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5" name="Freeform 213">
              <a:extLst>
                <a:ext uri="{FF2B5EF4-FFF2-40B4-BE49-F238E27FC236}">
                  <a16:creationId xmlns:a16="http://schemas.microsoft.com/office/drawing/2014/main" id="{84498DDA-2134-4BA8-92A2-3E7BFC505095}"/>
                </a:ext>
              </a:extLst>
            </p:cNvPr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3655332" y="5737014"/>
              <a:ext cx="45293" cy="61324"/>
            </a:xfrm>
            <a:custGeom>
              <a:avLst/>
              <a:gdLst>
                <a:gd name="T0" fmla="*/ 19137 w 73"/>
                <a:gd name="T1" fmla="*/ 0 h 22"/>
                <a:gd name="T2" fmla="*/ 15310 w 73"/>
                <a:gd name="T3" fmla="*/ 2598 h 22"/>
                <a:gd name="T4" fmla="*/ 12439 w 73"/>
                <a:gd name="T5" fmla="*/ 5195 h 22"/>
                <a:gd name="T6" fmla="*/ 9568 w 73"/>
                <a:gd name="T7" fmla="*/ 12989 h 22"/>
                <a:gd name="T8" fmla="*/ 7176 w 73"/>
                <a:gd name="T9" fmla="*/ 20782 h 22"/>
                <a:gd name="T10" fmla="*/ 2871 w 73"/>
                <a:gd name="T11" fmla="*/ 36368 h 22"/>
                <a:gd name="T12" fmla="*/ 0 w 73"/>
                <a:gd name="T13" fmla="*/ 49357 h 22"/>
                <a:gd name="T14" fmla="*/ 9568 w 73"/>
                <a:gd name="T15" fmla="*/ 51955 h 22"/>
                <a:gd name="T16" fmla="*/ 18659 w 73"/>
                <a:gd name="T17" fmla="*/ 57150 h 22"/>
                <a:gd name="T18" fmla="*/ 23443 w 73"/>
                <a:gd name="T19" fmla="*/ 57150 h 22"/>
                <a:gd name="T20" fmla="*/ 27270 w 73"/>
                <a:gd name="T21" fmla="*/ 57150 h 22"/>
                <a:gd name="T22" fmla="*/ 31098 w 73"/>
                <a:gd name="T23" fmla="*/ 54552 h 22"/>
                <a:gd name="T24" fmla="*/ 34925 w 73"/>
                <a:gd name="T25" fmla="*/ 49357 h 22"/>
                <a:gd name="T26" fmla="*/ 30619 w 73"/>
                <a:gd name="T27" fmla="*/ 36368 h 22"/>
                <a:gd name="T28" fmla="*/ 26792 w 73"/>
                <a:gd name="T29" fmla="*/ 20782 h 22"/>
                <a:gd name="T30" fmla="*/ 25357 w 73"/>
                <a:gd name="T31" fmla="*/ 12989 h 22"/>
                <a:gd name="T32" fmla="*/ 23443 w 73"/>
                <a:gd name="T33" fmla="*/ 5195 h 22"/>
                <a:gd name="T34" fmla="*/ 21051 w 73"/>
                <a:gd name="T35" fmla="*/ 2598 h 22"/>
                <a:gd name="T36" fmla="*/ 1913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6" name="Freeform 214">
              <a:extLst>
                <a:ext uri="{FF2B5EF4-FFF2-40B4-BE49-F238E27FC236}">
                  <a16:creationId xmlns:a16="http://schemas.microsoft.com/office/drawing/2014/main" id="{B99672B9-38BC-455C-8C73-3FD2F3FAA149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3704742" y="5673986"/>
              <a:ext cx="160584" cy="107316"/>
            </a:xfrm>
            <a:custGeom>
              <a:avLst/>
              <a:gdLst>
                <a:gd name="T0" fmla="*/ 103555 w 281"/>
                <a:gd name="T1" fmla="*/ 87058 h 193"/>
                <a:gd name="T2" fmla="*/ 82844 w 281"/>
                <a:gd name="T3" fmla="*/ 88613 h 193"/>
                <a:gd name="T4" fmla="*/ 74031 w 281"/>
                <a:gd name="T5" fmla="*/ 87058 h 193"/>
                <a:gd name="T6" fmla="*/ 68302 w 281"/>
                <a:gd name="T7" fmla="*/ 84985 h 193"/>
                <a:gd name="T8" fmla="*/ 57286 w 281"/>
                <a:gd name="T9" fmla="*/ 69957 h 193"/>
                <a:gd name="T10" fmla="*/ 45828 w 281"/>
                <a:gd name="T11" fmla="*/ 48711 h 193"/>
                <a:gd name="T12" fmla="*/ 41422 w 281"/>
                <a:gd name="T13" fmla="*/ 38347 h 193"/>
                <a:gd name="T14" fmla="*/ 38337 w 281"/>
                <a:gd name="T15" fmla="*/ 26428 h 193"/>
                <a:gd name="T16" fmla="*/ 36575 w 281"/>
                <a:gd name="T17" fmla="*/ 13991 h 193"/>
                <a:gd name="T18" fmla="*/ 18948 w 281"/>
                <a:gd name="T19" fmla="*/ 0 h 193"/>
                <a:gd name="T20" fmla="*/ 12338 w 281"/>
                <a:gd name="T21" fmla="*/ 26947 h 193"/>
                <a:gd name="T22" fmla="*/ 7932 w 281"/>
                <a:gd name="T23" fmla="*/ 31610 h 193"/>
                <a:gd name="T24" fmla="*/ 2644 w 281"/>
                <a:gd name="T25" fmla="*/ 35756 h 193"/>
                <a:gd name="T26" fmla="*/ 0 w 281"/>
                <a:gd name="T27" fmla="*/ 37829 h 193"/>
                <a:gd name="T28" fmla="*/ 441 w 281"/>
                <a:gd name="T29" fmla="*/ 38865 h 193"/>
                <a:gd name="T30" fmla="*/ 3966 w 281"/>
                <a:gd name="T31" fmla="*/ 41974 h 193"/>
                <a:gd name="T32" fmla="*/ 16304 w 281"/>
                <a:gd name="T33" fmla="*/ 57520 h 193"/>
                <a:gd name="T34" fmla="*/ 19830 w 281"/>
                <a:gd name="T35" fmla="*/ 63221 h 193"/>
                <a:gd name="T36" fmla="*/ 23355 w 281"/>
                <a:gd name="T37" fmla="*/ 66848 h 193"/>
                <a:gd name="T38" fmla="*/ 27321 w 281"/>
                <a:gd name="T39" fmla="*/ 69439 h 193"/>
                <a:gd name="T40" fmla="*/ 31287 w 281"/>
                <a:gd name="T41" fmla="*/ 70475 h 193"/>
                <a:gd name="T42" fmla="*/ 33490 w 281"/>
                <a:gd name="T43" fmla="*/ 73066 h 193"/>
                <a:gd name="T44" fmla="*/ 34812 w 281"/>
                <a:gd name="T45" fmla="*/ 76694 h 193"/>
                <a:gd name="T46" fmla="*/ 37897 w 281"/>
                <a:gd name="T47" fmla="*/ 79285 h 193"/>
                <a:gd name="T48" fmla="*/ 43625 w 281"/>
                <a:gd name="T49" fmla="*/ 79803 h 193"/>
                <a:gd name="T50" fmla="*/ 46710 w 281"/>
                <a:gd name="T51" fmla="*/ 81358 h 193"/>
                <a:gd name="T52" fmla="*/ 48032 w 281"/>
                <a:gd name="T53" fmla="*/ 84467 h 193"/>
                <a:gd name="T54" fmla="*/ 48032 w 281"/>
                <a:gd name="T55" fmla="*/ 92758 h 193"/>
                <a:gd name="T56" fmla="*/ 48913 w 281"/>
                <a:gd name="T57" fmla="*/ 97940 h 193"/>
                <a:gd name="T58" fmla="*/ 50676 w 281"/>
                <a:gd name="T59" fmla="*/ 100013 h 193"/>
                <a:gd name="T60" fmla="*/ 56845 w 281"/>
                <a:gd name="T61" fmla="*/ 100013 h 193"/>
                <a:gd name="T62" fmla="*/ 72268 w 281"/>
                <a:gd name="T63" fmla="*/ 98977 h 193"/>
                <a:gd name="T64" fmla="*/ 79319 w 281"/>
                <a:gd name="T65" fmla="*/ 97940 h 193"/>
                <a:gd name="T66" fmla="*/ 84606 w 281"/>
                <a:gd name="T67" fmla="*/ 96386 h 193"/>
                <a:gd name="T68" fmla="*/ 93420 w 281"/>
                <a:gd name="T69" fmla="*/ 97422 h 193"/>
                <a:gd name="T70" fmla="*/ 123825 w 281"/>
                <a:gd name="T71" fmla="*/ 86540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7" name="Freeform 215">
              <a:extLst>
                <a:ext uri="{FF2B5EF4-FFF2-40B4-BE49-F238E27FC236}">
                  <a16:creationId xmlns:a16="http://schemas.microsoft.com/office/drawing/2014/main" id="{7DBC4971-DD75-44BA-8013-F8E4B02AB7DC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3124171" y="3277264"/>
              <a:ext cx="67940" cy="63027"/>
            </a:xfrm>
            <a:custGeom>
              <a:avLst/>
              <a:gdLst>
                <a:gd name="T0" fmla="*/ 0 w 120"/>
                <a:gd name="T1" fmla="*/ 18880 h 56"/>
                <a:gd name="T2" fmla="*/ 1746 w 120"/>
                <a:gd name="T3" fmla="*/ 27271 h 56"/>
                <a:gd name="T4" fmla="*/ 4366 w 120"/>
                <a:gd name="T5" fmla="*/ 34613 h 56"/>
                <a:gd name="T6" fmla="*/ 6549 w 120"/>
                <a:gd name="T7" fmla="*/ 38808 h 56"/>
                <a:gd name="T8" fmla="*/ 9168 w 120"/>
                <a:gd name="T9" fmla="*/ 43004 h 56"/>
                <a:gd name="T10" fmla="*/ 11787 w 120"/>
                <a:gd name="T11" fmla="*/ 46151 h 56"/>
                <a:gd name="T12" fmla="*/ 15280 w 120"/>
                <a:gd name="T13" fmla="*/ 48248 h 56"/>
                <a:gd name="T14" fmla="*/ 18772 w 120"/>
                <a:gd name="T15" fmla="*/ 50346 h 56"/>
                <a:gd name="T16" fmla="*/ 22265 w 120"/>
                <a:gd name="T17" fmla="*/ 51395 h 56"/>
                <a:gd name="T18" fmla="*/ 29250 w 120"/>
                <a:gd name="T19" fmla="*/ 52444 h 56"/>
                <a:gd name="T20" fmla="*/ 37108 w 120"/>
                <a:gd name="T21" fmla="*/ 53493 h 56"/>
                <a:gd name="T22" fmla="*/ 44530 w 120"/>
                <a:gd name="T23" fmla="*/ 54542 h 56"/>
                <a:gd name="T24" fmla="*/ 52388 w 120"/>
                <a:gd name="T25" fmla="*/ 58737 h 56"/>
                <a:gd name="T26" fmla="*/ 52388 w 120"/>
                <a:gd name="T27" fmla="*/ 38808 h 56"/>
                <a:gd name="T28" fmla="*/ 48459 w 120"/>
                <a:gd name="T29" fmla="*/ 35662 h 56"/>
                <a:gd name="T30" fmla="*/ 44530 w 120"/>
                <a:gd name="T31" fmla="*/ 31466 h 56"/>
                <a:gd name="T32" fmla="*/ 41037 w 120"/>
                <a:gd name="T33" fmla="*/ 25173 h 56"/>
                <a:gd name="T34" fmla="*/ 38418 w 120"/>
                <a:gd name="T35" fmla="*/ 18880 h 56"/>
                <a:gd name="T36" fmla="*/ 35362 w 120"/>
                <a:gd name="T37" fmla="*/ 13635 h 56"/>
                <a:gd name="T38" fmla="*/ 32743 w 120"/>
                <a:gd name="T39" fmla="*/ 7342 h 56"/>
                <a:gd name="T40" fmla="*/ 29250 w 120"/>
                <a:gd name="T41" fmla="*/ 3147 h 56"/>
                <a:gd name="T42" fmla="*/ 26194 w 120"/>
                <a:gd name="T43" fmla="*/ 0 h 56"/>
                <a:gd name="T44" fmla="*/ 24011 w 120"/>
                <a:gd name="T45" fmla="*/ 1049 h 56"/>
                <a:gd name="T46" fmla="*/ 20955 w 120"/>
                <a:gd name="T47" fmla="*/ 3147 h 56"/>
                <a:gd name="T48" fmla="*/ 17899 w 120"/>
                <a:gd name="T49" fmla="*/ 6293 h 56"/>
                <a:gd name="T50" fmla="*/ 14407 w 120"/>
                <a:gd name="T51" fmla="*/ 9440 h 56"/>
                <a:gd name="T52" fmla="*/ 10478 w 120"/>
                <a:gd name="T53" fmla="*/ 13635 h 56"/>
                <a:gd name="T54" fmla="*/ 6985 w 120"/>
                <a:gd name="T55" fmla="*/ 15733 h 56"/>
                <a:gd name="T56" fmla="*/ 3493 w 120"/>
                <a:gd name="T57" fmla="*/ 18880 h 56"/>
                <a:gd name="T58" fmla="*/ 0 w 120"/>
                <a:gd name="T59" fmla="*/ 18880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8" name="Freeform 216">
              <a:extLst>
                <a:ext uri="{FF2B5EF4-FFF2-40B4-BE49-F238E27FC236}">
                  <a16:creationId xmlns:a16="http://schemas.microsoft.com/office/drawing/2014/main" id="{2AF6E2FE-5662-40D1-993D-FA83678CE475}"/>
                </a:ext>
              </a:extLst>
            </p:cNvPr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2938882" y="3129065"/>
              <a:ext cx="325284" cy="117537"/>
            </a:xfrm>
            <a:custGeom>
              <a:avLst/>
              <a:gdLst>
                <a:gd name="T0" fmla="*/ 55496 w 574"/>
                <a:gd name="T1" fmla="*/ 537 h 204"/>
                <a:gd name="T2" fmla="*/ 41513 w 574"/>
                <a:gd name="T3" fmla="*/ 3222 h 204"/>
                <a:gd name="T4" fmla="*/ 28841 w 574"/>
                <a:gd name="T5" fmla="*/ 8591 h 204"/>
                <a:gd name="T6" fmla="*/ 18790 w 574"/>
                <a:gd name="T7" fmla="*/ 13961 h 204"/>
                <a:gd name="T8" fmla="*/ 13109 w 574"/>
                <a:gd name="T9" fmla="*/ 18793 h 204"/>
                <a:gd name="T10" fmla="*/ 6992 w 574"/>
                <a:gd name="T11" fmla="*/ 27385 h 204"/>
                <a:gd name="T12" fmla="*/ 1748 w 574"/>
                <a:gd name="T13" fmla="*/ 38124 h 204"/>
                <a:gd name="T14" fmla="*/ 0 w 574"/>
                <a:gd name="T15" fmla="*/ 44030 h 204"/>
                <a:gd name="T16" fmla="*/ 437 w 574"/>
                <a:gd name="T17" fmla="*/ 46178 h 204"/>
                <a:gd name="T18" fmla="*/ 5681 w 574"/>
                <a:gd name="T19" fmla="*/ 46178 h 204"/>
                <a:gd name="T20" fmla="*/ 12672 w 574"/>
                <a:gd name="T21" fmla="*/ 44567 h 204"/>
                <a:gd name="T22" fmla="*/ 22723 w 574"/>
                <a:gd name="T23" fmla="*/ 40271 h 204"/>
                <a:gd name="T24" fmla="*/ 34958 w 574"/>
                <a:gd name="T25" fmla="*/ 31143 h 204"/>
                <a:gd name="T26" fmla="*/ 44572 w 574"/>
                <a:gd name="T27" fmla="*/ 24700 h 204"/>
                <a:gd name="T28" fmla="*/ 52000 w 574"/>
                <a:gd name="T29" fmla="*/ 21478 h 204"/>
                <a:gd name="T30" fmla="*/ 76471 w 574"/>
                <a:gd name="T31" fmla="*/ 19867 h 204"/>
                <a:gd name="T32" fmla="*/ 76908 w 574"/>
                <a:gd name="T33" fmla="*/ 25774 h 204"/>
                <a:gd name="T34" fmla="*/ 78656 w 574"/>
                <a:gd name="T35" fmla="*/ 29532 h 204"/>
                <a:gd name="T36" fmla="*/ 80404 w 574"/>
                <a:gd name="T37" fmla="*/ 31680 h 204"/>
                <a:gd name="T38" fmla="*/ 83026 w 574"/>
                <a:gd name="T39" fmla="*/ 32754 h 204"/>
                <a:gd name="T40" fmla="*/ 100068 w 574"/>
                <a:gd name="T41" fmla="*/ 32754 h 204"/>
                <a:gd name="T42" fmla="*/ 117547 w 574"/>
                <a:gd name="T43" fmla="*/ 41882 h 204"/>
                <a:gd name="T44" fmla="*/ 131967 w 574"/>
                <a:gd name="T45" fmla="*/ 51010 h 204"/>
                <a:gd name="T46" fmla="*/ 146824 w 574"/>
                <a:gd name="T47" fmla="*/ 59602 h 204"/>
                <a:gd name="T48" fmla="*/ 163867 w 574"/>
                <a:gd name="T49" fmla="*/ 66045 h 204"/>
                <a:gd name="T50" fmla="*/ 164303 w 574"/>
                <a:gd name="T51" fmla="*/ 71951 h 204"/>
                <a:gd name="T52" fmla="*/ 166925 w 574"/>
                <a:gd name="T53" fmla="*/ 76247 h 204"/>
                <a:gd name="T54" fmla="*/ 173043 w 574"/>
                <a:gd name="T55" fmla="*/ 81617 h 204"/>
                <a:gd name="T56" fmla="*/ 187026 w 574"/>
                <a:gd name="T57" fmla="*/ 89134 h 204"/>
                <a:gd name="T58" fmla="*/ 175665 w 574"/>
                <a:gd name="T59" fmla="*/ 102558 h 204"/>
                <a:gd name="T60" fmla="*/ 177850 w 574"/>
                <a:gd name="T61" fmla="*/ 105779 h 204"/>
                <a:gd name="T62" fmla="*/ 180909 w 574"/>
                <a:gd name="T63" fmla="*/ 107927 h 204"/>
                <a:gd name="T64" fmla="*/ 187463 w 574"/>
                <a:gd name="T65" fmla="*/ 109538 h 204"/>
                <a:gd name="T66" fmla="*/ 201447 w 574"/>
                <a:gd name="T67" fmla="*/ 109538 h 204"/>
                <a:gd name="T68" fmla="*/ 242522 w 574"/>
                <a:gd name="T69" fmla="*/ 101484 h 204"/>
                <a:gd name="T70" fmla="*/ 244270 w 574"/>
                <a:gd name="T71" fmla="*/ 98262 h 204"/>
                <a:gd name="T72" fmla="*/ 246892 w 574"/>
                <a:gd name="T73" fmla="*/ 95040 h 204"/>
                <a:gd name="T74" fmla="*/ 249951 w 574"/>
                <a:gd name="T75" fmla="*/ 92893 h 204"/>
                <a:gd name="T76" fmla="*/ 250825 w 574"/>
                <a:gd name="T77" fmla="*/ 86449 h 204"/>
                <a:gd name="T78" fmla="*/ 245144 w 574"/>
                <a:gd name="T79" fmla="*/ 82154 h 204"/>
                <a:gd name="T80" fmla="*/ 232472 w 574"/>
                <a:gd name="T81" fmla="*/ 79469 h 204"/>
                <a:gd name="T82" fmla="*/ 220237 w 574"/>
                <a:gd name="T83" fmla="*/ 74099 h 204"/>
                <a:gd name="T84" fmla="*/ 207564 w 574"/>
                <a:gd name="T85" fmla="*/ 66582 h 204"/>
                <a:gd name="T86" fmla="*/ 189211 w 574"/>
                <a:gd name="T87" fmla="*/ 53695 h 204"/>
                <a:gd name="T88" fmla="*/ 167362 w 574"/>
                <a:gd name="T89" fmla="*/ 36513 h 204"/>
                <a:gd name="T90" fmla="*/ 156438 w 574"/>
                <a:gd name="T91" fmla="*/ 28995 h 204"/>
                <a:gd name="T92" fmla="*/ 152068 w 574"/>
                <a:gd name="T93" fmla="*/ 27921 h 204"/>
                <a:gd name="T94" fmla="*/ 144203 w 574"/>
                <a:gd name="T95" fmla="*/ 27921 h 204"/>
                <a:gd name="T96" fmla="*/ 136337 w 574"/>
                <a:gd name="T97" fmla="*/ 27385 h 204"/>
                <a:gd name="T98" fmla="*/ 131967 w 574"/>
                <a:gd name="T99" fmla="*/ 26311 h 204"/>
                <a:gd name="T100" fmla="*/ 128471 w 574"/>
                <a:gd name="T101" fmla="*/ 23089 h 204"/>
                <a:gd name="T102" fmla="*/ 126723 w 574"/>
                <a:gd name="T103" fmla="*/ 17182 h 204"/>
                <a:gd name="T104" fmla="*/ 62051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9" name="Freeform 217">
              <a:extLst>
                <a:ext uri="{FF2B5EF4-FFF2-40B4-BE49-F238E27FC236}">
                  <a16:creationId xmlns:a16="http://schemas.microsoft.com/office/drawing/2014/main" id="{EBF8CFB1-E196-40A2-8635-057033D48E8A}"/>
                </a:ext>
              </a:extLst>
            </p:cNvPr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3334165" y="3239789"/>
              <a:ext cx="115291" cy="74950"/>
            </a:xfrm>
            <a:custGeom>
              <a:avLst/>
              <a:gdLst>
                <a:gd name="T0" fmla="*/ 17608 w 207"/>
                <a:gd name="T1" fmla="*/ 69850 h 129"/>
                <a:gd name="T2" fmla="*/ 21473 w 207"/>
                <a:gd name="T3" fmla="*/ 65518 h 129"/>
                <a:gd name="T4" fmla="*/ 25768 w 207"/>
                <a:gd name="T5" fmla="*/ 62269 h 129"/>
                <a:gd name="T6" fmla="*/ 30063 w 207"/>
                <a:gd name="T7" fmla="*/ 59562 h 129"/>
                <a:gd name="T8" fmla="*/ 34787 w 207"/>
                <a:gd name="T9" fmla="*/ 56855 h 129"/>
                <a:gd name="T10" fmla="*/ 45094 w 207"/>
                <a:gd name="T11" fmla="*/ 53606 h 129"/>
                <a:gd name="T12" fmla="*/ 55401 w 207"/>
                <a:gd name="T13" fmla="*/ 49816 h 129"/>
                <a:gd name="T14" fmla="*/ 65279 w 207"/>
                <a:gd name="T15" fmla="*/ 47108 h 129"/>
                <a:gd name="T16" fmla="*/ 74298 w 207"/>
                <a:gd name="T17" fmla="*/ 43859 h 129"/>
                <a:gd name="T18" fmla="*/ 78163 w 207"/>
                <a:gd name="T19" fmla="*/ 41693 h 129"/>
                <a:gd name="T20" fmla="*/ 82029 w 207"/>
                <a:gd name="T21" fmla="*/ 39528 h 129"/>
                <a:gd name="T22" fmla="*/ 85894 w 207"/>
                <a:gd name="T23" fmla="*/ 36279 h 129"/>
                <a:gd name="T24" fmla="*/ 88900 w 207"/>
                <a:gd name="T25" fmla="*/ 33030 h 129"/>
                <a:gd name="T26" fmla="*/ 85035 w 207"/>
                <a:gd name="T27" fmla="*/ 29240 h 129"/>
                <a:gd name="T28" fmla="*/ 80740 w 207"/>
                <a:gd name="T29" fmla="*/ 25449 h 129"/>
                <a:gd name="T30" fmla="*/ 76875 w 207"/>
                <a:gd name="T31" fmla="*/ 22742 h 129"/>
                <a:gd name="T32" fmla="*/ 72580 w 207"/>
                <a:gd name="T33" fmla="*/ 19493 h 129"/>
                <a:gd name="T34" fmla="*/ 64420 w 207"/>
                <a:gd name="T35" fmla="*/ 15703 h 129"/>
                <a:gd name="T36" fmla="*/ 55401 w 207"/>
                <a:gd name="T37" fmla="*/ 12454 h 129"/>
                <a:gd name="T38" fmla="*/ 45953 w 207"/>
                <a:gd name="T39" fmla="*/ 9747 h 129"/>
                <a:gd name="T40" fmla="*/ 36505 w 207"/>
                <a:gd name="T41" fmla="*/ 7039 h 129"/>
                <a:gd name="T42" fmla="*/ 27057 w 207"/>
                <a:gd name="T43" fmla="*/ 3790 h 129"/>
                <a:gd name="T44" fmla="*/ 17608 w 207"/>
                <a:gd name="T45" fmla="*/ 0 h 129"/>
                <a:gd name="T46" fmla="*/ 0 w 207"/>
                <a:gd name="T47" fmla="*/ 0 h 129"/>
                <a:gd name="T48" fmla="*/ 429 w 207"/>
                <a:gd name="T49" fmla="*/ 3249 h 129"/>
                <a:gd name="T50" fmla="*/ 859 w 207"/>
                <a:gd name="T51" fmla="*/ 7039 h 129"/>
                <a:gd name="T52" fmla="*/ 1718 w 207"/>
                <a:gd name="T53" fmla="*/ 10288 h 129"/>
                <a:gd name="T54" fmla="*/ 2577 w 207"/>
                <a:gd name="T55" fmla="*/ 13537 h 129"/>
                <a:gd name="T56" fmla="*/ 4295 w 207"/>
                <a:gd name="T57" fmla="*/ 18952 h 129"/>
                <a:gd name="T58" fmla="*/ 5583 w 207"/>
                <a:gd name="T59" fmla="*/ 24908 h 129"/>
                <a:gd name="T60" fmla="*/ 7301 w 207"/>
                <a:gd name="T61" fmla="*/ 29240 h 129"/>
                <a:gd name="T62" fmla="*/ 7730 w 207"/>
                <a:gd name="T63" fmla="*/ 33571 h 129"/>
                <a:gd name="T64" fmla="*/ 7301 w 207"/>
                <a:gd name="T65" fmla="*/ 35196 h 129"/>
                <a:gd name="T66" fmla="*/ 6013 w 207"/>
                <a:gd name="T67" fmla="*/ 36820 h 129"/>
                <a:gd name="T68" fmla="*/ 4724 w 207"/>
                <a:gd name="T69" fmla="*/ 38445 h 129"/>
                <a:gd name="T70" fmla="*/ 3006 w 207"/>
                <a:gd name="T71" fmla="*/ 39528 h 129"/>
                <a:gd name="T72" fmla="*/ 0 w 207"/>
                <a:gd name="T73" fmla="*/ 56313 h 129"/>
                <a:gd name="T74" fmla="*/ 1718 w 207"/>
                <a:gd name="T75" fmla="*/ 57396 h 129"/>
                <a:gd name="T76" fmla="*/ 5583 w 207"/>
                <a:gd name="T77" fmla="*/ 59562 h 129"/>
                <a:gd name="T78" fmla="*/ 8160 w 207"/>
                <a:gd name="T79" fmla="*/ 61186 h 129"/>
                <a:gd name="T80" fmla="*/ 10737 w 207"/>
                <a:gd name="T81" fmla="*/ 63352 h 129"/>
                <a:gd name="T82" fmla="*/ 14172 w 207"/>
                <a:gd name="T83" fmla="*/ 66060 h 129"/>
                <a:gd name="T84" fmla="*/ 17608 w 207"/>
                <a:gd name="T85" fmla="*/ 6985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0" name="Freeform 218">
              <a:extLst>
                <a:ext uri="{FF2B5EF4-FFF2-40B4-BE49-F238E27FC236}">
                  <a16:creationId xmlns:a16="http://schemas.microsoft.com/office/drawing/2014/main" id="{AC11B0E8-4E2C-4C46-ADE5-4A415F64A18C}"/>
                </a:ext>
              </a:extLst>
            </p:cNvPr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2774181" y="3304519"/>
              <a:ext cx="43235" cy="90281"/>
            </a:xfrm>
            <a:custGeom>
              <a:avLst/>
              <a:gdLst>
                <a:gd name="T0" fmla="*/ 33338 w 72"/>
                <a:gd name="T1" fmla="*/ 0 h 154"/>
                <a:gd name="T2" fmla="*/ 31949 w 72"/>
                <a:gd name="T3" fmla="*/ 2185 h 154"/>
                <a:gd name="T4" fmla="*/ 31023 w 72"/>
                <a:gd name="T5" fmla="*/ 4917 h 154"/>
                <a:gd name="T6" fmla="*/ 30560 w 72"/>
                <a:gd name="T7" fmla="*/ 7102 h 154"/>
                <a:gd name="T8" fmla="*/ 30560 w 72"/>
                <a:gd name="T9" fmla="*/ 9834 h 154"/>
                <a:gd name="T10" fmla="*/ 30560 w 72"/>
                <a:gd name="T11" fmla="*/ 14751 h 154"/>
                <a:gd name="T12" fmla="*/ 30560 w 72"/>
                <a:gd name="T13" fmla="*/ 20215 h 154"/>
                <a:gd name="T14" fmla="*/ 31949 w 72"/>
                <a:gd name="T15" fmla="*/ 23493 h 154"/>
                <a:gd name="T16" fmla="*/ 32875 w 72"/>
                <a:gd name="T17" fmla="*/ 27317 h 154"/>
                <a:gd name="T18" fmla="*/ 32875 w 72"/>
                <a:gd name="T19" fmla="*/ 31142 h 154"/>
                <a:gd name="T20" fmla="*/ 32875 w 72"/>
                <a:gd name="T21" fmla="*/ 35512 h 154"/>
                <a:gd name="T22" fmla="*/ 31949 w 72"/>
                <a:gd name="T23" fmla="*/ 39883 h 154"/>
                <a:gd name="T24" fmla="*/ 31023 w 72"/>
                <a:gd name="T25" fmla="*/ 44800 h 154"/>
                <a:gd name="T26" fmla="*/ 30097 w 72"/>
                <a:gd name="T27" fmla="*/ 49717 h 154"/>
                <a:gd name="T28" fmla="*/ 28245 w 72"/>
                <a:gd name="T29" fmla="*/ 54634 h 154"/>
                <a:gd name="T30" fmla="*/ 24540 w 72"/>
                <a:gd name="T31" fmla="*/ 63376 h 154"/>
                <a:gd name="T32" fmla="*/ 20373 w 72"/>
                <a:gd name="T33" fmla="*/ 71571 h 154"/>
                <a:gd name="T34" fmla="*/ 15743 w 72"/>
                <a:gd name="T35" fmla="*/ 78674 h 154"/>
                <a:gd name="T36" fmla="*/ 12039 w 72"/>
                <a:gd name="T37" fmla="*/ 84137 h 154"/>
                <a:gd name="T38" fmla="*/ 12039 w 72"/>
                <a:gd name="T39" fmla="*/ 77035 h 154"/>
                <a:gd name="T40" fmla="*/ 6945 w 72"/>
                <a:gd name="T41" fmla="*/ 78674 h 154"/>
                <a:gd name="T42" fmla="*/ 0 w 72"/>
                <a:gd name="T43" fmla="*/ 80859 h 154"/>
                <a:gd name="T44" fmla="*/ 1389 w 72"/>
                <a:gd name="T45" fmla="*/ 70478 h 154"/>
                <a:gd name="T46" fmla="*/ 3704 w 72"/>
                <a:gd name="T47" fmla="*/ 57366 h 154"/>
                <a:gd name="T48" fmla="*/ 4167 w 72"/>
                <a:gd name="T49" fmla="*/ 50264 h 154"/>
                <a:gd name="T50" fmla="*/ 5556 w 72"/>
                <a:gd name="T51" fmla="*/ 42069 h 154"/>
                <a:gd name="T52" fmla="*/ 6945 w 72"/>
                <a:gd name="T53" fmla="*/ 34420 h 154"/>
                <a:gd name="T54" fmla="*/ 9261 w 72"/>
                <a:gd name="T55" fmla="*/ 26771 h 154"/>
                <a:gd name="T56" fmla="*/ 9261 w 72"/>
                <a:gd name="T57" fmla="*/ 0 h 154"/>
                <a:gd name="T58" fmla="*/ 11576 w 72"/>
                <a:gd name="T59" fmla="*/ 0 h 154"/>
                <a:gd name="T60" fmla="*/ 17595 w 72"/>
                <a:gd name="T61" fmla="*/ 0 h 154"/>
                <a:gd name="T62" fmla="*/ 25930 w 72"/>
                <a:gd name="T63" fmla="*/ 0 h 154"/>
                <a:gd name="T64" fmla="*/ 33338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1" name="Freeform 219">
              <a:extLst>
                <a:ext uri="{FF2B5EF4-FFF2-40B4-BE49-F238E27FC236}">
                  <a16:creationId xmlns:a16="http://schemas.microsoft.com/office/drawing/2014/main" id="{73922CDA-9D5A-46A5-B592-8F920AA8EEBB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2671243" y="3304519"/>
              <a:ext cx="121468" cy="156716"/>
            </a:xfrm>
            <a:custGeom>
              <a:avLst/>
              <a:gdLst>
                <a:gd name="T0" fmla="*/ 3501 w 214"/>
                <a:gd name="T1" fmla="*/ 111558 h 271"/>
                <a:gd name="T2" fmla="*/ 5252 w 214"/>
                <a:gd name="T3" fmla="*/ 97546 h 271"/>
                <a:gd name="T4" fmla="*/ 10504 w 214"/>
                <a:gd name="T5" fmla="*/ 79762 h 271"/>
                <a:gd name="T6" fmla="*/ 15319 w 214"/>
                <a:gd name="T7" fmla="*/ 63594 h 271"/>
                <a:gd name="T8" fmla="*/ 19258 w 214"/>
                <a:gd name="T9" fmla="*/ 60360 h 271"/>
                <a:gd name="T10" fmla="*/ 28449 w 214"/>
                <a:gd name="T11" fmla="*/ 59821 h 271"/>
                <a:gd name="T12" fmla="*/ 38953 w 214"/>
                <a:gd name="T13" fmla="*/ 59821 h 271"/>
                <a:gd name="T14" fmla="*/ 46394 w 214"/>
                <a:gd name="T15" fmla="*/ 59282 h 271"/>
                <a:gd name="T16" fmla="*/ 52521 w 214"/>
                <a:gd name="T17" fmla="*/ 56588 h 271"/>
                <a:gd name="T18" fmla="*/ 56898 w 214"/>
                <a:gd name="T19" fmla="*/ 50659 h 271"/>
                <a:gd name="T20" fmla="*/ 49458 w 214"/>
                <a:gd name="T21" fmla="*/ 39342 h 271"/>
                <a:gd name="T22" fmla="*/ 37640 w 214"/>
                <a:gd name="T23" fmla="*/ 31258 h 271"/>
                <a:gd name="T24" fmla="*/ 33701 w 214"/>
                <a:gd name="T25" fmla="*/ 26408 h 271"/>
                <a:gd name="T26" fmla="*/ 32388 w 214"/>
                <a:gd name="T27" fmla="*/ 22096 h 271"/>
                <a:gd name="T28" fmla="*/ 32826 w 214"/>
                <a:gd name="T29" fmla="*/ 18324 h 271"/>
                <a:gd name="T30" fmla="*/ 35890 w 214"/>
                <a:gd name="T31" fmla="*/ 15090 h 271"/>
                <a:gd name="T32" fmla="*/ 44205 w 214"/>
                <a:gd name="T33" fmla="*/ 10240 h 271"/>
                <a:gd name="T34" fmla="*/ 65652 w 214"/>
                <a:gd name="T35" fmla="*/ 1617 h 271"/>
                <a:gd name="T36" fmla="*/ 78782 w 214"/>
                <a:gd name="T37" fmla="*/ 0 h 271"/>
                <a:gd name="T38" fmla="*/ 86660 w 214"/>
                <a:gd name="T39" fmla="*/ 0 h 271"/>
                <a:gd name="T40" fmla="*/ 90599 w 214"/>
                <a:gd name="T41" fmla="*/ 26408 h 271"/>
                <a:gd name="T42" fmla="*/ 87098 w 214"/>
                <a:gd name="T43" fmla="*/ 41498 h 271"/>
                <a:gd name="T44" fmla="*/ 85347 w 214"/>
                <a:gd name="T45" fmla="*/ 56588 h 271"/>
                <a:gd name="T46" fmla="*/ 81846 w 214"/>
                <a:gd name="T47" fmla="*/ 79762 h 271"/>
                <a:gd name="T48" fmla="*/ 93225 w 214"/>
                <a:gd name="T49" fmla="*/ 82995 h 271"/>
                <a:gd name="T50" fmla="*/ 93663 w 214"/>
                <a:gd name="T51" fmla="*/ 89462 h 271"/>
                <a:gd name="T52" fmla="*/ 91912 w 214"/>
                <a:gd name="T53" fmla="*/ 93774 h 271"/>
                <a:gd name="T54" fmla="*/ 90599 w 214"/>
                <a:gd name="T55" fmla="*/ 95391 h 271"/>
                <a:gd name="T56" fmla="*/ 87536 w 214"/>
                <a:gd name="T57" fmla="*/ 95930 h 271"/>
                <a:gd name="T58" fmla="*/ 84034 w 214"/>
                <a:gd name="T59" fmla="*/ 105630 h 271"/>
                <a:gd name="T60" fmla="*/ 79220 w 214"/>
                <a:gd name="T61" fmla="*/ 115331 h 271"/>
                <a:gd name="T62" fmla="*/ 67840 w 214"/>
                <a:gd name="T63" fmla="*/ 130960 h 271"/>
                <a:gd name="T64" fmla="*/ 52521 w 214"/>
                <a:gd name="T65" fmla="*/ 146050 h 271"/>
                <a:gd name="T66" fmla="*/ 38078 w 214"/>
                <a:gd name="T67" fmla="*/ 140661 h 271"/>
                <a:gd name="T68" fmla="*/ 24072 w 214"/>
                <a:gd name="T69" fmla="*/ 133655 h 271"/>
                <a:gd name="T70" fmla="*/ 0 w 214"/>
                <a:gd name="T71" fmla="*/ 119104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2" name="Freeform 220">
              <a:extLst>
                <a:ext uri="{FF2B5EF4-FFF2-40B4-BE49-F238E27FC236}">
                  <a16:creationId xmlns:a16="http://schemas.microsoft.com/office/drawing/2014/main" id="{F258E4A8-8E5F-410B-BC94-D546D8616E80}"/>
                </a:ext>
              </a:extLst>
            </p:cNvPr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2733006" y="3423758"/>
              <a:ext cx="92645" cy="61324"/>
            </a:xfrm>
            <a:custGeom>
              <a:avLst/>
              <a:gdLst>
                <a:gd name="T0" fmla="*/ 28015 w 153"/>
                <a:gd name="T1" fmla="*/ 0 h 80"/>
                <a:gd name="T2" fmla="*/ 38754 w 153"/>
                <a:gd name="T3" fmla="*/ 10001 h 80"/>
                <a:gd name="T4" fmla="*/ 48559 w 153"/>
                <a:gd name="T5" fmla="*/ 17145 h 80"/>
                <a:gd name="T6" fmla="*/ 53695 w 153"/>
                <a:gd name="T7" fmla="*/ 20003 h 80"/>
                <a:gd name="T8" fmla="*/ 58831 w 153"/>
                <a:gd name="T9" fmla="*/ 22146 h 80"/>
                <a:gd name="T10" fmla="*/ 62100 w 153"/>
                <a:gd name="T11" fmla="*/ 22860 h 80"/>
                <a:gd name="T12" fmla="*/ 64901 w 153"/>
                <a:gd name="T13" fmla="*/ 22860 h 80"/>
                <a:gd name="T14" fmla="*/ 68170 w 153"/>
                <a:gd name="T15" fmla="*/ 22146 h 80"/>
                <a:gd name="T16" fmla="*/ 71438 w 153"/>
                <a:gd name="T17" fmla="*/ 21431 h 80"/>
                <a:gd name="T18" fmla="*/ 71438 w 153"/>
                <a:gd name="T19" fmla="*/ 40005 h 80"/>
                <a:gd name="T20" fmla="*/ 69570 w 153"/>
                <a:gd name="T21" fmla="*/ 42863 h 80"/>
                <a:gd name="T22" fmla="*/ 67703 w 153"/>
                <a:gd name="T23" fmla="*/ 46434 h 80"/>
                <a:gd name="T24" fmla="*/ 64434 w 153"/>
                <a:gd name="T25" fmla="*/ 49292 h 80"/>
                <a:gd name="T26" fmla="*/ 61633 w 153"/>
                <a:gd name="T27" fmla="*/ 51435 h 80"/>
                <a:gd name="T28" fmla="*/ 58364 w 153"/>
                <a:gd name="T29" fmla="*/ 53578 h 80"/>
                <a:gd name="T30" fmla="*/ 55563 w 153"/>
                <a:gd name="T31" fmla="*/ 55721 h 80"/>
                <a:gd name="T32" fmla="*/ 52294 w 153"/>
                <a:gd name="T33" fmla="*/ 56436 h 80"/>
                <a:gd name="T34" fmla="*/ 49493 w 153"/>
                <a:gd name="T35" fmla="*/ 57150 h 80"/>
                <a:gd name="T36" fmla="*/ 42022 w 153"/>
                <a:gd name="T37" fmla="*/ 52864 h 80"/>
                <a:gd name="T38" fmla="*/ 35486 w 153"/>
                <a:gd name="T39" fmla="*/ 50721 h 80"/>
                <a:gd name="T40" fmla="*/ 29416 w 153"/>
                <a:gd name="T41" fmla="*/ 49292 h 80"/>
                <a:gd name="T42" fmla="*/ 23346 w 153"/>
                <a:gd name="T43" fmla="*/ 49292 h 80"/>
                <a:gd name="T44" fmla="*/ 18210 w 153"/>
                <a:gd name="T45" fmla="*/ 48578 h 80"/>
                <a:gd name="T46" fmla="*/ 12607 w 153"/>
                <a:gd name="T47" fmla="*/ 47863 h 80"/>
                <a:gd name="T48" fmla="*/ 6537 w 153"/>
                <a:gd name="T49" fmla="*/ 46434 h 80"/>
                <a:gd name="T50" fmla="*/ 0 w 153"/>
                <a:gd name="T51" fmla="*/ 44291 h 80"/>
                <a:gd name="T52" fmla="*/ 3268 w 153"/>
                <a:gd name="T53" fmla="*/ 41434 h 80"/>
                <a:gd name="T54" fmla="*/ 10739 w 153"/>
                <a:gd name="T55" fmla="*/ 32147 h 80"/>
                <a:gd name="T56" fmla="*/ 15875 w 153"/>
                <a:gd name="T57" fmla="*/ 26432 h 80"/>
                <a:gd name="T58" fmla="*/ 21011 w 153"/>
                <a:gd name="T59" fmla="*/ 20003 h 80"/>
                <a:gd name="T60" fmla="*/ 26147 w 153"/>
                <a:gd name="T61" fmla="*/ 12144 h 80"/>
                <a:gd name="T62" fmla="*/ 31283 w 153"/>
                <a:gd name="T63" fmla="*/ 4286 h 80"/>
                <a:gd name="T64" fmla="*/ 2801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3" name="Freeform 221">
              <a:extLst>
                <a:ext uri="{FF2B5EF4-FFF2-40B4-BE49-F238E27FC236}">
                  <a16:creationId xmlns:a16="http://schemas.microsoft.com/office/drawing/2014/main" id="{659C04E0-308A-4D36-BFC5-3758673112E2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2774181" y="3382877"/>
              <a:ext cx="185289" cy="93688"/>
            </a:xfrm>
            <a:custGeom>
              <a:avLst/>
              <a:gdLst>
                <a:gd name="T0" fmla="*/ 0 w 332"/>
                <a:gd name="T1" fmla="*/ 39781 h 169"/>
                <a:gd name="T2" fmla="*/ 18935 w 332"/>
                <a:gd name="T3" fmla="*/ 52181 h 169"/>
                <a:gd name="T4" fmla="*/ 28403 w 332"/>
                <a:gd name="T5" fmla="*/ 55797 h 169"/>
                <a:gd name="T6" fmla="*/ 33997 w 332"/>
                <a:gd name="T7" fmla="*/ 56314 h 169"/>
                <a:gd name="T8" fmla="*/ 40022 w 332"/>
                <a:gd name="T9" fmla="*/ 55280 h 169"/>
                <a:gd name="T10" fmla="*/ 38731 w 332"/>
                <a:gd name="T11" fmla="*/ 74396 h 169"/>
                <a:gd name="T12" fmla="*/ 40883 w 332"/>
                <a:gd name="T13" fmla="*/ 79562 h 169"/>
                <a:gd name="T14" fmla="*/ 42604 w 332"/>
                <a:gd name="T15" fmla="*/ 84212 h 169"/>
                <a:gd name="T16" fmla="*/ 46047 w 332"/>
                <a:gd name="T17" fmla="*/ 86795 h 169"/>
                <a:gd name="T18" fmla="*/ 50351 w 332"/>
                <a:gd name="T19" fmla="*/ 87312 h 169"/>
                <a:gd name="T20" fmla="*/ 52933 w 332"/>
                <a:gd name="T21" fmla="*/ 85762 h 169"/>
                <a:gd name="T22" fmla="*/ 56806 w 332"/>
                <a:gd name="T23" fmla="*/ 81112 h 169"/>
                <a:gd name="T24" fmla="*/ 62831 w 332"/>
                <a:gd name="T25" fmla="*/ 70263 h 169"/>
                <a:gd name="T26" fmla="*/ 74880 w 332"/>
                <a:gd name="T27" fmla="*/ 59413 h 169"/>
                <a:gd name="T28" fmla="*/ 92094 w 332"/>
                <a:gd name="T29" fmla="*/ 49597 h 169"/>
                <a:gd name="T30" fmla="*/ 110169 w 332"/>
                <a:gd name="T31" fmla="*/ 41331 h 169"/>
                <a:gd name="T32" fmla="*/ 130825 w 332"/>
                <a:gd name="T33" fmla="*/ 33582 h 169"/>
                <a:gd name="T34" fmla="*/ 142875 w 332"/>
                <a:gd name="T35" fmla="*/ 23765 h 169"/>
                <a:gd name="T36" fmla="*/ 142875 w 332"/>
                <a:gd name="T37" fmla="*/ 11366 h 169"/>
                <a:gd name="T38" fmla="*/ 137711 w 332"/>
                <a:gd name="T39" fmla="*/ 1033 h 169"/>
                <a:gd name="T40" fmla="*/ 121788 w 332"/>
                <a:gd name="T41" fmla="*/ 517 h 169"/>
                <a:gd name="T42" fmla="*/ 100701 w 332"/>
                <a:gd name="T43" fmla="*/ 0 h 169"/>
                <a:gd name="T44" fmla="*/ 77462 w 332"/>
                <a:gd name="T45" fmla="*/ 517 h 169"/>
                <a:gd name="T46" fmla="*/ 56375 w 332"/>
                <a:gd name="T47" fmla="*/ 2067 h 169"/>
                <a:gd name="T48" fmla="*/ 38731 w 332"/>
                <a:gd name="T49" fmla="*/ 5166 h 169"/>
                <a:gd name="T50" fmla="*/ 25390 w 332"/>
                <a:gd name="T51" fmla="*/ 9816 h 169"/>
                <a:gd name="T52" fmla="*/ 18075 w 332"/>
                <a:gd name="T53" fmla="*/ 11366 h 169"/>
                <a:gd name="T54" fmla="*/ 15062 w 332"/>
                <a:gd name="T55" fmla="*/ 11883 h 169"/>
                <a:gd name="T56" fmla="*/ 14632 w 332"/>
                <a:gd name="T57" fmla="*/ 13433 h 169"/>
                <a:gd name="T58" fmla="*/ 14201 w 332"/>
                <a:gd name="T59" fmla="*/ 19632 h 169"/>
                <a:gd name="T60" fmla="*/ 12480 w 332"/>
                <a:gd name="T61" fmla="*/ 22732 h 169"/>
                <a:gd name="T62" fmla="*/ 9898 w 332"/>
                <a:gd name="T63" fmla="*/ 23765 h 169"/>
                <a:gd name="T64" fmla="*/ 8177 w 332"/>
                <a:gd name="T65" fmla="*/ 28415 h 169"/>
                <a:gd name="T66" fmla="*/ 4734 w 332"/>
                <a:gd name="T67" fmla="*/ 37198 h 169"/>
                <a:gd name="T68" fmla="*/ 3012 w 332"/>
                <a:gd name="T69" fmla="*/ 42881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4" name="Freeform 222">
              <a:extLst>
                <a:ext uri="{FF2B5EF4-FFF2-40B4-BE49-F238E27FC236}">
                  <a16:creationId xmlns:a16="http://schemas.microsoft.com/office/drawing/2014/main" id="{265405DF-AB58-4C73-A5BF-43988A74A7D9}"/>
                </a:ext>
              </a:extLst>
            </p:cNvPr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2796828" y="3415240"/>
              <a:ext cx="162642" cy="131164"/>
            </a:xfrm>
            <a:custGeom>
              <a:avLst/>
              <a:gdLst>
                <a:gd name="T0" fmla="*/ 19294 w 286"/>
                <a:gd name="T1" fmla="*/ 44734 h 235"/>
                <a:gd name="T2" fmla="*/ 21487 w 286"/>
                <a:gd name="T3" fmla="*/ 49936 h 235"/>
                <a:gd name="T4" fmla="*/ 23241 w 286"/>
                <a:gd name="T5" fmla="*/ 54617 h 235"/>
                <a:gd name="T6" fmla="*/ 26749 w 286"/>
                <a:gd name="T7" fmla="*/ 57218 h 235"/>
                <a:gd name="T8" fmla="*/ 31134 w 286"/>
                <a:gd name="T9" fmla="*/ 57738 h 235"/>
                <a:gd name="T10" fmla="*/ 33765 w 286"/>
                <a:gd name="T11" fmla="*/ 56177 h 235"/>
                <a:gd name="T12" fmla="*/ 37711 w 286"/>
                <a:gd name="T13" fmla="*/ 51496 h 235"/>
                <a:gd name="T14" fmla="*/ 43850 w 286"/>
                <a:gd name="T15" fmla="*/ 40573 h 235"/>
                <a:gd name="T16" fmla="*/ 56128 w 286"/>
                <a:gd name="T17" fmla="*/ 29649 h 235"/>
                <a:gd name="T18" fmla="*/ 73669 w 286"/>
                <a:gd name="T19" fmla="*/ 19766 h 235"/>
                <a:gd name="T20" fmla="*/ 92086 w 286"/>
                <a:gd name="T21" fmla="*/ 11444 h 235"/>
                <a:gd name="T22" fmla="*/ 113134 w 286"/>
                <a:gd name="T23" fmla="*/ 3641 h 235"/>
                <a:gd name="T24" fmla="*/ 125412 w 286"/>
                <a:gd name="T25" fmla="*/ 5722 h 235"/>
                <a:gd name="T26" fmla="*/ 123658 w 286"/>
                <a:gd name="T27" fmla="*/ 16645 h 235"/>
                <a:gd name="T28" fmla="*/ 119273 w 286"/>
                <a:gd name="T29" fmla="*/ 36411 h 235"/>
                <a:gd name="T30" fmla="*/ 111380 w 286"/>
                <a:gd name="T31" fmla="*/ 66581 h 235"/>
                <a:gd name="T32" fmla="*/ 106995 w 286"/>
                <a:gd name="T33" fmla="*/ 90508 h 235"/>
                <a:gd name="T34" fmla="*/ 105241 w 286"/>
                <a:gd name="T35" fmla="*/ 107153 h 235"/>
                <a:gd name="T36" fmla="*/ 64022 w 286"/>
                <a:gd name="T37" fmla="*/ 112355 h 235"/>
                <a:gd name="T38" fmla="*/ 60513 w 286"/>
                <a:gd name="T39" fmla="*/ 113395 h 235"/>
                <a:gd name="T40" fmla="*/ 57882 w 286"/>
                <a:gd name="T41" fmla="*/ 115996 h 235"/>
                <a:gd name="T42" fmla="*/ 55690 w 286"/>
                <a:gd name="T43" fmla="*/ 122238 h 235"/>
                <a:gd name="T44" fmla="*/ 47797 w 286"/>
                <a:gd name="T45" fmla="*/ 112875 h 235"/>
                <a:gd name="T46" fmla="*/ 41219 w 286"/>
                <a:gd name="T47" fmla="*/ 103512 h 235"/>
                <a:gd name="T48" fmla="*/ 30257 w 286"/>
                <a:gd name="T49" fmla="*/ 83226 h 235"/>
                <a:gd name="T50" fmla="*/ 24118 w 286"/>
                <a:gd name="T51" fmla="*/ 73863 h 235"/>
                <a:gd name="T52" fmla="*/ 17979 w 286"/>
                <a:gd name="T53" fmla="*/ 65020 h 235"/>
                <a:gd name="T54" fmla="*/ 9647 w 286"/>
                <a:gd name="T55" fmla="*/ 57218 h 235"/>
                <a:gd name="T56" fmla="*/ 0 w 286"/>
                <a:gd name="T57" fmla="*/ 51496 h 235"/>
                <a:gd name="T58" fmla="*/ 5701 w 286"/>
                <a:gd name="T59" fmla="*/ 50456 h 235"/>
                <a:gd name="T60" fmla="*/ 11401 w 286"/>
                <a:gd name="T61" fmla="*/ 47335 h 235"/>
                <a:gd name="T62" fmla="*/ 17102 w 286"/>
                <a:gd name="T63" fmla="*/ 43694 h 235"/>
                <a:gd name="T64" fmla="*/ 20610 w 286"/>
                <a:gd name="T65" fmla="*/ 39012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5" name="Freeform 223">
              <a:extLst>
                <a:ext uri="{FF2B5EF4-FFF2-40B4-BE49-F238E27FC236}">
                  <a16:creationId xmlns:a16="http://schemas.microsoft.com/office/drawing/2014/main" id="{DC9C45CB-0DDD-41C2-94CE-9C24505DDB89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2862709" y="3536185"/>
              <a:ext cx="109114" cy="107315"/>
            </a:xfrm>
            <a:custGeom>
              <a:avLst/>
              <a:gdLst>
                <a:gd name="T0" fmla="*/ 77160 w 205"/>
                <a:gd name="T1" fmla="*/ 96870 h 191"/>
                <a:gd name="T2" fmla="*/ 71824 w 205"/>
                <a:gd name="T3" fmla="*/ 96870 h 191"/>
                <a:gd name="T4" fmla="*/ 64847 w 205"/>
                <a:gd name="T5" fmla="*/ 96870 h 191"/>
                <a:gd name="T6" fmla="*/ 59101 w 205"/>
                <a:gd name="T7" fmla="*/ 94252 h 191"/>
                <a:gd name="T8" fmla="*/ 55818 w 205"/>
                <a:gd name="T9" fmla="*/ 90587 h 191"/>
                <a:gd name="T10" fmla="*/ 52945 w 205"/>
                <a:gd name="T11" fmla="*/ 85351 h 191"/>
                <a:gd name="T12" fmla="*/ 49251 w 205"/>
                <a:gd name="T13" fmla="*/ 76973 h 191"/>
                <a:gd name="T14" fmla="*/ 45147 w 205"/>
                <a:gd name="T15" fmla="*/ 68595 h 191"/>
                <a:gd name="T16" fmla="*/ 40632 w 205"/>
                <a:gd name="T17" fmla="*/ 63358 h 191"/>
                <a:gd name="T18" fmla="*/ 38169 w 205"/>
                <a:gd name="T19" fmla="*/ 65977 h 191"/>
                <a:gd name="T20" fmla="*/ 36938 w 205"/>
                <a:gd name="T21" fmla="*/ 70689 h 191"/>
                <a:gd name="T22" fmla="*/ 34476 w 205"/>
                <a:gd name="T23" fmla="*/ 68071 h 191"/>
                <a:gd name="T24" fmla="*/ 29551 w 205"/>
                <a:gd name="T25" fmla="*/ 59169 h 191"/>
                <a:gd name="T26" fmla="*/ 22984 w 205"/>
                <a:gd name="T27" fmla="*/ 45555 h 191"/>
                <a:gd name="T28" fmla="*/ 16827 w 205"/>
                <a:gd name="T29" fmla="*/ 35083 h 191"/>
                <a:gd name="T30" fmla="*/ 12723 w 205"/>
                <a:gd name="T31" fmla="*/ 30370 h 191"/>
                <a:gd name="T32" fmla="*/ 10671 w 205"/>
                <a:gd name="T33" fmla="*/ 31417 h 191"/>
                <a:gd name="T34" fmla="*/ 11902 w 205"/>
                <a:gd name="T35" fmla="*/ 36130 h 191"/>
                <a:gd name="T36" fmla="*/ 13954 w 205"/>
                <a:gd name="T37" fmla="*/ 40843 h 191"/>
                <a:gd name="T38" fmla="*/ 16827 w 205"/>
                <a:gd name="T39" fmla="*/ 43984 h 191"/>
                <a:gd name="T40" fmla="*/ 18880 w 205"/>
                <a:gd name="T41" fmla="*/ 54980 h 191"/>
                <a:gd name="T42" fmla="*/ 5336 w 205"/>
                <a:gd name="T43" fmla="*/ 51315 h 191"/>
                <a:gd name="T44" fmla="*/ 1642 w 205"/>
                <a:gd name="T45" fmla="*/ 43984 h 191"/>
                <a:gd name="T46" fmla="*/ 0 w 205"/>
                <a:gd name="T47" fmla="*/ 31417 h 191"/>
                <a:gd name="T48" fmla="*/ 0 w 205"/>
                <a:gd name="T49" fmla="*/ 19898 h 191"/>
                <a:gd name="T50" fmla="*/ 1231 w 205"/>
                <a:gd name="T51" fmla="*/ 14661 h 191"/>
                <a:gd name="T52" fmla="*/ 3283 w 205"/>
                <a:gd name="T53" fmla="*/ 11520 h 191"/>
                <a:gd name="T54" fmla="*/ 5746 w 205"/>
                <a:gd name="T55" fmla="*/ 6807 h 191"/>
                <a:gd name="T56" fmla="*/ 8208 w 205"/>
                <a:gd name="T57" fmla="*/ 2094 h 191"/>
                <a:gd name="T58" fmla="*/ 11492 w 205"/>
                <a:gd name="T59" fmla="*/ 0 h 191"/>
                <a:gd name="T60" fmla="*/ 51713 w 205"/>
                <a:gd name="T61" fmla="*/ 3142 h 191"/>
                <a:gd name="T62" fmla="*/ 52124 w 205"/>
                <a:gd name="T63" fmla="*/ 10996 h 191"/>
                <a:gd name="T64" fmla="*/ 53355 w 205"/>
                <a:gd name="T65" fmla="*/ 19374 h 191"/>
                <a:gd name="T66" fmla="*/ 58691 w 205"/>
                <a:gd name="T67" fmla="*/ 36654 h 191"/>
                <a:gd name="T68" fmla="*/ 67720 w 205"/>
                <a:gd name="T69" fmla="*/ 53410 h 191"/>
                <a:gd name="T70" fmla="*/ 72645 w 205"/>
                <a:gd name="T71" fmla="*/ 61264 h 191"/>
                <a:gd name="T72" fmla="*/ 78801 w 205"/>
                <a:gd name="T73" fmla="*/ 68071 h 191"/>
                <a:gd name="T74" fmla="*/ 77570 w 205"/>
                <a:gd name="T75" fmla="*/ 74878 h 191"/>
                <a:gd name="T76" fmla="*/ 77570 w 205"/>
                <a:gd name="T77" fmla="*/ 81685 h 191"/>
                <a:gd name="T78" fmla="*/ 78801 w 205"/>
                <a:gd name="T79" fmla="*/ 100012 h 191"/>
                <a:gd name="T80" fmla="*/ 84137 w 205"/>
                <a:gd name="T81" fmla="*/ 96870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6" name="Freeform 224">
              <a:extLst>
                <a:ext uri="{FF2B5EF4-FFF2-40B4-BE49-F238E27FC236}">
                  <a16:creationId xmlns:a16="http://schemas.microsoft.com/office/drawing/2014/main" id="{37A6616E-DA18-4B64-B9C2-A20EF8A06279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2967705" y="3594101"/>
              <a:ext cx="185289" cy="85172"/>
            </a:xfrm>
            <a:custGeom>
              <a:avLst/>
              <a:gdLst>
                <a:gd name="T0" fmla="*/ 1303 w 329"/>
                <a:gd name="T1" fmla="*/ 29894 h 154"/>
                <a:gd name="T2" fmla="*/ 0 w 329"/>
                <a:gd name="T3" fmla="*/ 21648 h 154"/>
                <a:gd name="T4" fmla="*/ 869 w 329"/>
                <a:gd name="T5" fmla="*/ 15978 h 154"/>
                <a:gd name="T6" fmla="*/ 7383 w 329"/>
                <a:gd name="T7" fmla="*/ 17009 h 154"/>
                <a:gd name="T8" fmla="*/ 15634 w 329"/>
                <a:gd name="T9" fmla="*/ 21132 h 154"/>
                <a:gd name="T10" fmla="*/ 21279 w 329"/>
                <a:gd name="T11" fmla="*/ 22163 h 154"/>
                <a:gd name="T12" fmla="*/ 29096 w 329"/>
                <a:gd name="T13" fmla="*/ 22163 h 154"/>
                <a:gd name="T14" fmla="*/ 37347 w 329"/>
                <a:gd name="T15" fmla="*/ 20101 h 154"/>
                <a:gd name="T16" fmla="*/ 47770 w 329"/>
                <a:gd name="T17" fmla="*/ 15463 h 154"/>
                <a:gd name="T18" fmla="*/ 60798 w 329"/>
                <a:gd name="T19" fmla="*/ 6700 h 154"/>
                <a:gd name="T20" fmla="*/ 70352 w 329"/>
                <a:gd name="T21" fmla="*/ 2062 h 154"/>
                <a:gd name="T22" fmla="*/ 77734 w 329"/>
                <a:gd name="T23" fmla="*/ 0 h 154"/>
                <a:gd name="T24" fmla="*/ 88157 w 329"/>
                <a:gd name="T25" fmla="*/ 0 h 154"/>
                <a:gd name="T26" fmla="*/ 97277 w 329"/>
                <a:gd name="T27" fmla="*/ 3093 h 154"/>
                <a:gd name="T28" fmla="*/ 105528 w 329"/>
                <a:gd name="T29" fmla="*/ 7731 h 154"/>
                <a:gd name="T30" fmla="*/ 112476 w 329"/>
                <a:gd name="T31" fmla="*/ 14432 h 154"/>
                <a:gd name="T32" fmla="*/ 121596 w 329"/>
                <a:gd name="T33" fmla="*/ 23709 h 154"/>
                <a:gd name="T34" fmla="*/ 131150 w 329"/>
                <a:gd name="T35" fmla="*/ 31441 h 154"/>
                <a:gd name="T36" fmla="*/ 138532 w 329"/>
                <a:gd name="T37" fmla="*/ 34533 h 154"/>
                <a:gd name="T38" fmla="*/ 135927 w 329"/>
                <a:gd name="T39" fmla="*/ 42265 h 154"/>
                <a:gd name="T40" fmla="*/ 127241 w 329"/>
                <a:gd name="T41" fmla="*/ 54635 h 154"/>
                <a:gd name="T42" fmla="*/ 120293 w 329"/>
                <a:gd name="T43" fmla="*/ 71128 h 154"/>
                <a:gd name="T44" fmla="*/ 115082 w 329"/>
                <a:gd name="T45" fmla="*/ 78860 h 154"/>
                <a:gd name="T46" fmla="*/ 109870 w 329"/>
                <a:gd name="T47" fmla="*/ 75252 h 154"/>
                <a:gd name="T48" fmla="*/ 104225 w 329"/>
                <a:gd name="T49" fmla="*/ 70097 h 154"/>
                <a:gd name="T50" fmla="*/ 99882 w 329"/>
                <a:gd name="T51" fmla="*/ 64943 h 154"/>
                <a:gd name="T52" fmla="*/ 99882 w 329"/>
                <a:gd name="T53" fmla="*/ 58758 h 154"/>
                <a:gd name="T54" fmla="*/ 102054 w 329"/>
                <a:gd name="T55" fmla="*/ 51542 h 154"/>
                <a:gd name="T56" fmla="*/ 108133 w 329"/>
                <a:gd name="T57" fmla="*/ 44326 h 154"/>
                <a:gd name="T58" fmla="*/ 101185 w 329"/>
                <a:gd name="T59" fmla="*/ 35049 h 154"/>
                <a:gd name="T60" fmla="*/ 89894 w 329"/>
                <a:gd name="T61" fmla="*/ 28348 h 154"/>
                <a:gd name="T62" fmla="*/ 84683 w 329"/>
                <a:gd name="T63" fmla="*/ 21132 h 154"/>
                <a:gd name="T64" fmla="*/ 77734 w 329"/>
                <a:gd name="T65" fmla="*/ 17524 h 154"/>
                <a:gd name="T66" fmla="*/ 70786 w 329"/>
                <a:gd name="T67" fmla="*/ 21132 h 154"/>
                <a:gd name="T68" fmla="*/ 65141 w 329"/>
                <a:gd name="T69" fmla="*/ 25771 h 154"/>
                <a:gd name="T70" fmla="*/ 60798 w 329"/>
                <a:gd name="T71" fmla="*/ 31441 h 154"/>
                <a:gd name="T72" fmla="*/ 57324 w 329"/>
                <a:gd name="T73" fmla="*/ 38141 h 154"/>
                <a:gd name="T74" fmla="*/ 55587 w 329"/>
                <a:gd name="T75" fmla="*/ 45357 h 154"/>
                <a:gd name="T76" fmla="*/ 53415 w 329"/>
                <a:gd name="T77" fmla="*/ 56181 h 154"/>
                <a:gd name="T78" fmla="*/ 52981 w 329"/>
                <a:gd name="T79" fmla="*/ 64428 h 154"/>
                <a:gd name="T80" fmla="*/ 51244 w 329"/>
                <a:gd name="T81" fmla="*/ 66489 h 154"/>
                <a:gd name="T82" fmla="*/ 46901 w 329"/>
                <a:gd name="T83" fmla="*/ 69582 h 154"/>
                <a:gd name="T84" fmla="*/ 41690 w 329"/>
                <a:gd name="T85" fmla="*/ 69582 h 154"/>
                <a:gd name="T86" fmla="*/ 36044 w 329"/>
                <a:gd name="T87" fmla="*/ 66489 h 154"/>
                <a:gd name="T88" fmla="*/ 28662 w 329"/>
                <a:gd name="T89" fmla="*/ 59789 h 154"/>
                <a:gd name="T90" fmla="*/ 20845 w 329"/>
                <a:gd name="T91" fmla="*/ 48450 h 154"/>
                <a:gd name="T92" fmla="*/ 14331 w 329"/>
                <a:gd name="T93" fmla="*/ 41234 h 154"/>
                <a:gd name="T94" fmla="*/ 9554 w 329"/>
                <a:gd name="T95" fmla="*/ 38141 h 154"/>
                <a:gd name="T96" fmla="*/ 1303 w 329"/>
                <a:gd name="T97" fmla="*/ 37626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7" name="Freeform 225">
              <a:extLst>
                <a:ext uri="{FF2B5EF4-FFF2-40B4-BE49-F238E27FC236}">
                  <a16:creationId xmlns:a16="http://schemas.microsoft.com/office/drawing/2014/main" id="{4F2618AF-B45C-4609-ACD3-A2BA8B47948C}"/>
                </a:ext>
              </a:extLst>
            </p:cNvPr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3850915" y="4939809"/>
              <a:ext cx="172936" cy="166936"/>
            </a:xfrm>
            <a:custGeom>
              <a:avLst/>
              <a:gdLst>
                <a:gd name="T0" fmla="*/ 129428 w 306"/>
                <a:gd name="T1" fmla="*/ 96106 h 293"/>
                <a:gd name="T2" fmla="*/ 128992 w 306"/>
                <a:gd name="T3" fmla="*/ 98230 h 293"/>
                <a:gd name="T4" fmla="*/ 126813 w 306"/>
                <a:gd name="T5" fmla="*/ 103009 h 293"/>
                <a:gd name="T6" fmla="*/ 122891 w 306"/>
                <a:gd name="T7" fmla="*/ 105664 h 293"/>
                <a:gd name="T8" fmla="*/ 118533 w 306"/>
                <a:gd name="T9" fmla="*/ 106726 h 293"/>
                <a:gd name="T10" fmla="*/ 114611 w 306"/>
                <a:gd name="T11" fmla="*/ 109911 h 293"/>
                <a:gd name="T12" fmla="*/ 110253 w 306"/>
                <a:gd name="T13" fmla="*/ 121593 h 293"/>
                <a:gd name="T14" fmla="*/ 105460 w 306"/>
                <a:gd name="T15" fmla="*/ 134867 h 293"/>
                <a:gd name="T16" fmla="*/ 100666 w 306"/>
                <a:gd name="T17" fmla="*/ 141770 h 293"/>
                <a:gd name="T18" fmla="*/ 96308 w 306"/>
                <a:gd name="T19" fmla="*/ 144956 h 293"/>
                <a:gd name="T20" fmla="*/ 87157 w 306"/>
                <a:gd name="T21" fmla="*/ 149203 h 293"/>
                <a:gd name="T22" fmla="*/ 71469 w 306"/>
                <a:gd name="T23" fmla="*/ 153982 h 293"/>
                <a:gd name="T24" fmla="*/ 60574 w 306"/>
                <a:gd name="T25" fmla="*/ 155575 h 293"/>
                <a:gd name="T26" fmla="*/ 53601 w 306"/>
                <a:gd name="T27" fmla="*/ 155575 h 293"/>
                <a:gd name="T28" fmla="*/ 46193 w 306"/>
                <a:gd name="T29" fmla="*/ 153982 h 293"/>
                <a:gd name="T30" fmla="*/ 40092 w 306"/>
                <a:gd name="T31" fmla="*/ 151858 h 293"/>
                <a:gd name="T32" fmla="*/ 34863 w 306"/>
                <a:gd name="T33" fmla="*/ 147610 h 293"/>
                <a:gd name="T34" fmla="*/ 30941 w 306"/>
                <a:gd name="T35" fmla="*/ 142301 h 293"/>
                <a:gd name="T36" fmla="*/ 436 w 306"/>
                <a:gd name="T37" fmla="*/ 125310 h 293"/>
                <a:gd name="T38" fmla="*/ 0 w 306"/>
                <a:gd name="T39" fmla="*/ 46726 h 293"/>
                <a:gd name="T40" fmla="*/ 436 w 306"/>
                <a:gd name="T41" fmla="*/ 26018 h 293"/>
                <a:gd name="T42" fmla="*/ 1743 w 306"/>
                <a:gd name="T43" fmla="*/ 18584 h 293"/>
                <a:gd name="T44" fmla="*/ 4794 w 306"/>
                <a:gd name="T45" fmla="*/ 11150 h 293"/>
                <a:gd name="T46" fmla="*/ 8716 w 306"/>
                <a:gd name="T47" fmla="*/ 4248 h 293"/>
                <a:gd name="T48" fmla="*/ 17867 w 306"/>
                <a:gd name="T49" fmla="*/ 1062 h 293"/>
                <a:gd name="T50" fmla="*/ 23097 w 306"/>
                <a:gd name="T51" fmla="*/ 0 h 293"/>
                <a:gd name="T52" fmla="*/ 31376 w 306"/>
                <a:gd name="T53" fmla="*/ 3186 h 293"/>
                <a:gd name="T54" fmla="*/ 34863 w 306"/>
                <a:gd name="T55" fmla="*/ 3717 h 293"/>
                <a:gd name="T56" fmla="*/ 36606 w 306"/>
                <a:gd name="T57" fmla="*/ 2124 h 293"/>
                <a:gd name="T58" fmla="*/ 37913 w 306"/>
                <a:gd name="T59" fmla="*/ 2655 h 293"/>
                <a:gd name="T60" fmla="*/ 39221 w 306"/>
                <a:gd name="T61" fmla="*/ 5841 h 293"/>
                <a:gd name="T62" fmla="*/ 43143 w 306"/>
                <a:gd name="T63" fmla="*/ 10088 h 293"/>
                <a:gd name="T64" fmla="*/ 52730 w 306"/>
                <a:gd name="T65" fmla="*/ 16460 h 293"/>
                <a:gd name="T66" fmla="*/ 64496 w 306"/>
                <a:gd name="T67" fmla="*/ 21770 h 293"/>
                <a:gd name="T68" fmla="*/ 79313 w 306"/>
                <a:gd name="T69" fmla="*/ 31327 h 293"/>
                <a:gd name="T70" fmla="*/ 91515 w 306"/>
                <a:gd name="T71" fmla="*/ 41947 h 293"/>
                <a:gd name="T72" fmla="*/ 105024 w 306"/>
                <a:gd name="T73" fmla="*/ 54159 h 293"/>
                <a:gd name="T74" fmla="*/ 113740 w 306"/>
                <a:gd name="T75" fmla="*/ 62124 h 293"/>
                <a:gd name="T76" fmla="*/ 115919 w 306"/>
                <a:gd name="T77" fmla="*/ 65841 h 293"/>
                <a:gd name="T78" fmla="*/ 122020 w 306"/>
                <a:gd name="T79" fmla="*/ 71681 h 293"/>
                <a:gd name="T80" fmla="*/ 130300 w 306"/>
                <a:gd name="T81" fmla="*/ 80177 h 293"/>
                <a:gd name="T82" fmla="*/ 133350 w 306"/>
                <a:gd name="T83" fmla="*/ 85487 h 293"/>
                <a:gd name="T84" fmla="*/ 132478 w 306"/>
                <a:gd name="T85" fmla="*/ 88141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9" name="Freeform 227">
              <a:extLst>
                <a:ext uri="{FF2B5EF4-FFF2-40B4-BE49-F238E27FC236}">
                  <a16:creationId xmlns:a16="http://schemas.microsoft.com/office/drawing/2014/main" id="{8058ED61-4B31-46C0-94C3-EB0B5B718085}"/>
                </a:ext>
              </a:extLst>
            </p:cNvPr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5761448" y="1556803"/>
              <a:ext cx="582630" cy="388381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0" name="Freeform 228">
              <a:extLst>
                <a:ext uri="{FF2B5EF4-FFF2-40B4-BE49-F238E27FC236}">
                  <a16:creationId xmlns:a16="http://schemas.microsoft.com/office/drawing/2014/main" id="{B956487A-16EE-49D3-AC85-61A0F24CA05A}"/>
                </a:ext>
              </a:extLst>
            </p:cNvPr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6202024" y="2459619"/>
              <a:ext cx="63821" cy="97095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1" name="Freeform 229">
              <a:extLst>
                <a:ext uri="{FF2B5EF4-FFF2-40B4-BE49-F238E27FC236}">
                  <a16:creationId xmlns:a16="http://schemas.microsoft.com/office/drawing/2014/main" id="{6F60047C-8209-4697-94A6-6F0E2475AF19}"/>
                </a:ext>
              </a:extLst>
            </p:cNvPr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823211" y="2287572"/>
              <a:ext cx="109114" cy="63028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2" name="Freeform 230">
              <a:extLst>
                <a:ext uri="{FF2B5EF4-FFF2-40B4-BE49-F238E27FC236}">
                  <a16:creationId xmlns:a16="http://schemas.microsoft.com/office/drawing/2014/main" id="{6EF9B128-2555-433E-9F6E-7F55B9EC1267}"/>
                </a:ext>
              </a:extLst>
            </p:cNvPr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5742918" y="2093381"/>
              <a:ext cx="109115" cy="78358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3282BE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3" name="Freeform 231">
              <a:extLst>
                <a:ext uri="{FF2B5EF4-FFF2-40B4-BE49-F238E27FC236}">
                  <a16:creationId xmlns:a16="http://schemas.microsoft.com/office/drawing/2014/main" id="{B89AA7B5-0181-486C-BE89-D6E6A0F68EC4}"/>
                </a:ext>
              </a:extLst>
            </p:cNvPr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718213" y="2161518"/>
              <a:ext cx="109115" cy="61324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4" name="Freeform 232">
              <a:extLst>
                <a:ext uri="{FF2B5EF4-FFF2-40B4-BE49-F238E27FC236}">
                  <a16:creationId xmlns:a16="http://schemas.microsoft.com/office/drawing/2014/main" id="{0424CB5D-04A2-4E57-A031-5F6B8A0561D3}"/>
                </a:ext>
              </a:extLst>
            </p:cNvPr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6704361" y="2756016"/>
              <a:ext cx="43233" cy="141384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5" name="Freeform 233">
              <a:extLst>
                <a:ext uri="{FF2B5EF4-FFF2-40B4-BE49-F238E27FC236}">
                  <a16:creationId xmlns:a16="http://schemas.microsoft.com/office/drawing/2014/main" id="{0DF0AE69-6037-4805-8AF1-08A82DABC031}"/>
                </a:ext>
              </a:extLst>
            </p:cNvPr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6638481" y="2812227"/>
              <a:ext cx="90586" cy="139681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6" name="Freeform 234">
              <a:extLst>
                <a:ext uri="{FF2B5EF4-FFF2-40B4-BE49-F238E27FC236}">
                  <a16:creationId xmlns:a16="http://schemas.microsoft.com/office/drawing/2014/main" id="{85F7AE3E-EFB5-498D-820B-46D9FF0F9E95}"/>
                </a:ext>
              </a:extLst>
            </p:cNvPr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5343518" y="2011617"/>
              <a:ext cx="125585" cy="155013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0185C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7" name="Freeform 235">
              <a:extLst>
                <a:ext uri="{FF2B5EF4-FFF2-40B4-BE49-F238E27FC236}">
                  <a16:creationId xmlns:a16="http://schemas.microsoft.com/office/drawing/2014/main" id="{8D4FC722-0330-4E15-B0DD-E2989A447E12}"/>
                </a:ext>
              </a:extLst>
            </p:cNvPr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5100584" y="2989384"/>
              <a:ext cx="397341" cy="419043"/>
            </a:xfrm>
            <a:custGeom>
              <a:avLst/>
              <a:gdLst>
                <a:gd name="T0" fmla="*/ 124140 w 232"/>
                <a:gd name="T1" fmla="*/ 387376 h 248"/>
                <a:gd name="T2" fmla="*/ 126781 w 232"/>
                <a:gd name="T3" fmla="*/ 382652 h 248"/>
                <a:gd name="T4" fmla="*/ 129423 w 232"/>
                <a:gd name="T5" fmla="*/ 374778 h 248"/>
                <a:gd name="T6" fmla="*/ 132064 w 232"/>
                <a:gd name="T7" fmla="*/ 365330 h 248"/>
                <a:gd name="T8" fmla="*/ 136026 w 232"/>
                <a:gd name="T9" fmla="*/ 363755 h 248"/>
                <a:gd name="T10" fmla="*/ 137346 w 232"/>
                <a:gd name="T11" fmla="*/ 374778 h 248"/>
                <a:gd name="T12" fmla="*/ 139988 w 232"/>
                <a:gd name="T13" fmla="*/ 379502 h 248"/>
                <a:gd name="T14" fmla="*/ 142629 w 232"/>
                <a:gd name="T15" fmla="*/ 381077 h 248"/>
                <a:gd name="T16" fmla="*/ 145270 w 232"/>
                <a:gd name="T17" fmla="*/ 381077 h 248"/>
                <a:gd name="T18" fmla="*/ 149232 w 232"/>
                <a:gd name="T19" fmla="*/ 379502 h 248"/>
                <a:gd name="T20" fmla="*/ 153194 w 232"/>
                <a:gd name="T21" fmla="*/ 374778 h 248"/>
                <a:gd name="T22" fmla="*/ 285258 w 232"/>
                <a:gd name="T23" fmla="*/ 368479 h 248"/>
                <a:gd name="T24" fmla="*/ 281296 w 232"/>
                <a:gd name="T25" fmla="*/ 321238 h 248"/>
                <a:gd name="T26" fmla="*/ 273372 w 232"/>
                <a:gd name="T27" fmla="*/ 217308 h 248"/>
                <a:gd name="T28" fmla="*/ 265448 w 232"/>
                <a:gd name="T29" fmla="*/ 114953 h 248"/>
                <a:gd name="T30" fmla="*/ 261486 w 232"/>
                <a:gd name="T31" fmla="*/ 67712 h 248"/>
                <a:gd name="T32" fmla="*/ 283937 w 232"/>
                <a:gd name="T33" fmla="*/ 69287 h 248"/>
                <a:gd name="T34" fmla="*/ 306388 w 232"/>
                <a:gd name="T35" fmla="*/ 72436 h 248"/>
                <a:gd name="T36" fmla="*/ 212623 w 232"/>
                <a:gd name="T37" fmla="*/ 3149 h 248"/>
                <a:gd name="T38" fmla="*/ 211302 w 232"/>
                <a:gd name="T39" fmla="*/ 12598 h 248"/>
                <a:gd name="T40" fmla="*/ 212623 w 232"/>
                <a:gd name="T41" fmla="*/ 28345 h 248"/>
                <a:gd name="T42" fmla="*/ 129423 w 232"/>
                <a:gd name="T43" fmla="*/ 37793 h 248"/>
                <a:gd name="T44" fmla="*/ 129423 w 232"/>
                <a:gd name="T45" fmla="*/ 116528 h 248"/>
                <a:gd name="T46" fmla="*/ 125461 w 232"/>
                <a:gd name="T47" fmla="*/ 119677 h 248"/>
                <a:gd name="T48" fmla="*/ 114896 w 232"/>
                <a:gd name="T49" fmla="*/ 122826 h 248"/>
                <a:gd name="T50" fmla="*/ 95086 w 232"/>
                <a:gd name="T51" fmla="*/ 129125 h 248"/>
                <a:gd name="T52" fmla="*/ 97727 w 232"/>
                <a:gd name="T53" fmla="*/ 138573 h 248"/>
                <a:gd name="T54" fmla="*/ 103010 w 232"/>
                <a:gd name="T55" fmla="*/ 151171 h 248"/>
                <a:gd name="T56" fmla="*/ 105651 w 232"/>
                <a:gd name="T57" fmla="*/ 165343 h 248"/>
                <a:gd name="T58" fmla="*/ 106972 w 232"/>
                <a:gd name="T59" fmla="*/ 181090 h 248"/>
                <a:gd name="T60" fmla="*/ 11886 w 232"/>
                <a:gd name="T61" fmla="*/ 187389 h 248"/>
                <a:gd name="T62" fmla="*/ 6603 w 232"/>
                <a:gd name="T63" fmla="*/ 204711 h 248"/>
                <a:gd name="T64" fmla="*/ 7924 w 232"/>
                <a:gd name="T65" fmla="*/ 225182 h 248"/>
                <a:gd name="T66" fmla="*/ 10565 w 232"/>
                <a:gd name="T67" fmla="*/ 244078 h 248"/>
                <a:gd name="T68" fmla="*/ 11886 w 232"/>
                <a:gd name="T69" fmla="*/ 264549 h 248"/>
                <a:gd name="T70" fmla="*/ 11886 w 232"/>
                <a:gd name="T71" fmla="*/ 286595 h 248"/>
                <a:gd name="T72" fmla="*/ 10565 w 232"/>
                <a:gd name="T73" fmla="*/ 305491 h 248"/>
                <a:gd name="T74" fmla="*/ 7924 w 232"/>
                <a:gd name="T75" fmla="*/ 324388 h 248"/>
                <a:gd name="T76" fmla="*/ 2641 w 232"/>
                <a:gd name="T77" fmla="*/ 340135 h 248"/>
                <a:gd name="T78" fmla="*/ 2641 w 232"/>
                <a:gd name="T79" fmla="*/ 344859 h 248"/>
                <a:gd name="T80" fmla="*/ 3962 w 232"/>
                <a:gd name="T81" fmla="*/ 346433 h 248"/>
                <a:gd name="T82" fmla="*/ 3962 w 232"/>
                <a:gd name="T83" fmla="*/ 349583 h 248"/>
                <a:gd name="T84" fmla="*/ 9244 w 232"/>
                <a:gd name="T85" fmla="*/ 341709 h 248"/>
                <a:gd name="T86" fmla="*/ 23771 w 232"/>
                <a:gd name="T87" fmla="*/ 335411 h 248"/>
                <a:gd name="T88" fmla="*/ 47543 w 232"/>
                <a:gd name="T89" fmla="*/ 325962 h 248"/>
                <a:gd name="T90" fmla="*/ 59429 w 232"/>
                <a:gd name="T91" fmla="*/ 327537 h 248"/>
                <a:gd name="T92" fmla="*/ 67353 w 232"/>
                <a:gd name="T93" fmla="*/ 333836 h 248"/>
                <a:gd name="T94" fmla="*/ 73956 w 232"/>
                <a:gd name="T95" fmla="*/ 336985 h 248"/>
                <a:gd name="T96" fmla="*/ 81880 w 232"/>
                <a:gd name="T97" fmla="*/ 338560 h 248"/>
                <a:gd name="T98" fmla="*/ 87162 w 232"/>
                <a:gd name="T99" fmla="*/ 344859 h 248"/>
                <a:gd name="T100" fmla="*/ 88483 w 232"/>
                <a:gd name="T101" fmla="*/ 354307 h 248"/>
                <a:gd name="T102" fmla="*/ 92445 w 232"/>
                <a:gd name="T103" fmla="*/ 363755 h 248"/>
                <a:gd name="T104" fmla="*/ 97727 w 232"/>
                <a:gd name="T105" fmla="*/ 370054 h 248"/>
                <a:gd name="T106" fmla="*/ 112254 w 232"/>
                <a:gd name="T107" fmla="*/ 382652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8" name="Freeform 236">
              <a:extLst>
                <a:ext uri="{FF2B5EF4-FFF2-40B4-BE49-F238E27FC236}">
                  <a16:creationId xmlns:a16="http://schemas.microsoft.com/office/drawing/2014/main" id="{079D2CE2-11DC-4136-B75F-B0F7D774EDDD}"/>
                </a:ext>
              </a:extLst>
            </p:cNvPr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5250875" y="3054114"/>
              <a:ext cx="537336" cy="502511"/>
            </a:xfrm>
            <a:custGeom>
              <a:avLst/>
              <a:gdLst>
                <a:gd name="T0" fmla="*/ 39336 w 948"/>
                <a:gd name="T1" fmla="*/ 413248 h 893"/>
                <a:gd name="T2" fmla="*/ 52885 w 948"/>
                <a:gd name="T3" fmla="*/ 413248 h 893"/>
                <a:gd name="T4" fmla="*/ 63811 w 948"/>
                <a:gd name="T5" fmla="*/ 410626 h 893"/>
                <a:gd name="T6" fmla="*/ 81294 w 948"/>
                <a:gd name="T7" fmla="*/ 406955 h 893"/>
                <a:gd name="T8" fmla="*/ 86102 w 948"/>
                <a:gd name="T9" fmla="*/ 426359 h 893"/>
                <a:gd name="T10" fmla="*/ 92658 w 948"/>
                <a:gd name="T11" fmla="*/ 437896 h 893"/>
                <a:gd name="T12" fmla="*/ 98777 w 948"/>
                <a:gd name="T13" fmla="*/ 443665 h 893"/>
                <a:gd name="T14" fmla="*/ 107518 w 948"/>
                <a:gd name="T15" fmla="*/ 445763 h 893"/>
                <a:gd name="T16" fmla="*/ 107518 w 948"/>
                <a:gd name="T17" fmla="*/ 462020 h 893"/>
                <a:gd name="T18" fmla="*/ 142483 w 948"/>
                <a:gd name="T19" fmla="*/ 466215 h 893"/>
                <a:gd name="T20" fmla="*/ 145979 w 948"/>
                <a:gd name="T21" fmla="*/ 459398 h 893"/>
                <a:gd name="T22" fmla="*/ 151661 w 948"/>
                <a:gd name="T23" fmla="*/ 456776 h 893"/>
                <a:gd name="T24" fmla="*/ 152098 w 948"/>
                <a:gd name="T25" fmla="*/ 465691 h 893"/>
                <a:gd name="T26" fmla="*/ 156469 w 948"/>
                <a:gd name="T27" fmla="*/ 468313 h 893"/>
                <a:gd name="T28" fmla="*/ 168270 w 948"/>
                <a:gd name="T29" fmla="*/ 468313 h 893"/>
                <a:gd name="T30" fmla="*/ 175263 w 948"/>
                <a:gd name="T31" fmla="*/ 447860 h 893"/>
                <a:gd name="T32" fmla="*/ 180071 w 948"/>
                <a:gd name="T33" fmla="*/ 413248 h 893"/>
                <a:gd name="T34" fmla="*/ 185315 w 948"/>
                <a:gd name="T35" fmla="*/ 404333 h 893"/>
                <a:gd name="T36" fmla="*/ 197553 w 948"/>
                <a:gd name="T37" fmla="*/ 395418 h 893"/>
                <a:gd name="T38" fmla="*/ 211976 w 948"/>
                <a:gd name="T39" fmla="*/ 389649 h 893"/>
                <a:gd name="T40" fmla="*/ 218969 w 948"/>
                <a:gd name="T41" fmla="*/ 382307 h 893"/>
                <a:gd name="T42" fmla="*/ 225088 w 948"/>
                <a:gd name="T43" fmla="*/ 368148 h 893"/>
                <a:gd name="T44" fmla="*/ 233829 w 948"/>
                <a:gd name="T45" fmla="*/ 350317 h 893"/>
                <a:gd name="T46" fmla="*/ 239074 w 948"/>
                <a:gd name="T47" fmla="*/ 346122 h 893"/>
                <a:gd name="T48" fmla="*/ 250001 w 948"/>
                <a:gd name="T49" fmla="*/ 345597 h 893"/>
                <a:gd name="T50" fmla="*/ 264424 w 948"/>
                <a:gd name="T51" fmla="*/ 337731 h 893"/>
                <a:gd name="T52" fmla="*/ 279284 w 948"/>
                <a:gd name="T53" fmla="*/ 327242 h 893"/>
                <a:gd name="T54" fmla="*/ 294581 w 948"/>
                <a:gd name="T55" fmla="*/ 321474 h 893"/>
                <a:gd name="T56" fmla="*/ 316435 w 948"/>
                <a:gd name="T57" fmla="*/ 319900 h 893"/>
                <a:gd name="T58" fmla="*/ 344407 w 948"/>
                <a:gd name="T59" fmla="*/ 315705 h 893"/>
                <a:gd name="T60" fmla="*/ 356207 w 948"/>
                <a:gd name="T61" fmla="*/ 311509 h 893"/>
                <a:gd name="T62" fmla="*/ 377187 w 948"/>
                <a:gd name="T63" fmla="*/ 309412 h 893"/>
                <a:gd name="T64" fmla="*/ 393795 w 948"/>
                <a:gd name="T65" fmla="*/ 305741 h 893"/>
                <a:gd name="T66" fmla="*/ 399040 w 948"/>
                <a:gd name="T67" fmla="*/ 301021 h 893"/>
                <a:gd name="T68" fmla="*/ 406907 w 948"/>
                <a:gd name="T69" fmla="*/ 285288 h 893"/>
                <a:gd name="T70" fmla="*/ 412152 w 948"/>
                <a:gd name="T71" fmla="*/ 264311 h 893"/>
                <a:gd name="T72" fmla="*/ 414337 w 948"/>
                <a:gd name="T73" fmla="*/ 241761 h 893"/>
                <a:gd name="T74" fmla="*/ 413900 w 948"/>
                <a:gd name="T75" fmla="*/ 220784 h 893"/>
                <a:gd name="T76" fmla="*/ 412152 w 948"/>
                <a:gd name="T77" fmla="*/ 190367 h 893"/>
                <a:gd name="T78" fmla="*/ 402973 w 948"/>
                <a:gd name="T79" fmla="*/ 186696 h 893"/>
                <a:gd name="T80" fmla="*/ 376749 w 948"/>
                <a:gd name="T81" fmla="*/ 168865 h 893"/>
                <a:gd name="T82" fmla="*/ 347029 w 948"/>
                <a:gd name="T83" fmla="*/ 145791 h 893"/>
                <a:gd name="T84" fmla="*/ 322553 w 948"/>
                <a:gd name="T85" fmla="*/ 113276 h 893"/>
                <a:gd name="T86" fmla="*/ 180071 w 948"/>
                <a:gd name="T87" fmla="*/ 6293 h 893"/>
                <a:gd name="T88" fmla="*/ 152098 w 948"/>
                <a:gd name="T89" fmla="*/ 53492 h 893"/>
                <a:gd name="T90" fmla="*/ 165647 w 948"/>
                <a:gd name="T91" fmla="*/ 212393 h 893"/>
                <a:gd name="T92" fmla="*/ 171329 w 948"/>
                <a:gd name="T93" fmla="*/ 296301 h 893"/>
                <a:gd name="T94" fmla="*/ 40647 w 948"/>
                <a:gd name="T95" fmla="*/ 309936 h 893"/>
                <a:gd name="T96" fmla="*/ 34528 w 948"/>
                <a:gd name="T97" fmla="*/ 317803 h 893"/>
                <a:gd name="T98" fmla="*/ 29283 w 948"/>
                <a:gd name="T99" fmla="*/ 319900 h 893"/>
                <a:gd name="T100" fmla="*/ 24913 w 948"/>
                <a:gd name="T101" fmla="*/ 318327 h 893"/>
                <a:gd name="T102" fmla="*/ 21416 w 948"/>
                <a:gd name="T103" fmla="*/ 309936 h 893"/>
                <a:gd name="T104" fmla="*/ 17483 w 948"/>
                <a:gd name="T105" fmla="*/ 304692 h 893"/>
                <a:gd name="T106" fmla="*/ 12675 w 948"/>
                <a:gd name="T107" fmla="*/ 317278 h 893"/>
                <a:gd name="T108" fmla="*/ 6556 w 948"/>
                <a:gd name="T109" fmla="*/ 326718 h 893"/>
                <a:gd name="T110" fmla="*/ 29283 w 948"/>
                <a:gd name="T111" fmla="*/ 384405 h 893"/>
                <a:gd name="T112" fmla="*/ 26661 w 948"/>
                <a:gd name="T113" fmla="*/ 392271 h 893"/>
                <a:gd name="T114" fmla="*/ 27098 w 948"/>
                <a:gd name="T115" fmla="*/ 398564 h 893"/>
                <a:gd name="T116" fmla="*/ 23601 w 948"/>
                <a:gd name="T117" fmla="*/ 413248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9" name="Freeform 237">
              <a:extLst>
                <a:ext uri="{FF2B5EF4-FFF2-40B4-BE49-F238E27FC236}">
                  <a16:creationId xmlns:a16="http://schemas.microsoft.com/office/drawing/2014/main" id="{58DA6094-2D5A-455D-B3DF-214EF9D56241}"/>
                </a:ext>
              </a:extLst>
            </p:cNvPr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5378518" y="2631665"/>
              <a:ext cx="640276" cy="621752"/>
            </a:xfrm>
            <a:custGeom>
              <a:avLst/>
              <a:gdLst>
                <a:gd name="T0" fmla="*/ 315023 w 373"/>
                <a:gd name="T1" fmla="*/ 574740 h 370"/>
                <a:gd name="T2" fmla="*/ 322964 w 373"/>
                <a:gd name="T3" fmla="*/ 571608 h 370"/>
                <a:gd name="T4" fmla="*/ 337524 w 373"/>
                <a:gd name="T5" fmla="*/ 576306 h 370"/>
                <a:gd name="T6" fmla="*/ 492388 w 373"/>
                <a:gd name="T7" fmla="*/ 433795 h 370"/>
                <a:gd name="T8" fmla="*/ 488418 w 373"/>
                <a:gd name="T9" fmla="*/ 422833 h 370"/>
                <a:gd name="T10" fmla="*/ 477829 w 373"/>
                <a:gd name="T11" fmla="*/ 413437 h 370"/>
                <a:gd name="T12" fmla="*/ 459298 w 373"/>
                <a:gd name="T13" fmla="*/ 405607 h 370"/>
                <a:gd name="T14" fmla="*/ 448709 w 373"/>
                <a:gd name="T15" fmla="*/ 397776 h 370"/>
                <a:gd name="T16" fmla="*/ 444738 w 373"/>
                <a:gd name="T17" fmla="*/ 386814 h 370"/>
                <a:gd name="T18" fmla="*/ 446062 w 373"/>
                <a:gd name="T19" fmla="*/ 357059 h 370"/>
                <a:gd name="T20" fmla="*/ 446062 w 373"/>
                <a:gd name="T21" fmla="*/ 306946 h 370"/>
                <a:gd name="T22" fmla="*/ 442091 w 373"/>
                <a:gd name="T23" fmla="*/ 263096 h 370"/>
                <a:gd name="T24" fmla="*/ 435473 w 373"/>
                <a:gd name="T25" fmla="*/ 242738 h 370"/>
                <a:gd name="T26" fmla="*/ 427531 w 373"/>
                <a:gd name="T27" fmla="*/ 222379 h 370"/>
                <a:gd name="T28" fmla="*/ 416942 w 373"/>
                <a:gd name="T29" fmla="*/ 170699 h 370"/>
                <a:gd name="T30" fmla="*/ 405029 w 373"/>
                <a:gd name="T31" fmla="*/ 140944 h 370"/>
                <a:gd name="T32" fmla="*/ 393117 w 373"/>
                <a:gd name="T33" fmla="*/ 122152 h 370"/>
                <a:gd name="T34" fmla="*/ 397087 w 373"/>
                <a:gd name="T35" fmla="*/ 98661 h 370"/>
                <a:gd name="T36" fmla="*/ 398411 w 373"/>
                <a:gd name="T37" fmla="*/ 67340 h 370"/>
                <a:gd name="T38" fmla="*/ 399735 w 373"/>
                <a:gd name="T39" fmla="*/ 36019 h 370"/>
                <a:gd name="T40" fmla="*/ 410324 w 373"/>
                <a:gd name="T41" fmla="*/ 10962 h 370"/>
                <a:gd name="T42" fmla="*/ 399735 w 373"/>
                <a:gd name="T43" fmla="*/ 9396 h 370"/>
                <a:gd name="T44" fmla="*/ 367968 w 373"/>
                <a:gd name="T45" fmla="*/ 18793 h 370"/>
                <a:gd name="T46" fmla="*/ 324288 w 373"/>
                <a:gd name="T47" fmla="*/ 18793 h 370"/>
                <a:gd name="T48" fmla="*/ 272667 w 373"/>
                <a:gd name="T49" fmla="*/ 21925 h 370"/>
                <a:gd name="T50" fmla="*/ 222369 w 373"/>
                <a:gd name="T51" fmla="*/ 37585 h 370"/>
                <a:gd name="T52" fmla="*/ 191926 w 373"/>
                <a:gd name="T53" fmla="*/ 50114 h 370"/>
                <a:gd name="T54" fmla="*/ 164129 w 373"/>
                <a:gd name="T55" fmla="*/ 68906 h 370"/>
                <a:gd name="T56" fmla="*/ 162806 w 373"/>
                <a:gd name="T57" fmla="*/ 81435 h 370"/>
                <a:gd name="T58" fmla="*/ 173395 w 373"/>
                <a:gd name="T59" fmla="*/ 139378 h 370"/>
                <a:gd name="T60" fmla="*/ 177366 w 373"/>
                <a:gd name="T61" fmla="*/ 145643 h 370"/>
                <a:gd name="T62" fmla="*/ 186631 w 373"/>
                <a:gd name="T63" fmla="*/ 153473 h 370"/>
                <a:gd name="T64" fmla="*/ 187955 w 373"/>
                <a:gd name="T65" fmla="*/ 159737 h 370"/>
                <a:gd name="T66" fmla="*/ 183984 w 373"/>
                <a:gd name="T67" fmla="*/ 167567 h 370"/>
                <a:gd name="T68" fmla="*/ 169424 w 373"/>
                <a:gd name="T69" fmla="*/ 167567 h 370"/>
                <a:gd name="T70" fmla="*/ 140304 w 373"/>
                <a:gd name="T71" fmla="*/ 176963 h 370"/>
                <a:gd name="T72" fmla="*/ 125744 w 373"/>
                <a:gd name="T73" fmla="*/ 191058 h 370"/>
                <a:gd name="T74" fmla="*/ 119126 w 373"/>
                <a:gd name="T75" fmla="*/ 205152 h 370"/>
                <a:gd name="T76" fmla="*/ 108537 w 373"/>
                <a:gd name="T77" fmla="*/ 214549 h 370"/>
                <a:gd name="T78" fmla="*/ 87359 w 373"/>
                <a:gd name="T79" fmla="*/ 234907 h 370"/>
                <a:gd name="T80" fmla="*/ 67505 w 373"/>
                <a:gd name="T81" fmla="*/ 247436 h 370"/>
                <a:gd name="T82" fmla="*/ 41032 w 373"/>
                <a:gd name="T83" fmla="*/ 250568 h 370"/>
                <a:gd name="T84" fmla="*/ 26472 w 373"/>
                <a:gd name="T85" fmla="*/ 256832 h 370"/>
                <a:gd name="T86" fmla="*/ 10589 w 373"/>
                <a:gd name="T87" fmla="*/ 272492 h 370"/>
                <a:gd name="T88" fmla="*/ 0 w 373"/>
                <a:gd name="T89" fmla="*/ 313210 h 370"/>
                <a:gd name="T90" fmla="*/ 236929 w 373"/>
                <a:gd name="T91" fmla="*/ 518362 h 370"/>
                <a:gd name="T92" fmla="*/ 266049 w 373"/>
                <a:gd name="T93" fmla="*/ 551249 h 370"/>
                <a:gd name="T94" fmla="*/ 303110 w 373"/>
                <a:gd name="T95" fmla="*/ 576306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70" name="Freeform 238">
              <a:extLst>
                <a:ext uri="{FF2B5EF4-FFF2-40B4-BE49-F238E27FC236}">
                  <a16:creationId xmlns:a16="http://schemas.microsoft.com/office/drawing/2014/main" id="{A190D400-3D57-4E79-A809-D622869D126A}"/>
                </a:ext>
              </a:extLst>
            </p:cNvPr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5944677" y="2776456"/>
              <a:ext cx="498220" cy="468442"/>
            </a:xfrm>
            <a:custGeom>
              <a:avLst/>
              <a:gdLst>
                <a:gd name="T0" fmla="*/ 15770 w 877"/>
                <a:gd name="T1" fmla="*/ 74522 h 826"/>
                <a:gd name="T2" fmla="*/ 20151 w 877"/>
                <a:gd name="T3" fmla="*/ 57609 h 826"/>
                <a:gd name="T4" fmla="*/ 20151 w 877"/>
                <a:gd name="T5" fmla="*/ 36997 h 826"/>
                <a:gd name="T6" fmla="*/ 26721 w 877"/>
                <a:gd name="T7" fmla="*/ 33826 h 826"/>
                <a:gd name="T8" fmla="*/ 38987 w 877"/>
                <a:gd name="T9" fmla="*/ 29069 h 826"/>
                <a:gd name="T10" fmla="*/ 43368 w 877"/>
                <a:gd name="T11" fmla="*/ 10571 h 826"/>
                <a:gd name="T12" fmla="*/ 73593 w 877"/>
                <a:gd name="T13" fmla="*/ 3171 h 826"/>
                <a:gd name="T14" fmla="*/ 106010 w 877"/>
                <a:gd name="T15" fmla="*/ 12685 h 826"/>
                <a:gd name="T16" fmla="*/ 119589 w 877"/>
                <a:gd name="T17" fmla="*/ 22727 h 826"/>
                <a:gd name="T18" fmla="*/ 124846 w 877"/>
                <a:gd name="T19" fmla="*/ 41225 h 826"/>
                <a:gd name="T20" fmla="*/ 129226 w 877"/>
                <a:gd name="T21" fmla="*/ 53381 h 826"/>
                <a:gd name="T22" fmla="*/ 142368 w 877"/>
                <a:gd name="T23" fmla="*/ 58138 h 826"/>
                <a:gd name="T24" fmla="*/ 159014 w 877"/>
                <a:gd name="T25" fmla="*/ 57609 h 826"/>
                <a:gd name="T26" fmla="*/ 184422 w 877"/>
                <a:gd name="T27" fmla="*/ 70294 h 826"/>
                <a:gd name="T28" fmla="*/ 209391 w 877"/>
                <a:gd name="T29" fmla="*/ 85621 h 826"/>
                <a:gd name="T30" fmla="*/ 224723 w 877"/>
                <a:gd name="T31" fmla="*/ 87735 h 826"/>
                <a:gd name="T32" fmla="*/ 235674 w 877"/>
                <a:gd name="T33" fmla="*/ 83507 h 826"/>
                <a:gd name="T34" fmla="*/ 240493 w 877"/>
                <a:gd name="T35" fmla="*/ 66594 h 826"/>
                <a:gd name="T36" fmla="*/ 238302 w 877"/>
                <a:gd name="T37" fmla="*/ 54438 h 826"/>
                <a:gd name="T38" fmla="*/ 232608 w 877"/>
                <a:gd name="T39" fmla="*/ 42811 h 826"/>
                <a:gd name="T40" fmla="*/ 236112 w 877"/>
                <a:gd name="T41" fmla="*/ 25898 h 826"/>
                <a:gd name="T42" fmla="*/ 251444 w 877"/>
                <a:gd name="T43" fmla="*/ 17970 h 826"/>
                <a:gd name="T44" fmla="*/ 270280 w 877"/>
                <a:gd name="T45" fmla="*/ 2114 h 826"/>
                <a:gd name="T46" fmla="*/ 284736 w 877"/>
                <a:gd name="T47" fmla="*/ 0 h 826"/>
                <a:gd name="T48" fmla="*/ 298316 w 877"/>
                <a:gd name="T49" fmla="*/ 3171 h 826"/>
                <a:gd name="T50" fmla="*/ 304449 w 877"/>
                <a:gd name="T51" fmla="*/ 12685 h 826"/>
                <a:gd name="T52" fmla="*/ 309267 w 877"/>
                <a:gd name="T53" fmla="*/ 26426 h 826"/>
                <a:gd name="T54" fmla="*/ 318905 w 877"/>
                <a:gd name="T55" fmla="*/ 33297 h 826"/>
                <a:gd name="T56" fmla="*/ 349569 w 877"/>
                <a:gd name="T57" fmla="*/ 37525 h 826"/>
                <a:gd name="T58" fmla="*/ 363586 w 877"/>
                <a:gd name="T59" fmla="*/ 51267 h 826"/>
                <a:gd name="T60" fmla="*/ 365339 w 877"/>
                <a:gd name="T61" fmla="*/ 61837 h 826"/>
                <a:gd name="T62" fmla="*/ 369281 w 877"/>
                <a:gd name="T63" fmla="*/ 73994 h 826"/>
                <a:gd name="T64" fmla="*/ 366215 w 877"/>
                <a:gd name="T65" fmla="*/ 84036 h 826"/>
                <a:gd name="T66" fmla="*/ 360958 w 877"/>
                <a:gd name="T67" fmla="*/ 89849 h 826"/>
                <a:gd name="T68" fmla="*/ 363148 w 877"/>
                <a:gd name="T69" fmla="*/ 109405 h 826"/>
                <a:gd name="T70" fmla="*/ 375852 w 877"/>
                <a:gd name="T71" fmla="*/ 129489 h 826"/>
                <a:gd name="T72" fmla="*/ 383737 w 877"/>
                <a:gd name="T73" fmla="*/ 363097 h 826"/>
                <a:gd name="T74" fmla="*/ 384175 w 877"/>
                <a:gd name="T75" fmla="*/ 391637 h 826"/>
                <a:gd name="T76" fmla="*/ 381109 w 877"/>
                <a:gd name="T77" fmla="*/ 409607 h 826"/>
                <a:gd name="T78" fmla="*/ 371471 w 877"/>
                <a:gd name="T79" fmla="*/ 413835 h 826"/>
                <a:gd name="T80" fmla="*/ 363586 w 877"/>
                <a:gd name="T81" fmla="*/ 424934 h 826"/>
                <a:gd name="T82" fmla="*/ 160328 w 877"/>
                <a:gd name="T83" fmla="*/ 313416 h 826"/>
                <a:gd name="T84" fmla="*/ 144996 w 877"/>
                <a:gd name="T85" fmla="*/ 320815 h 826"/>
                <a:gd name="T86" fmla="*/ 127912 w 877"/>
                <a:gd name="T87" fmla="*/ 330857 h 826"/>
                <a:gd name="T88" fmla="*/ 115209 w 877"/>
                <a:gd name="T89" fmla="*/ 331385 h 826"/>
                <a:gd name="T90" fmla="*/ 100753 w 877"/>
                <a:gd name="T91" fmla="*/ 321872 h 826"/>
                <a:gd name="T92" fmla="*/ 84545 w 877"/>
                <a:gd name="T93" fmla="*/ 309716 h 826"/>
                <a:gd name="T94" fmla="*/ 66584 w 877"/>
                <a:gd name="T95" fmla="*/ 305488 h 826"/>
                <a:gd name="T96" fmla="*/ 60452 w 877"/>
                <a:gd name="T97" fmla="*/ 304959 h 826"/>
                <a:gd name="T98" fmla="*/ 56947 w 877"/>
                <a:gd name="T99" fmla="*/ 292275 h 826"/>
                <a:gd name="T100" fmla="*/ 47748 w 877"/>
                <a:gd name="T101" fmla="*/ 282761 h 826"/>
                <a:gd name="T102" fmla="*/ 27598 w 877"/>
                <a:gd name="T103" fmla="*/ 273248 h 826"/>
                <a:gd name="T104" fmla="*/ 12266 w 877"/>
                <a:gd name="T105" fmla="*/ 263734 h 826"/>
                <a:gd name="T106" fmla="*/ 7009 w 877"/>
                <a:gd name="T107" fmla="*/ 254749 h 826"/>
                <a:gd name="T108" fmla="*/ 6133 w 877"/>
                <a:gd name="T109" fmla="*/ 232023 h 826"/>
                <a:gd name="T110" fmla="*/ 8323 w 877"/>
                <a:gd name="T111" fmla="*/ 186041 h 826"/>
                <a:gd name="T112" fmla="*/ 7447 w 877"/>
                <a:gd name="T113" fmla="*/ 136360 h 826"/>
                <a:gd name="T114" fmla="*/ 1752 w 877"/>
                <a:gd name="T115" fmla="*/ 106762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71" name="Freeform 239">
              <a:extLst>
                <a:ext uri="{FF2B5EF4-FFF2-40B4-BE49-F238E27FC236}">
                  <a16:creationId xmlns:a16="http://schemas.microsoft.com/office/drawing/2014/main" id="{5EFE00AD-84F8-42E5-A5C0-F4D703D47D56}"/>
                </a:ext>
              </a:extLst>
            </p:cNvPr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882914" y="2631665"/>
              <a:ext cx="121468" cy="253811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72" name="Freeform 240">
              <a:extLst>
                <a:ext uri="{FF2B5EF4-FFF2-40B4-BE49-F238E27FC236}">
                  <a16:creationId xmlns:a16="http://schemas.microsoft.com/office/drawing/2014/main" id="{88581C79-33BE-445B-9FDC-9B62A2BA0CC6}"/>
                </a:ext>
              </a:extLst>
            </p:cNvPr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5082056" y="2965536"/>
              <a:ext cx="300580" cy="231667"/>
            </a:xfrm>
            <a:custGeom>
              <a:avLst/>
              <a:gdLst>
                <a:gd name="T0" fmla="*/ 145866 w 518"/>
                <a:gd name="T1" fmla="*/ 58495 h 406"/>
                <a:gd name="T2" fmla="*/ 145866 w 518"/>
                <a:gd name="T3" fmla="*/ 137729 h 406"/>
                <a:gd name="T4" fmla="*/ 140944 w 518"/>
                <a:gd name="T5" fmla="*/ 140388 h 406"/>
                <a:gd name="T6" fmla="*/ 130206 w 518"/>
                <a:gd name="T7" fmla="*/ 144111 h 406"/>
                <a:gd name="T8" fmla="*/ 110071 w 518"/>
                <a:gd name="T9" fmla="*/ 150492 h 406"/>
                <a:gd name="T10" fmla="*/ 113203 w 518"/>
                <a:gd name="T11" fmla="*/ 160596 h 406"/>
                <a:gd name="T12" fmla="*/ 118572 w 518"/>
                <a:gd name="T13" fmla="*/ 173358 h 406"/>
                <a:gd name="T14" fmla="*/ 120362 w 518"/>
                <a:gd name="T15" fmla="*/ 187716 h 406"/>
                <a:gd name="T16" fmla="*/ 121704 w 518"/>
                <a:gd name="T17" fmla="*/ 203137 h 406"/>
                <a:gd name="T18" fmla="*/ 23267 w 518"/>
                <a:gd name="T19" fmla="*/ 209519 h 406"/>
                <a:gd name="T20" fmla="*/ 9844 w 518"/>
                <a:gd name="T21" fmla="*/ 215900 h 406"/>
                <a:gd name="T22" fmla="*/ 2237 w 518"/>
                <a:gd name="T23" fmla="*/ 214305 h 406"/>
                <a:gd name="T24" fmla="*/ 447 w 518"/>
                <a:gd name="T25" fmla="*/ 211646 h 406"/>
                <a:gd name="T26" fmla="*/ 447 w 518"/>
                <a:gd name="T27" fmla="*/ 204733 h 406"/>
                <a:gd name="T28" fmla="*/ 1790 w 518"/>
                <a:gd name="T29" fmla="*/ 197288 h 406"/>
                <a:gd name="T30" fmla="*/ 4922 w 518"/>
                <a:gd name="T31" fmla="*/ 188248 h 406"/>
                <a:gd name="T32" fmla="*/ 8949 w 518"/>
                <a:gd name="T33" fmla="*/ 181335 h 406"/>
                <a:gd name="T34" fmla="*/ 13423 w 518"/>
                <a:gd name="T35" fmla="*/ 177612 h 406"/>
                <a:gd name="T36" fmla="*/ 17003 w 518"/>
                <a:gd name="T37" fmla="*/ 173358 h 406"/>
                <a:gd name="T38" fmla="*/ 19687 w 518"/>
                <a:gd name="T39" fmla="*/ 168572 h 406"/>
                <a:gd name="T40" fmla="*/ 21925 w 518"/>
                <a:gd name="T41" fmla="*/ 155278 h 406"/>
                <a:gd name="T42" fmla="*/ 25057 w 518"/>
                <a:gd name="T43" fmla="*/ 140920 h 406"/>
                <a:gd name="T44" fmla="*/ 27741 w 518"/>
                <a:gd name="T45" fmla="*/ 136666 h 406"/>
                <a:gd name="T46" fmla="*/ 33111 w 518"/>
                <a:gd name="T47" fmla="*/ 130816 h 406"/>
                <a:gd name="T48" fmla="*/ 41165 w 518"/>
                <a:gd name="T49" fmla="*/ 126562 h 406"/>
                <a:gd name="T50" fmla="*/ 47876 w 518"/>
                <a:gd name="T51" fmla="*/ 122840 h 406"/>
                <a:gd name="T52" fmla="*/ 54588 w 518"/>
                <a:gd name="T53" fmla="*/ 115927 h 406"/>
                <a:gd name="T54" fmla="*/ 60852 w 518"/>
                <a:gd name="T55" fmla="*/ 103696 h 406"/>
                <a:gd name="T56" fmla="*/ 67116 w 518"/>
                <a:gd name="T57" fmla="*/ 82957 h 406"/>
                <a:gd name="T58" fmla="*/ 72486 w 518"/>
                <a:gd name="T59" fmla="*/ 62217 h 406"/>
                <a:gd name="T60" fmla="*/ 76960 w 518"/>
                <a:gd name="T61" fmla="*/ 49987 h 406"/>
                <a:gd name="T62" fmla="*/ 83224 w 518"/>
                <a:gd name="T63" fmla="*/ 38819 h 406"/>
                <a:gd name="T64" fmla="*/ 89936 w 518"/>
                <a:gd name="T65" fmla="*/ 32970 h 406"/>
                <a:gd name="T66" fmla="*/ 95305 w 518"/>
                <a:gd name="T67" fmla="*/ 30311 h 406"/>
                <a:gd name="T68" fmla="*/ 97990 w 518"/>
                <a:gd name="T69" fmla="*/ 23398 h 406"/>
                <a:gd name="T70" fmla="*/ 99780 w 518"/>
                <a:gd name="T71" fmla="*/ 14890 h 406"/>
                <a:gd name="T72" fmla="*/ 102017 w 518"/>
                <a:gd name="T73" fmla="*/ 8508 h 406"/>
                <a:gd name="T74" fmla="*/ 106939 w 518"/>
                <a:gd name="T75" fmla="*/ 4254 h 406"/>
                <a:gd name="T76" fmla="*/ 228643 w 518"/>
                <a:gd name="T77" fmla="*/ 0 h 406"/>
                <a:gd name="T78" fmla="*/ 230433 w 518"/>
                <a:gd name="T79" fmla="*/ 24462 h 406"/>
                <a:gd name="T80" fmla="*/ 231775 w 518"/>
                <a:gd name="T81" fmla="*/ 58495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73" name="Freeform 241">
              <a:extLst>
                <a:ext uri="{FF2B5EF4-FFF2-40B4-BE49-F238E27FC236}">
                  <a16:creationId xmlns:a16="http://schemas.microsoft.com/office/drawing/2014/main" id="{1A51E510-A52D-4CE0-B5C5-0955E406F74D}"/>
                </a:ext>
              </a:extLst>
            </p:cNvPr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5040881" y="1686263"/>
              <a:ext cx="247052" cy="100501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74" name="Freeform 242">
              <a:extLst>
                <a:ext uri="{FF2B5EF4-FFF2-40B4-BE49-F238E27FC236}">
                  <a16:creationId xmlns:a16="http://schemas.microsoft.com/office/drawing/2014/main" id="{907949EE-037C-4769-A79B-1C44618137A3}"/>
                </a:ext>
              </a:extLst>
            </p:cNvPr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6068202" y="1969032"/>
              <a:ext cx="18530" cy="61324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75" name="Freeform 243">
              <a:extLst>
                <a:ext uri="{FF2B5EF4-FFF2-40B4-BE49-F238E27FC236}">
                  <a16:creationId xmlns:a16="http://schemas.microsoft.com/office/drawing/2014/main" id="{462769F8-9574-487B-B644-BE933DD22F03}"/>
                </a:ext>
              </a:extLst>
            </p:cNvPr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5922032" y="1607905"/>
              <a:ext cx="304697" cy="424153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0185C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76" name="Freeform 244">
              <a:extLst>
                <a:ext uri="{FF2B5EF4-FFF2-40B4-BE49-F238E27FC236}">
                  <a16:creationId xmlns:a16="http://schemas.microsoft.com/office/drawing/2014/main" id="{35786477-7775-43C0-8CBB-EB3CE7E6DEE5}"/>
                </a:ext>
              </a:extLst>
            </p:cNvPr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6101144" y="1945184"/>
              <a:ext cx="35000" cy="61324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77" name="Freeform 245">
              <a:extLst>
                <a:ext uri="{FF2B5EF4-FFF2-40B4-BE49-F238E27FC236}">
                  <a16:creationId xmlns:a16="http://schemas.microsoft.com/office/drawing/2014/main" id="{AC731429-705B-4124-B9AC-A46A8C601C33}"/>
                </a:ext>
              </a:extLst>
            </p:cNvPr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5380575" y="2118933"/>
              <a:ext cx="37058" cy="61324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78" name="Freeform 246">
              <a:extLst>
                <a:ext uri="{FF2B5EF4-FFF2-40B4-BE49-F238E27FC236}">
                  <a16:creationId xmlns:a16="http://schemas.microsoft.com/office/drawing/2014/main" id="{FC52439F-3040-49AB-9D03-E7E096DA8FC1}"/>
                </a:ext>
              </a:extLst>
            </p:cNvPr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6615834" y="2686174"/>
              <a:ext cx="65881" cy="61324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79" name="Freeform 247">
              <a:extLst>
                <a:ext uri="{FF2B5EF4-FFF2-40B4-BE49-F238E27FC236}">
                  <a16:creationId xmlns:a16="http://schemas.microsoft.com/office/drawing/2014/main" id="{ABA80678-6F7E-4144-8D85-006B054E4E85}"/>
                </a:ext>
              </a:extLst>
            </p:cNvPr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6107320" y="3536185"/>
              <a:ext cx="422045" cy="262328"/>
            </a:xfrm>
            <a:custGeom>
              <a:avLst/>
              <a:gdLst>
                <a:gd name="T0" fmla="*/ 42752 w 746"/>
                <a:gd name="T1" fmla="*/ 235613 h 469"/>
                <a:gd name="T2" fmla="*/ 23557 w 746"/>
                <a:gd name="T3" fmla="*/ 229358 h 469"/>
                <a:gd name="T4" fmla="*/ 9161 w 746"/>
                <a:gd name="T5" fmla="*/ 223624 h 469"/>
                <a:gd name="T6" fmla="*/ 2181 w 746"/>
                <a:gd name="T7" fmla="*/ 215284 h 469"/>
                <a:gd name="T8" fmla="*/ 0 w 746"/>
                <a:gd name="T9" fmla="*/ 189221 h 469"/>
                <a:gd name="T10" fmla="*/ 2181 w 746"/>
                <a:gd name="T11" fmla="*/ 161072 h 469"/>
                <a:gd name="T12" fmla="*/ 10034 w 746"/>
                <a:gd name="T13" fmla="*/ 142306 h 469"/>
                <a:gd name="T14" fmla="*/ 24430 w 746"/>
                <a:gd name="T15" fmla="*/ 118849 h 469"/>
                <a:gd name="T16" fmla="*/ 52785 w 746"/>
                <a:gd name="T17" fmla="*/ 106339 h 469"/>
                <a:gd name="T18" fmla="*/ 72416 w 746"/>
                <a:gd name="T19" fmla="*/ 97999 h 469"/>
                <a:gd name="T20" fmla="*/ 102517 w 746"/>
                <a:gd name="T21" fmla="*/ 90179 h 469"/>
                <a:gd name="T22" fmla="*/ 114296 w 746"/>
                <a:gd name="T23" fmla="*/ 79754 h 469"/>
                <a:gd name="T24" fmla="*/ 116477 w 746"/>
                <a:gd name="T25" fmla="*/ 70893 h 469"/>
                <a:gd name="T26" fmla="*/ 127383 w 746"/>
                <a:gd name="T27" fmla="*/ 62552 h 469"/>
                <a:gd name="T28" fmla="*/ 144833 w 746"/>
                <a:gd name="T29" fmla="*/ 59946 h 469"/>
                <a:gd name="T30" fmla="*/ 156611 w 746"/>
                <a:gd name="T31" fmla="*/ 52648 h 469"/>
                <a:gd name="T32" fmla="*/ 169698 w 746"/>
                <a:gd name="T33" fmla="*/ 34925 h 469"/>
                <a:gd name="T34" fmla="*/ 185403 w 746"/>
                <a:gd name="T35" fmla="*/ 11468 h 469"/>
                <a:gd name="T36" fmla="*/ 196309 w 746"/>
                <a:gd name="T37" fmla="*/ 3128 h 469"/>
                <a:gd name="T38" fmla="*/ 212014 w 746"/>
                <a:gd name="T39" fmla="*/ 0 h 469"/>
                <a:gd name="T40" fmla="*/ 221175 w 746"/>
                <a:gd name="T41" fmla="*/ 15117 h 469"/>
                <a:gd name="T42" fmla="*/ 232081 w 746"/>
                <a:gd name="T43" fmla="*/ 27627 h 469"/>
                <a:gd name="T44" fmla="*/ 241242 w 746"/>
                <a:gd name="T45" fmla="*/ 55776 h 469"/>
                <a:gd name="T46" fmla="*/ 252584 w 746"/>
                <a:gd name="T47" fmla="*/ 82882 h 469"/>
                <a:gd name="T48" fmla="*/ 267417 w 746"/>
                <a:gd name="T49" fmla="*/ 89658 h 469"/>
                <a:gd name="T50" fmla="*/ 273960 w 746"/>
                <a:gd name="T51" fmla="*/ 100605 h 469"/>
                <a:gd name="T52" fmla="*/ 283558 w 746"/>
                <a:gd name="T53" fmla="*/ 121456 h 469"/>
                <a:gd name="T54" fmla="*/ 306242 w 746"/>
                <a:gd name="T55" fmla="*/ 145434 h 469"/>
                <a:gd name="T56" fmla="*/ 323256 w 746"/>
                <a:gd name="T57" fmla="*/ 164200 h 469"/>
                <a:gd name="T58" fmla="*/ 310169 w 746"/>
                <a:gd name="T59" fmla="*/ 179838 h 469"/>
                <a:gd name="T60" fmla="*/ 301444 w 746"/>
                <a:gd name="T61" fmla="*/ 178274 h 469"/>
                <a:gd name="T62" fmla="*/ 296209 w 746"/>
                <a:gd name="T63" fmla="*/ 167327 h 469"/>
                <a:gd name="T64" fmla="*/ 283994 w 746"/>
                <a:gd name="T65" fmla="*/ 172019 h 469"/>
                <a:gd name="T66" fmla="*/ 278759 w 746"/>
                <a:gd name="T67" fmla="*/ 183487 h 469"/>
                <a:gd name="T68" fmla="*/ 263491 w 746"/>
                <a:gd name="T69" fmla="*/ 185572 h 469"/>
                <a:gd name="T70" fmla="*/ 241242 w 746"/>
                <a:gd name="T71" fmla="*/ 185572 h 469"/>
                <a:gd name="T72" fmla="*/ 227719 w 746"/>
                <a:gd name="T73" fmla="*/ 190263 h 469"/>
                <a:gd name="T74" fmla="*/ 216376 w 746"/>
                <a:gd name="T75" fmla="*/ 201731 h 469"/>
                <a:gd name="T76" fmla="*/ 212014 w 746"/>
                <a:gd name="T77" fmla="*/ 205380 h 469"/>
                <a:gd name="T78" fmla="*/ 185839 w 746"/>
                <a:gd name="T79" fmla="*/ 208507 h 469"/>
                <a:gd name="T80" fmla="*/ 172752 w 746"/>
                <a:gd name="T81" fmla="*/ 204337 h 469"/>
                <a:gd name="T82" fmla="*/ 152249 w 746"/>
                <a:gd name="T83" fmla="*/ 184529 h 469"/>
                <a:gd name="T84" fmla="*/ 139161 w 746"/>
                <a:gd name="T85" fmla="*/ 179838 h 469"/>
                <a:gd name="T86" fmla="*/ 126947 w 746"/>
                <a:gd name="T87" fmla="*/ 185050 h 469"/>
                <a:gd name="T88" fmla="*/ 116041 w 746"/>
                <a:gd name="T89" fmla="*/ 196518 h 469"/>
                <a:gd name="T90" fmla="*/ 99027 w 746"/>
                <a:gd name="T91" fmla="*/ 227794 h 469"/>
                <a:gd name="T92" fmla="*/ 65436 w 746"/>
                <a:gd name="T93" fmla="*/ 228837 h 469"/>
                <a:gd name="T94" fmla="*/ 58893 w 746"/>
                <a:gd name="T95" fmla="*/ 233528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80" name="Freeform 248">
              <a:extLst>
                <a:ext uri="{FF2B5EF4-FFF2-40B4-BE49-F238E27FC236}">
                  <a16:creationId xmlns:a16="http://schemas.microsoft.com/office/drawing/2014/main" id="{25826FA8-BA57-401F-9FE5-ECF284D85AE9}"/>
                </a:ext>
              </a:extLst>
            </p:cNvPr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6024970" y="3716748"/>
              <a:ext cx="648511" cy="592792"/>
            </a:xfrm>
            <a:custGeom>
              <a:avLst/>
              <a:gdLst>
                <a:gd name="T0" fmla="*/ 393935 w 1145"/>
                <a:gd name="T1" fmla="*/ 29905 h 1053"/>
                <a:gd name="T2" fmla="*/ 433678 w 1145"/>
                <a:gd name="T3" fmla="*/ 34626 h 1053"/>
                <a:gd name="T4" fmla="*/ 471674 w 1145"/>
                <a:gd name="T5" fmla="*/ 42496 h 1053"/>
                <a:gd name="T6" fmla="*/ 491764 w 1145"/>
                <a:gd name="T7" fmla="*/ 91813 h 1053"/>
                <a:gd name="T8" fmla="*/ 494821 w 1145"/>
                <a:gd name="T9" fmla="*/ 110700 h 1053"/>
                <a:gd name="T10" fmla="*/ 462066 w 1145"/>
                <a:gd name="T11" fmla="*/ 142703 h 1053"/>
                <a:gd name="T12" fmla="*/ 456388 w 1145"/>
                <a:gd name="T13" fmla="*/ 188872 h 1053"/>
                <a:gd name="T14" fmla="*/ 438046 w 1145"/>
                <a:gd name="T15" fmla="*/ 230843 h 1053"/>
                <a:gd name="T16" fmla="*/ 432368 w 1145"/>
                <a:gd name="T17" fmla="*/ 249730 h 1053"/>
                <a:gd name="T18" fmla="*/ 445033 w 1145"/>
                <a:gd name="T19" fmla="*/ 302195 h 1053"/>
                <a:gd name="T20" fmla="*/ 448090 w 1145"/>
                <a:gd name="T21" fmla="*/ 348364 h 1053"/>
                <a:gd name="T22" fmla="*/ 457262 w 1145"/>
                <a:gd name="T23" fmla="*/ 383515 h 1053"/>
                <a:gd name="T24" fmla="*/ 471237 w 1145"/>
                <a:gd name="T25" fmla="*/ 401353 h 1053"/>
                <a:gd name="T26" fmla="*/ 476915 w 1145"/>
                <a:gd name="T27" fmla="*/ 432831 h 1053"/>
                <a:gd name="T28" fmla="*/ 454205 w 1145"/>
                <a:gd name="T29" fmla="*/ 442799 h 1053"/>
                <a:gd name="T30" fmla="*/ 435425 w 1145"/>
                <a:gd name="T31" fmla="*/ 449095 h 1053"/>
                <a:gd name="T32" fmla="*/ 419266 w 1145"/>
                <a:gd name="T33" fmla="*/ 520447 h 1053"/>
                <a:gd name="T34" fmla="*/ 406164 w 1145"/>
                <a:gd name="T35" fmla="*/ 538285 h 1053"/>
                <a:gd name="T36" fmla="*/ 393935 w 1145"/>
                <a:gd name="T37" fmla="*/ 540908 h 1053"/>
                <a:gd name="T38" fmla="*/ 366858 w 1145"/>
                <a:gd name="T39" fmla="*/ 552450 h 1053"/>
                <a:gd name="T40" fmla="*/ 341527 w 1145"/>
                <a:gd name="T41" fmla="*/ 544056 h 1053"/>
                <a:gd name="T42" fmla="*/ 324494 w 1145"/>
                <a:gd name="T43" fmla="*/ 531989 h 1053"/>
                <a:gd name="T44" fmla="*/ 308772 w 1145"/>
                <a:gd name="T45" fmla="*/ 523070 h 1053"/>
                <a:gd name="T46" fmla="*/ 294360 w 1145"/>
                <a:gd name="T47" fmla="*/ 517299 h 1053"/>
                <a:gd name="T48" fmla="*/ 265535 w 1145"/>
                <a:gd name="T49" fmla="*/ 517824 h 1053"/>
                <a:gd name="T50" fmla="*/ 259421 w 1145"/>
                <a:gd name="T51" fmla="*/ 494215 h 1053"/>
                <a:gd name="T52" fmla="*/ 251123 w 1145"/>
                <a:gd name="T53" fmla="*/ 463785 h 1053"/>
                <a:gd name="T54" fmla="*/ 257674 w 1145"/>
                <a:gd name="T55" fmla="*/ 443849 h 1053"/>
                <a:gd name="T56" fmla="*/ 257674 w 1145"/>
                <a:gd name="T57" fmla="*/ 408698 h 1053"/>
                <a:gd name="T58" fmla="*/ 198278 w 1145"/>
                <a:gd name="T59" fmla="*/ 396106 h 1053"/>
                <a:gd name="T60" fmla="*/ 193474 w 1145"/>
                <a:gd name="T61" fmla="*/ 411845 h 1053"/>
                <a:gd name="T62" fmla="*/ 172947 w 1145"/>
                <a:gd name="T63" fmla="*/ 428634 h 1053"/>
                <a:gd name="T64" fmla="*/ 147180 w 1145"/>
                <a:gd name="T65" fmla="*/ 418141 h 1053"/>
                <a:gd name="T66" fmla="*/ 129710 w 1145"/>
                <a:gd name="T67" fmla="*/ 371448 h 1053"/>
                <a:gd name="T68" fmla="*/ 1310 w 1145"/>
                <a:gd name="T69" fmla="*/ 352036 h 1053"/>
                <a:gd name="T70" fmla="*/ 19653 w 1145"/>
                <a:gd name="T71" fmla="*/ 349937 h 1053"/>
                <a:gd name="T72" fmla="*/ 11355 w 1145"/>
                <a:gd name="T73" fmla="*/ 331050 h 1053"/>
                <a:gd name="T74" fmla="*/ 32755 w 1145"/>
                <a:gd name="T75" fmla="*/ 322656 h 1053"/>
                <a:gd name="T76" fmla="*/ 63327 w 1145"/>
                <a:gd name="T77" fmla="*/ 322131 h 1053"/>
                <a:gd name="T78" fmla="*/ 79923 w 1145"/>
                <a:gd name="T79" fmla="*/ 325279 h 1053"/>
                <a:gd name="T80" fmla="*/ 96082 w 1145"/>
                <a:gd name="T81" fmla="*/ 301146 h 1053"/>
                <a:gd name="T82" fmla="*/ 113551 w 1145"/>
                <a:gd name="T83" fmla="*/ 291177 h 1053"/>
                <a:gd name="T84" fmla="*/ 122723 w 1145"/>
                <a:gd name="T85" fmla="*/ 230843 h 1053"/>
                <a:gd name="T86" fmla="*/ 151110 w 1145"/>
                <a:gd name="T87" fmla="*/ 194118 h 1053"/>
                <a:gd name="T88" fmla="*/ 161592 w 1145"/>
                <a:gd name="T89" fmla="*/ 144802 h 1053"/>
                <a:gd name="T90" fmla="*/ 162466 w 1145"/>
                <a:gd name="T91" fmla="*/ 94436 h 1053"/>
                <a:gd name="T92" fmla="*/ 167270 w 1145"/>
                <a:gd name="T93" fmla="*/ 64007 h 1053"/>
                <a:gd name="T94" fmla="*/ 192164 w 1145"/>
                <a:gd name="T95" fmla="*/ 18363 h 1053"/>
                <a:gd name="T96" fmla="*/ 214437 w 1145"/>
                <a:gd name="T97" fmla="*/ 15739 h 1053"/>
                <a:gd name="T98" fmla="*/ 243698 w 1145"/>
                <a:gd name="T99" fmla="*/ 40398 h 1053"/>
                <a:gd name="T100" fmla="*/ 278200 w 1145"/>
                <a:gd name="T101" fmla="*/ 38299 h 1053"/>
                <a:gd name="T102" fmla="*/ 292613 w 1145"/>
                <a:gd name="T103" fmla="*/ 23084 h 1053"/>
                <a:gd name="T104" fmla="*/ 320564 w 1145"/>
                <a:gd name="T105" fmla="*/ 17838 h 1053"/>
                <a:gd name="T106" fmla="*/ 347205 w 1145"/>
                <a:gd name="T107" fmla="*/ 8919 h 1053"/>
                <a:gd name="T108" fmla="*/ 361617 w 1145"/>
                <a:gd name="T109" fmla="*/ 4197 h 1053"/>
                <a:gd name="T110" fmla="*/ 375156 w 1145"/>
                <a:gd name="T111" fmla="*/ 12591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81" name="Freeform 249">
              <a:extLst>
                <a:ext uri="{FF2B5EF4-FFF2-40B4-BE49-F238E27FC236}">
                  <a16:creationId xmlns:a16="http://schemas.microsoft.com/office/drawing/2014/main" id="{705CA71C-41D1-4486-B3F6-0F4EC7B05CB3}"/>
                </a:ext>
              </a:extLst>
            </p:cNvPr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942619" y="3824064"/>
              <a:ext cx="72056" cy="59620"/>
            </a:xfrm>
            <a:custGeom>
              <a:avLst/>
              <a:gdLst>
                <a:gd name="T0" fmla="*/ 53340 w 125"/>
                <a:gd name="T1" fmla="*/ 0 h 81"/>
                <a:gd name="T2" fmla="*/ 53784 w 125"/>
                <a:gd name="T3" fmla="*/ 18521 h 81"/>
                <a:gd name="T4" fmla="*/ 55118 w 125"/>
                <a:gd name="T5" fmla="*/ 31554 h 81"/>
                <a:gd name="T6" fmla="*/ 55562 w 125"/>
                <a:gd name="T7" fmla="*/ 36356 h 81"/>
                <a:gd name="T8" fmla="*/ 55562 w 125"/>
                <a:gd name="T9" fmla="*/ 40472 h 81"/>
                <a:gd name="T10" fmla="*/ 55562 w 125"/>
                <a:gd name="T11" fmla="*/ 44588 h 81"/>
                <a:gd name="T12" fmla="*/ 54673 w 125"/>
                <a:gd name="T13" fmla="*/ 47331 h 81"/>
                <a:gd name="T14" fmla="*/ 52895 w 125"/>
                <a:gd name="T15" fmla="*/ 49389 h 81"/>
                <a:gd name="T16" fmla="*/ 49784 w 125"/>
                <a:gd name="T17" fmla="*/ 50761 h 81"/>
                <a:gd name="T18" fmla="*/ 45783 w 125"/>
                <a:gd name="T19" fmla="*/ 52133 h 81"/>
                <a:gd name="T20" fmla="*/ 40449 w 125"/>
                <a:gd name="T21" fmla="*/ 52819 h 81"/>
                <a:gd name="T22" fmla="*/ 25336 w 125"/>
                <a:gd name="T23" fmla="*/ 54191 h 81"/>
                <a:gd name="T24" fmla="*/ 3111 w 125"/>
                <a:gd name="T25" fmla="*/ 55563 h 81"/>
                <a:gd name="T26" fmla="*/ 2222 w 125"/>
                <a:gd name="T27" fmla="*/ 54191 h 81"/>
                <a:gd name="T28" fmla="*/ 1333 w 125"/>
                <a:gd name="T29" fmla="*/ 49389 h 81"/>
                <a:gd name="T30" fmla="*/ 444 w 125"/>
                <a:gd name="T31" fmla="*/ 40472 h 81"/>
                <a:gd name="T32" fmla="*/ 0 w 125"/>
                <a:gd name="T33" fmla="*/ 29496 h 81"/>
                <a:gd name="T34" fmla="*/ 0 w 125"/>
                <a:gd name="T35" fmla="*/ 25381 h 81"/>
                <a:gd name="T36" fmla="*/ 444 w 125"/>
                <a:gd name="T37" fmla="*/ 21265 h 81"/>
                <a:gd name="T38" fmla="*/ 889 w 125"/>
                <a:gd name="T39" fmla="*/ 17149 h 81"/>
                <a:gd name="T40" fmla="*/ 1778 w 125"/>
                <a:gd name="T41" fmla="*/ 13719 h 81"/>
                <a:gd name="T42" fmla="*/ 3556 w 125"/>
                <a:gd name="T43" fmla="*/ 10289 h 81"/>
                <a:gd name="T44" fmla="*/ 4889 w 125"/>
                <a:gd name="T45" fmla="*/ 6860 h 81"/>
                <a:gd name="T46" fmla="*/ 6223 w 125"/>
                <a:gd name="T47" fmla="*/ 3430 h 81"/>
                <a:gd name="T48" fmla="*/ 8890 w 125"/>
                <a:gd name="T49" fmla="*/ 0 h 81"/>
                <a:gd name="T50" fmla="*/ 5334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82" name="Freeform 250">
              <a:extLst>
                <a:ext uri="{FF2B5EF4-FFF2-40B4-BE49-F238E27FC236}">
                  <a16:creationId xmlns:a16="http://schemas.microsoft.com/office/drawing/2014/main" id="{B333C7DA-1116-401F-BB0D-8B14327E5FDA}"/>
                </a:ext>
              </a:extLst>
            </p:cNvPr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5919972" y="3824064"/>
              <a:ext cx="197642" cy="216337"/>
            </a:xfrm>
            <a:custGeom>
              <a:avLst/>
              <a:gdLst>
                <a:gd name="T0" fmla="*/ 112475 w 355"/>
                <a:gd name="T1" fmla="*/ 7794 h 388"/>
                <a:gd name="T2" fmla="*/ 110329 w 355"/>
                <a:gd name="T3" fmla="*/ 19226 h 388"/>
                <a:gd name="T4" fmla="*/ 113334 w 355"/>
                <a:gd name="T5" fmla="*/ 26501 h 388"/>
                <a:gd name="T6" fmla="*/ 121491 w 355"/>
                <a:gd name="T7" fmla="*/ 31177 h 388"/>
                <a:gd name="T8" fmla="*/ 136945 w 355"/>
                <a:gd name="T9" fmla="*/ 28579 h 388"/>
                <a:gd name="T10" fmla="*/ 142526 w 355"/>
                <a:gd name="T11" fmla="*/ 29618 h 388"/>
                <a:gd name="T12" fmla="*/ 145961 w 355"/>
                <a:gd name="T13" fmla="*/ 35334 h 388"/>
                <a:gd name="T14" fmla="*/ 148107 w 355"/>
                <a:gd name="T15" fmla="*/ 43129 h 388"/>
                <a:gd name="T16" fmla="*/ 150683 w 355"/>
                <a:gd name="T17" fmla="*/ 48844 h 388"/>
                <a:gd name="T18" fmla="*/ 148107 w 355"/>
                <a:gd name="T19" fmla="*/ 56119 h 388"/>
                <a:gd name="T20" fmla="*/ 137375 w 355"/>
                <a:gd name="T21" fmla="*/ 70668 h 388"/>
                <a:gd name="T22" fmla="*/ 149395 w 355"/>
                <a:gd name="T23" fmla="*/ 90934 h 388"/>
                <a:gd name="T24" fmla="*/ 152400 w 355"/>
                <a:gd name="T25" fmla="*/ 104963 h 388"/>
                <a:gd name="T26" fmla="*/ 151541 w 355"/>
                <a:gd name="T27" fmla="*/ 113797 h 388"/>
                <a:gd name="T28" fmla="*/ 148107 w 355"/>
                <a:gd name="T29" fmla="*/ 131984 h 388"/>
                <a:gd name="T30" fmla="*/ 142955 w 355"/>
                <a:gd name="T31" fmla="*/ 140817 h 388"/>
                <a:gd name="T32" fmla="*/ 133940 w 355"/>
                <a:gd name="T33" fmla="*/ 145494 h 388"/>
                <a:gd name="T34" fmla="*/ 122779 w 355"/>
                <a:gd name="T35" fmla="*/ 146533 h 388"/>
                <a:gd name="T36" fmla="*/ 115910 w 355"/>
                <a:gd name="T37" fmla="*/ 146533 h 388"/>
                <a:gd name="T38" fmla="*/ 108183 w 355"/>
                <a:gd name="T39" fmla="*/ 137700 h 388"/>
                <a:gd name="T40" fmla="*/ 103031 w 355"/>
                <a:gd name="T41" fmla="*/ 134582 h 388"/>
                <a:gd name="T42" fmla="*/ 94874 w 355"/>
                <a:gd name="T43" fmla="*/ 139778 h 388"/>
                <a:gd name="T44" fmla="*/ 88006 w 355"/>
                <a:gd name="T45" fmla="*/ 144974 h 388"/>
                <a:gd name="T46" fmla="*/ 83283 w 355"/>
                <a:gd name="T47" fmla="*/ 148092 h 388"/>
                <a:gd name="T48" fmla="*/ 79420 w 355"/>
                <a:gd name="T49" fmla="*/ 154847 h 388"/>
                <a:gd name="T50" fmla="*/ 80278 w 355"/>
                <a:gd name="T51" fmla="*/ 166798 h 388"/>
                <a:gd name="T52" fmla="*/ 88864 w 355"/>
                <a:gd name="T53" fmla="*/ 186024 h 388"/>
                <a:gd name="T54" fmla="*/ 83713 w 355"/>
                <a:gd name="T55" fmla="*/ 183426 h 388"/>
                <a:gd name="T56" fmla="*/ 75985 w 355"/>
                <a:gd name="T57" fmla="*/ 184466 h 388"/>
                <a:gd name="T58" fmla="*/ 69546 w 355"/>
                <a:gd name="T59" fmla="*/ 189662 h 388"/>
                <a:gd name="T60" fmla="*/ 62677 w 355"/>
                <a:gd name="T61" fmla="*/ 201613 h 388"/>
                <a:gd name="T62" fmla="*/ 52803 w 355"/>
                <a:gd name="T63" fmla="*/ 192260 h 388"/>
                <a:gd name="T64" fmla="*/ 48510 w 355"/>
                <a:gd name="T65" fmla="*/ 186024 h 388"/>
                <a:gd name="T66" fmla="*/ 41212 w 355"/>
                <a:gd name="T67" fmla="*/ 168357 h 388"/>
                <a:gd name="T68" fmla="*/ 21465 w 355"/>
                <a:gd name="T69" fmla="*/ 145494 h 388"/>
                <a:gd name="T70" fmla="*/ 9445 w 355"/>
                <a:gd name="T71" fmla="*/ 131984 h 388"/>
                <a:gd name="T72" fmla="*/ 2146 w 355"/>
                <a:gd name="T73" fmla="*/ 115876 h 388"/>
                <a:gd name="T74" fmla="*/ 429 w 355"/>
                <a:gd name="T75" fmla="*/ 97169 h 388"/>
                <a:gd name="T76" fmla="*/ 4722 w 355"/>
                <a:gd name="T77" fmla="*/ 84179 h 388"/>
                <a:gd name="T78" fmla="*/ 17601 w 355"/>
                <a:gd name="T79" fmla="*/ 69629 h 388"/>
                <a:gd name="T80" fmla="*/ 23182 w 355"/>
                <a:gd name="T81" fmla="*/ 60276 h 388"/>
                <a:gd name="T82" fmla="*/ 24041 w 355"/>
                <a:gd name="T83" fmla="*/ 47286 h 388"/>
                <a:gd name="T84" fmla="*/ 46364 w 355"/>
                <a:gd name="T85" fmla="*/ 43129 h 388"/>
                <a:gd name="T86" fmla="*/ 66970 w 355"/>
                <a:gd name="T87" fmla="*/ 41570 h 388"/>
                <a:gd name="T88" fmla="*/ 73839 w 355"/>
                <a:gd name="T89" fmla="*/ 37932 h 388"/>
                <a:gd name="T90" fmla="*/ 75985 w 355"/>
                <a:gd name="T91" fmla="*/ 32736 h 388"/>
                <a:gd name="T92" fmla="*/ 74697 w 355"/>
                <a:gd name="T93" fmla="*/ 21304 h 388"/>
                <a:gd name="T94" fmla="*/ 71692 w 355"/>
                <a:gd name="T95" fmla="*/ 6235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83" name="Freeform 251">
              <a:extLst>
                <a:ext uri="{FF2B5EF4-FFF2-40B4-BE49-F238E27FC236}">
                  <a16:creationId xmlns:a16="http://schemas.microsoft.com/office/drawing/2014/main" id="{751BBCCC-AE35-4FE1-966E-C09021E9EBF4}"/>
                </a:ext>
              </a:extLst>
            </p:cNvPr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6611716" y="4258438"/>
              <a:ext cx="337638" cy="558724"/>
            </a:xfrm>
            <a:custGeom>
              <a:avLst/>
              <a:gdLst>
                <a:gd name="T0" fmla="*/ 0 w 599"/>
                <a:gd name="T1" fmla="*/ 135812 h 993"/>
                <a:gd name="T2" fmla="*/ 79105 w 599"/>
                <a:gd name="T3" fmla="*/ 117459 h 993"/>
                <a:gd name="T4" fmla="*/ 99967 w 599"/>
                <a:gd name="T5" fmla="*/ 125849 h 993"/>
                <a:gd name="T6" fmla="*/ 112137 w 599"/>
                <a:gd name="T7" fmla="*/ 135288 h 993"/>
                <a:gd name="T8" fmla="*/ 109530 w 599"/>
                <a:gd name="T9" fmla="*/ 155214 h 993"/>
                <a:gd name="T10" fmla="*/ 101706 w 599"/>
                <a:gd name="T11" fmla="*/ 171469 h 993"/>
                <a:gd name="T12" fmla="*/ 108660 w 599"/>
                <a:gd name="T13" fmla="*/ 187200 h 993"/>
                <a:gd name="T14" fmla="*/ 127784 w 599"/>
                <a:gd name="T15" fmla="*/ 191395 h 993"/>
                <a:gd name="T16" fmla="*/ 138651 w 599"/>
                <a:gd name="T17" fmla="*/ 178286 h 993"/>
                <a:gd name="T18" fmla="*/ 146909 w 599"/>
                <a:gd name="T19" fmla="*/ 166225 h 993"/>
                <a:gd name="T20" fmla="*/ 144301 w 599"/>
                <a:gd name="T21" fmla="*/ 136861 h 993"/>
                <a:gd name="T22" fmla="*/ 136477 w 599"/>
                <a:gd name="T23" fmla="*/ 106972 h 993"/>
                <a:gd name="T24" fmla="*/ 117788 w 599"/>
                <a:gd name="T25" fmla="*/ 82326 h 993"/>
                <a:gd name="T26" fmla="*/ 110399 w 599"/>
                <a:gd name="T27" fmla="*/ 65546 h 993"/>
                <a:gd name="T28" fmla="*/ 117353 w 599"/>
                <a:gd name="T29" fmla="*/ 32511 h 993"/>
                <a:gd name="T30" fmla="*/ 139085 w 599"/>
                <a:gd name="T31" fmla="*/ 28840 h 993"/>
                <a:gd name="T32" fmla="*/ 181680 w 599"/>
                <a:gd name="T33" fmla="*/ 31462 h 993"/>
                <a:gd name="T34" fmla="*/ 226448 w 599"/>
                <a:gd name="T35" fmla="*/ 18877 h 993"/>
                <a:gd name="T36" fmla="*/ 259481 w 599"/>
                <a:gd name="T37" fmla="*/ 1573 h 993"/>
                <a:gd name="T38" fmla="*/ 259481 w 599"/>
                <a:gd name="T39" fmla="*/ 15731 h 993"/>
                <a:gd name="T40" fmla="*/ 259481 w 599"/>
                <a:gd name="T41" fmla="*/ 66071 h 993"/>
                <a:gd name="T42" fmla="*/ 257308 w 599"/>
                <a:gd name="T43" fmla="*/ 119556 h 993"/>
                <a:gd name="T44" fmla="*/ 254265 w 599"/>
                <a:gd name="T45" fmla="*/ 144726 h 993"/>
                <a:gd name="T46" fmla="*/ 239053 w 599"/>
                <a:gd name="T47" fmla="*/ 176713 h 993"/>
                <a:gd name="T48" fmla="*/ 203412 w 599"/>
                <a:gd name="T49" fmla="*/ 210797 h 993"/>
                <a:gd name="T50" fmla="*/ 162556 w 599"/>
                <a:gd name="T51" fmla="*/ 223382 h 993"/>
                <a:gd name="T52" fmla="*/ 153428 w 599"/>
                <a:gd name="T53" fmla="*/ 243308 h 993"/>
                <a:gd name="T54" fmla="*/ 127350 w 599"/>
                <a:gd name="T55" fmla="*/ 265856 h 993"/>
                <a:gd name="T56" fmla="*/ 105618 w 599"/>
                <a:gd name="T57" fmla="*/ 287879 h 993"/>
                <a:gd name="T58" fmla="*/ 99533 w 599"/>
                <a:gd name="T59" fmla="*/ 305184 h 993"/>
                <a:gd name="T60" fmla="*/ 103010 w 599"/>
                <a:gd name="T61" fmla="*/ 324585 h 993"/>
                <a:gd name="T62" fmla="*/ 116049 w 599"/>
                <a:gd name="T63" fmla="*/ 342938 h 993"/>
                <a:gd name="T64" fmla="*/ 110399 w 599"/>
                <a:gd name="T65" fmla="*/ 363913 h 993"/>
                <a:gd name="T66" fmla="*/ 115180 w 599"/>
                <a:gd name="T67" fmla="*/ 382266 h 993"/>
                <a:gd name="T68" fmla="*/ 116049 w 599"/>
                <a:gd name="T69" fmla="*/ 414253 h 993"/>
                <a:gd name="T70" fmla="*/ 111268 w 599"/>
                <a:gd name="T71" fmla="*/ 426838 h 993"/>
                <a:gd name="T72" fmla="*/ 83886 w 599"/>
                <a:gd name="T73" fmla="*/ 457776 h 993"/>
                <a:gd name="T74" fmla="*/ 63892 w 599"/>
                <a:gd name="T75" fmla="*/ 465117 h 993"/>
                <a:gd name="T76" fmla="*/ 44333 w 599"/>
                <a:gd name="T77" fmla="*/ 468787 h 993"/>
                <a:gd name="T78" fmla="*/ 37814 w 599"/>
                <a:gd name="T79" fmla="*/ 478750 h 993"/>
                <a:gd name="T80" fmla="*/ 41291 w 599"/>
                <a:gd name="T81" fmla="*/ 492384 h 993"/>
                <a:gd name="T82" fmla="*/ 39552 w 599"/>
                <a:gd name="T83" fmla="*/ 520176 h 993"/>
                <a:gd name="T84" fmla="*/ 32163 w 599"/>
                <a:gd name="T85" fmla="*/ 424740 h 993"/>
                <a:gd name="T86" fmla="*/ 25209 w 599"/>
                <a:gd name="T87" fmla="*/ 401144 h 993"/>
                <a:gd name="T88" fmla="*/ 17820 w 599"/>
                <a:gd name="T89" fmla="*/ 377547 h 993"/>
                <a:gd name="T90" fmla="*/ 46941 w 599"/>
                <a:gd name="T91" fmla="*/ 349231 h 993"/>
                <a:gd name="T92" fmla="*/ 47376 w 599"/>
                <a:gd name="T93" fmla="*/ 321964 h 993"/>
                <a:gd name="T94" fmla="*/ 64762 w 599"/>
                <a:gd name="T95" fmla="*/ 299416 h 993"/>
                <a:gd name="T96" fmla="*/ 75628 w 599"/>
                <a:gd name="T97" fmla="*/ 275819 h 993"/>
                <a:gd name="T98" fmla="*/ 73020 w 599"/>
                <a:gd name="T99" fmla="*/ 231247 h 993"/>
                <a:gd name="T100" fmla="*/ 66065 w 599"/>
                <a:gd name="T101" fmla="*/ 190871 h 993"/>
                <a:gd name="T102" fmla="*/ 35206 w 599"/>
                <a:gd name="T103" fmla="*/ 178810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84" name="Freeform 252">
              <a:extLst>
                <a:ext uri="{FF2B5EF4-FFF2-40B4-BE49-F238E27FC236}">
                  <a16:creationId xmlns:a16="http://schemas.microsoft.com/office/drawing/2014/main" id="{B49BD8EA-9C2A-47AC-A377-C14C14F579CD}"/>
                </a:ext>
              </a:extLst>
            </p:cNvPr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6267904" y="4515655"/>
              <a:ext cx="308815" cy="308321"/>
            </a:xfrm>
            <a:custGeom>
              <a:avLst/>
              <a:gdLst>
                <a:gd name="T0" fmla="*/ 13108 w 545"/>
                <a:gd name="T1" fmla="*/ 224008 h 549"/>
                <a:gd name="T2" fmla="*/ 20099 w 545"/>
                <a:gd name="T3" fmla="*/ 237616 h 549"/>
                <a:gd name="T4" fmla="*/ 20099 w 545"/>
                <a:gd name="T5" fmla="*/ 267973 h 549"/>
                <a:gd name="T6" fmla="*/ 20972 w 545"/>
                <a:gd name="T7" fmla="*/ 275824 h 549"/>
                <a:gd name="T8" fmla="*/ 24031 w 545"/>
                <a:gd name="T9" fmla="*/ 281057 h 549"/>
                <a:gd name="T10" fmla="*/ 29711 w 545"/>
                <a:gd name="T11" fmla="*/ 285244 h 549"/>
                <a:gd name="T12" fmla="*/ 43693 w 545"/>
                <a:gd name="T13" fmla="*/ 287338 h 549"/>
                <a:gd name="T14" fmla="*/ 49373 w 545"/>
                <a:gd name="T15" fmla="*/ 285768 h 549"/>
                <a:gd name="T16" fmla="*/ 56800 w 545"/>
                <a:gd name="T17" fmla="*/ 278964 h 549"/>
                <a:gd name="T18" fmla="*/ 62481 w 545"/>
                <a:gd name="T19" fmla="*/ 265356 h 549"/>
                <a:gd name="T20" fmla="*/ 67287 w 545"/>
                <a:gd name="T21" fmla="*/ 249654 h 549"/>
                <a:gd name="T22" fmla="*/ 73841 w 545"/>
                <a:gd name="T23" fmla="*/ 237616 h 549"/>
                <a:gd name="T24" fmla="*/ 79958 w 545"/>
                <a:gd name="T25" fmla="*/ 232906 h 549"/>
                <a:gd name="T26" fmla="*/ 87822 w 545"/>
                <a:gd name="T27" fmla="*/ 232383 h 549"/>
                <a:gd name="T28" fmla="*/ 96998 w 545"/>
                <a:gd name="T29" fmla="*/ 234476 h 549"/>
                <a:gd name="T30" fmla="*/ 110106 w 545"/>
                <a:gd name="T31" fmla="*/ 241280 h 549"/>
                <a:gd name="T32" fmla="*/ 118844 w 545"/>
                <a:gd name="T33" fmla="*/ 244944 h 549"/>
                <a:gd name="T34" fmla="*/ 129767 w 545"/>
                <a:gd name="T35" fmla="*/ 245467 h 549"/>
                <a:gd name="T36" fmla="*/ 139380 w 545"/>
                <a:gd name="T37" fmla="*/ 242850 h 549"/>
                <a:gd name="T38" fmla="*/ 145060 w 545"/>
                <a:gd name="T39" fmla="*/ 237093 h 549"/>
                <a:gd name="T40" fmla="*/ 156857 w 545"/>
                <a:gd name="T41" fmla="*/ 203073 h 549"/>
                <a:gd name="T42" fmla="*/ 166906 w 545"/>
                <a:gd name="T43" fmla="*/ 189989 h 549"/>
                <a:gd name="T44" fmla="*/ 195306 w 545"/>
                <a:gd name="T45" fmla="*/ 164343 h 549"/>
                <a:gd name="T46" fmla="*/ 230260 w 545"/>
                <a:gd name="T47" fmla="*/ 138173 h 549"/>
                <a:gd name="T48" fmla="*/ 230697 w 545"/>
                <a:gd name="T49" fmla="*/ 121425 h 549"/>
                <a:gd name="T50" fmla="*/ 219774 w 545"/>
                <a:gd name="T51" fmla="*/ 114098 h 549"/>
                <a:gd name="T52" fmla="*/ 211909 w 545"/>
                <a:gd name="T53" fmla="*/ 104153 h 549"/>
                <a:gd name="T54" fmla="*/ 200986 w 545"/>
                <a:gd name="T55" fmla="*/ 82171 h 549"/>
                <a:gd name="T56" fmla="*/ 192248 w 545"/>
                <a:gd name="T57" fmla="*/ 69087 h 549"/>
                <a:gd name="T58" fmla="*/ 164721 w 545"/>
                <a:gd name="T59" fmla="*/ 39777 h 549"/>
                <a:gd name="T60" fmla="*/ 156857 w 545"/>
                <a:gd name="T61" fmla="*/ 27739 h 549"/>
                <a:gd name="T62" fmla="*/ 152050 w 545"/>
                <a:gd name="T63" fmla="*/ 12561 h 549"/>
                <a:gd name="T64" fmla="*/ 139380 w 545"/>
                <a:gd name="T65" fmla="*/ 0 h 549"/>
                <a:gd name="T66" fmla="*/ 106610 w 545"/>
                <a:gd name="T67" fmla="*/ 1047 h 549"/>
                <a:gd name="T68" fmla="*/ 76899 w 545"/>
                <a:gd name="T69" fmla="*/ 6804 h 549"/>
                <a:gd name="T70" fmla="*/ 41508 w 545"/>
                <a:gd name="T71" fmla="*/ 11514 h 549"/>
                <a:gd name="T72" fmla="*/ 31022 w 545"/>
                <a:gd name="T73" fmla="*/ 14131 h 549"/>
                <a:gd name="T74" fmla="*/ 29274 w 545"/>
                <a:gd name="T75" fmla="*/ 19889 h 549"/>
                <a:gd name="T76" fmla="*/ 31896 w 545"/>
                <a:gd name="T77" fmla="*/ 29310 h 549"/>
                <a:gd name="T78" fmla="*/ 36702 w 545"/>
                <a:gd name="T79" fmla="*/ 38730 h 549"/>
                <a:gd name="T80" fmla="*/ 37576 w 545"/>
                <a:gd name="T81" fmla="*/ 56002 h 549"/>
                <a:gd name="T82" fmla="*/ 32333 w 545"/>
                <a:gd name="T83" fmla="*/ 89499 h 549"/>
                <a:gd name="T84" fmla="*/ 27089 w 545"/>
                <a:gd name="T85" fmla="*/ 124042 h 549"/>
                <a:gd name="T86" fmla="*/ 20536 w 545"/>
                <a:gd name="T87" fmla="*/ 137650 h 549"/>
                <a:gd name="T88" fmla="*/ 11360 w 545"/>
                <a:gd name="T89" fmla="*/ 144977 h 549"/>
                <a:gd name="T90" fmla="*/ 2185 w 545"/>
                <a:gd name="T91" fmla="*/ 160679 h 549"/>
                <a:gd name="T92" fmla="*/ 437 w 545"/>
                <a:gd name="T93" fmla="*/ 177427 h 549"/>
                <a:gd name="T94" fmla="*/ 3495 w 545"/>
                <a:gd name="T95" fmla="*/ 192082 h 549"/>
                <a:gd name="T96" fmla="*/ 3495 w 545"/>
                <a:gd name="T97" fmla="*/ 204643 h 549"/>
                <a:gd name="T98" fmla="*/ 0 w 545"/>
                <a:gd name="T99" fmla="*/ 213541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85" name="Freeform 253">
              <a:extLst>
                <a:ext uri="{FF2B5EF4-FFF2-40B4-BE49-F238E27FC236}">
                  <a16:creationId xmlns:a16="http://schemas.microsoft.com/office/drawing/2014/main" id="{26030676-4330-4F7E-9E6D-7B550A88D3FC}"/>
                </a:ext>
              </a:extLst>
            </p:cNvPr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7011117" y="4302727"/>
              <a:ext cx="255287" cy="466740"/>
            </a:xfrm>
            <a:custGeom>
              <a:avLst/>
              <a:gdLst>
                <a:gd name="T0" fmla="*/ 48777 w 452"/>
                <a:gd name="T1" fmla="*/ 136452 h 832"/>
                <a:gd name="T2" fmla="*/ 60100 w 452"/>
                <a:gd name="T3" fmla="*/ 129656 h 832"/>
                <a:gd name="T4" fmla="*/ 71859 w 452"/>
                <a:gd name="T5" fmla="*/ 125474 h 832"/>
                <a:gd name="T6" fmla="*/ 83618 w 452"/>
                <a:gd name="T7" fmla="*/ 121291 h 832"/>
                <a:gd name="T8" fmla="*/ 93634 w 452"/>
                <a:gd name="T9" fmla="*/ 113449 h 832"/>
                <a:gd name="T10" fmla="*/ 101038 w 452"/>
                <a:gd name="T11" fmla="*/ 104561 h 832"/>
                <a:gd name="T12" fmla="*/ 101038 w 452"/>
                <a:gd name="T13" fmla="*/ 93582 h 832"/>
                <a:gd name="T14" fmla="*/ 115410 w 452"/>
                <a:gd name="T15" fmla="*/ 93060 h 832"/>
                <a:gd name="T16" fmla="*/ 122813 w 452"/>
                <a:gd name="T17" fmla="*/ 90446 h 832"/>
                <a:gd name="T18" fmla="*/ 129782 w 452"/>
                <a:gd name="T19" fmla="*/ 84695 h 832"/>
                <a:gd name="T20" fmla="*/ 139363 w 452"/>
                <a:gd name="T21" fmla="*/ 69533 h 832"/>
                <a:gd name="T22" fmla="*/ 152428 w 452"/>
                <a:gd name="T23" fmla="*/ 39210 h 832"/>
                <a:gd name="T24" fmla="*/ 164622 w 452"/>
                <a:gd name="T25" fmla="*/ 0 h 832"/>
                <a:gd name="T26" fmla="*/ 167671 w 452"/>
                <a:gd name="T27" fmla="*/ 9933 h 832"/>
                <a:gd name="T28" fmla="*/ 177252 w 452"/>
                <a:gd name="T29" fmla="*/ 24572 h 832"/>
                <a:gd name="T30" fmla="*/ 195108 w 452"/>
                <a:gd name="T31" fmla="*/ 44439 h 832"/>
                <a:gd name="T32" fmla="*/ 191624 w 452"/>
                <a:gd name="T33" fmla="*/ 53849 h 832"/>
                <a:gd name="T34" fmla="*/ 193366 w 452"/>
                <a:gd name="T35" fmla="*/ 72147 h 832"/>
                <a:gd name="T36" fmla="*/ 196850 w 452"/>
                <a:gd name="T37" fmla="*/ 96719 h 832"/>
                <a:gd name="T38" fmla="*/ 195108 w 452"/>
                <a:gd name="T39" fmla="*/ 107698 h 832"/>
                <a:gd name="T40" fmla="*/ 186398 w 452"/>
                <a:gd name="T41" fmla="*/ 122337 h 832"/>
                <a:gd name="T42" fmla="*/ 178123 w 452"/>
                <a:gd name="T43" fmla="*/ 136452 h 832"/>
                <a:gd name="T44" fmla="*/ 176381 w 452"/>
                <a:gd name="T45" fmla="*/ 147954 h 832"/>
                <a:gd name="T46" fmla="*/ 171155 w 452"/>
                <a:gd name="T47" fmla="*/ 161024 h 832"/>
                <a:gd name="T48" fmla="*/ 166800 w 452"/>
                <a:gd name="T49" fmla="*/ 166252 h 832"/>
                <a:gd name="T50" fmla="*/ 164187 w 452"/>
                <a:gd name="T51" fmla="*/ 173572 h 832"/>
                <a:gd name="T52" fmla="*/ 160267 w 452"/>
                <a:gd name="T53" fmla="*/ 190302 h 832"/>
                <a:gd name="T54" fmla="*/ 147202 w 452"/>
                <a:gd name="T55" fmla="*/ 223238 h 832"/>
                <a:gd name="T56" fmla="*/ 139798 w 452"/>
                <a:gd name="T57" fmla="*/ 245719 h 832"/>
                <a:gd name="T58" fmla="*/ 138492 w 452"/>
                <a:gd name="T59" fmla="*/ 261403 h 832"/>
                <a:gd name="T60" fmla="*/ 135008 w 452"/>
                <a:gd name="T61" fmla="*/ 277610 h 832"/>
                <a:gd name="T62" fmla="*/ 122378 w 452"/>
                <a:gd name="T63" fmla="*/ 314730 h 832"/>
                <a:gd name="T64" fmla="*/ 113232 w 452"/>
                <a:gd name="T65" fmla="*/ 333028 h 832"/>
                <a:gd name="T66" fmla="*/ 105393 w 452"/>
                <a:gd name="T67" fmla="*/ 342438 h 832"/>
                <a:gd name="T68" fmla="*/ 101038 w 452"/>
                <a:gd name="T69" fmla="*/ 345052 h 832"/>
                <a:gd name="T70" fmla="*/ 99296 w 452"/>
                <a:gd name="T71" fmla="*/ 373284 h 832"/>
                <a:gd name="T72" fmla="*/ 93634 w 452"/>
                <a:gd name="T73" fmla="*/ 396810 h 832"/>
                <a:gd name="T74" fmla="*/ 83182 w 452"/>
                <a:gd name="T75" fmla="*/ 415631 h 832"/>
                <a:gd name="T76" fmla="*/ 68375 w 452"/>
                <a:gd name="T77" fmla="*/ 428179 h 832"/>
                <a:gd name="T78" fmla="*/ 47906 w 452"/>
                <a:gd name="T79" fmla="*/ 434452 h 832"/>
                <a:gd name="T80" fmla="*/ 34841 w 452"/>
                <a:gd name="T81" fmla="*/ 432361 h 832"/>
                <a:gd name="T82" fmla="*/ 31792 w 452"/>
                <a:gd name="T83" fmla="*/ 427133 h 832"/>
                <a:gd name="T84" fmla="*/ 21775 w 452"/>
                <a:gd name="T85" fmla="*/ 423473 h 832"/>
                <a:gd name="T86" fmla="*/ 11323 w 452"/>
                <a:gd name="T87" fmla="*/ 417200 h 832"/>
                <a:gd name="T88" fmla="*/ 5226 w 452"/>
                <a:gd name="T89" fmla="*/ 406221 h 832"/>
                <a:gd name="T90" fmla="*/ 1307 w 452"/>
                <a:gd name="T91" fmla="*/ 393150 h 832"/>
                <a:gd name="T92" fmla="*/ 0 w 452"/>
                <a:gd name="T93" fmla="*/ 370147 h 832"/>
                <a:gd name="T94" fmla="*/ 1742 w 452"/>
                <a:gd name="T95" fmla="*/ 362828 h 832"/>
                <a:gd name="T96" fmla="*/ 8275 w 452"/>
                <a:gd name="T97" fmla="*/ 354463 h 832"/>
                <a:gd name="T98" fmla="*/ 4791 w 452"/>
                <a:gd name="T99" fmla="*/ 351326 h 832"/>
                <a:gd name="T100" fmla="*/ 0 w 452"/>
                <a:gd name="T101" fmla="*/ 340870 h 832"/>
                <a:gd name="T102" fmla="*/ 2178 w 452"/>
                <a:gd name="T103" fmla="*/ 328322 h 832"/>
                <a:gd name="T104" fmla="*/ 3484 w 452"/>
                <a:gd name="T105" fmla="*/ 318912 h 832"/>
                <a:gd name="T106" fmla="*/ 2178 w 452"/>
                <a:gd name="T107" fmla="*/ 308979 h 832"/>
                <a:gd name="T108" fmla="*/ 7839 w 452"/>
                <a:gd name="T109" fmla="*/ 306887 h 832"/>
                <a:gd name="T110" fmla="*/ 18727 w 452"/>
                <a:gd name="T111" fmla="*/ 296954 h 832"/>
                <a:gd name="T112" fmla="*/ 27437 w 452"/>
                <a:gd name="T113" fmla="*/ 281270 h 832"/>
                <a:gd name="T114" fmla="*/ 33099 w 452"/>
                <a:gd name="T115" fmla="*/ 264540 h 832"/>
                <a:gd name="T116" fmla="*/ 37454 w 452"/>
                <a:gd name="T117" fmla="*/ 241537 h 832"/>
                <a:gd name="T118" fmla="*/ 36147 w 452"/>
                <a:gd name="T119" fmla="*/ 228989 h 832"/>
                <a:gd name="T120" fmla="*/ 30486 w 452"/>
                <a:gd name="T121" fmla="*/ 213305 h 832"/>
                <a:gd name="T122" fmla="*/ 24388 w 452"/>
                <a:gd name="T123" fmla="*/ 199712 h 832"/>
                <a:gd name="T124" fmla="*/ 23082 w 452"/>
                <a:gd name="T125" fmla="*/ 189779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86" name="Freeform 254">
              <a:extLst>
                <a:ext uri="{FF2B5EF4-FFF2-40B4-BE49-F238E27FC236}">
                  <a16:creationId xmlns:a16="http://schemas.microsoft.com/office/drawing/2014/main" id="{569A59C8-E50D-45ED-98FD-9E9627372381}"/>
                </a:ext>
              </a:extLst>
            </p:cNvPr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591129" y="3979077"/>
              <a:ext cx="47352" cy="71545"/>
            </a:xfrm>
            <a:custGeom>
              <a:avLst/>
              <a:gdLst>
                <a:gd name="T0" fmla="*/ 36513 w 80"/>
                <a:gd name="T1" fmla="*/ 1058 h 126"/>
                <a:gd name="T2" fmla="*/ 36513 w 80"/>
                <a:gd name="T3" fmla="*/ 53446 h 126"/>
                <a:gd name="T4" fmla="*/ 35600 w 80"/>
                <a:gd name="T5" fmla="*/ 55033 h 126"/>
                <a:gd name="T6" fmla="*/ 34231 w 80"/>
                <a:gd name="T7" fmla="*/ 56621 h 126"/>
                <a:gd name="T8" fmla="*/ 31949 w 80"/>
                <a:gd name="T9" fmla="*/ 57679 h 126"/>
                <a:gd name="T10" fmla="*/ 30580 w 80"/>
                <a:gd name="T11" fmla="*/ 58737 h 126"/>
                <a:gd name="T12" fmla="*/ 26472 w 80"/>
                <a:gd name="T13" fmla="*/ 60325 h 126"/>
                <a:gd name="T14" fmla="*/ 21908 w 80"/>
                <a:gd name="T15" fmla="*/ 61383 h 126"/>
                <a:gd name="T16" fmla="*/ 16431 w 80"/>
                <a:gd name="T17" fmla="*/ 61912 h 126"/>
                <a:gd name="T18" fmla="*/ 11410 w 80"/>
                <a:gd name="T19" fmla="*/ 62971 h 126"/>
                <a:gd name="T20" fmla="*/ 5933 w 80"/>
                <a:gd name="T21" fmla="*/ 65087 h 126"/>
                <a:gd name="T22" fmla="*/ 0 w 80"/>
                <a:gd name="T23" fmla="*/ 66675 h 126"/>
                <a:gd name="T24" fmla="*/ 3195 w 80"/>
                <a:gd name="T25" fmla="*/ 21167 h 126"/>
                <a:gd name="T26" fmla="*/ 10497 w 80"/>
                <a:gd name="T27" fmla="*/ 14287 h 126"/>
                <a:gd name="T28" fmla="*/ 18713 w 80"/>
                <a:gd name="T29" fmla="*/ 6350 h 126"/>
                <a:gd name="T30" fmla="*/ 23277 w 80"/>
                <a:gd name="T31" fmla="*/ 2646 h 126"/>
                <a:gd name="T32" fmla="*/ 27385 w 80"/>
                <a:gd name="T33" fmla="*/ 529 h 126"/>
                <a:gd name="T34" fmla="*/ 29667 w 80"/>
                <a:gd name="T35" fmla="*/ 0 h 126"/>
                <a:gd name="T36" fmla="*/ 31949 w 80"/>
                <a:gd name="T37" fmla="*/ 0 h 126"/>
                <a:gd name="T38" fmla="*/ 34231 w 80"/>
                <a:gd name="T39" fmla="*/ 529 h 126"/>
                <a:gd name="T40" fmla="*/ 36513 w 80"/>
                <a:gd name="T41" fmla="*/ 1058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87" name="Freeform 255">
              <a:extLst>
                <a:ext uri="{FF2B5EF4-FFF2-40B4-BE49-F238E27FC236}">
                  <a16:creationId xmlns:a16="http://schemas.microsoft.com/office/drawing/2014/main" id="{BBD3E75F-9C1A-4A2D-B7CA-1B5F738205EB}"/>
                </a:ext>
              </a:extLst>
            </p:cNvPr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6576718" y="3936490"/>
              <a:ext cx="72056" cy="64731"/>
            </a:xfrm>
            <a:custGeom>
              <a:avLst/>
              <a:gdLst>
                <a:gd name="T0" fmla="*/ 50633 w 124"/>
                <a:gd name="T1" fmla="*/ 0 h 117"/>
                <a:gd name="T2" fmla="*/ 51977 w 124"/>
                <a:gd name="T3" fmla="*/ 7734 h 117"/>
                <a:gd name="T4" fmla="*/ 54666 w 124"/>
                <a:gd name="T5" fmla="*/ 18046 h 117"/>
                <a:gd name="T6" fmla="*/ 55562 w 124"/>
                <a:gd name="T7" fmla="*/ 23202 h 117"/>
                <a:gd name="T8" fmla="*/ 55562 w 124"/>
                <a:gd name="T9" fmla="*/ 27842 h 117"/>
                <a:gd name="T10" fmla="*/ 55562 w 124"/>
                <a:gd name="T11" fmla="*/ 30420 h 117"/>
                <a:gd name="T12" fmla="*/ 55114 w 124"/>
                <a:gd name="T13" fmla="*/ 32998 h 117"/>
                <a:gd name="T14" fmla="*/ 54666 w 124"/>
                <a:gd name="T15" fmla="*/ 35576 h 117"/>
                <a:gd name="T16" fmla="*/ 53322 w 124"/>
                <a:gd name="T17" fmla="*/ 37639 h 117"/>
                <a:gd name="T18" fmla="*/ 51081 w 124"/>
                <a:gd name="T19" fmla="*/ 37123 h 117"/>
                <a:gd name="T20" fmla="*/ 48393 w 124"/>
                <a:gd name="T21" fmla="*/ 36607 h 117"/>
                <a:gd name="T22" fmla="*/ 46152 w 124"/>
                <a:gd name="T23" fmla="*/ 37123 h 117"/>
                <a:gd name="T24" fmla="*/ 43016 w 124"/>
                <a:gd name="T25" fmla="*/ 37639 h 117"/>
                <a:gd name="T26" fmla="*/ 37191 w 124"/>
                <a:gd name="T27" fmla="*/ 40217 h 117"/>
                <a:gd name="T28" fmla="*/ 31814 w 124"/>
                <a:gd name="T29" fmla="*/ 43826 h 117"/>
                <a:gd name="T30" fmla="*/ 20612 w 124"/>
                <a:gd name="T31" fmla="*/ 53107 h 117"/>
                <a:gd name="T32" fmla="*/ 11650 w 124"/>
                <a:gd name="T33" fmla="*/ 60325 h 117"/>
                <a:gd name="T34" fmla="*/ 10306 w 124"/>
                <a:gd name="T35" fmla="*/ 57747 h 117"/>
                <a:gd name="T36" fmla="*/ 5825 w 124"/>
                <a:gd name="T37" fmla="*/ 52075 h 117"/>
                <a:gd name="T38" fmla="*/ 1792 w 124"/>
                <a:gd name="T39" fmla="*/ 45888 h 117"/>
                <a:gd name="T40" fmla="*/ 0 w 124"/>
                <a:gd name="T41" fmla="*/ 40732 h 117"/>
                <a:gd name="T42" fmla="*/ 448 w 124"/>
                <a:gd name="T43" fmla="*/ 39185 h 117"/>
                <a:gd name="T44" fmla="*/ 896 w 124"/>
                <a:gd name="T45" fmla="*/ 37123 h 117"/>
                <a:gd name="T46" fmla="*/ 2240 w 124"/>
                <a:gd name="T47" fmla="*/ 34545 h 117"/>
                <a:gd name="T48" fmla="*/ 4033 w 124"/>
                <a:gd name="T49" fmla="*/ 31967 h 117"/>
                <a:gd name="T50" fmla="*/ 7617 w 124"/>
                <a:gd name="T51" fmla="*/ 26811 h 117"/>
                <a:gd name="T52" fmla="*/ 12098 w 124"/>
                <a:gd name="T53" fmla="*/ 21655 h 117"/>
                <a:gd name="T54" fmla="*/ 21508 w 124"/>
                <a:gd name="T55" fmla="*/ 11343 h 117"/>
                <a:gd name="T56" fmla="*/ 26885 w 124"/>
                <a:gd name="T57" fmla="*/ 6187 h 117"/>
                <a:gd name="T58" fmla="*/ 32710 w 124"/>
                <a:gd name="T59" fmla="*/ 6187 h 117"/>
                <a:gd name="T60" fmla="*/ 38535 w 124"/>
                <a:gd name="T61" fmla="*/ 6187 h 117"/>
                <a:gd name="T62" fmla="*/ 44808 w 124"/>
                <a:gd name="T63" fmla="*/ 3094 h 117"/>
                <a:gd name="T64" fmla="*/ 50633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88" name="Freeform 256">
              <a:extLst>
                <a:ext uri="{FF2B5EF4-FFF2-40B4-BE49-F238E27FC236}">
                  <a16:creationId xmlns:a16="http://schemas.microsoft.com/office/drawing/2014/main" id="{AD312575-AEDC-49D8-9AFE-3C95D197CEEA}"/>
                </a:ext>
              </a:extLst>
            </p:cNvPr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6978177" y="2541383"/>
              <a:ext cx="652630" cy="507621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89" name="Freeform 257">
              <a:extLst>
                <a:ext uri="{FF2B5EF4-FFF2-40B4-BE49-F238E27FC236}">
                  <a16:creationId xmlns:a16="http://schemas.microsoft.com/office/drawing/2014/main" id="{D180C8E7-3A75-41F4-82CF-F521CA94FBEB}"/>
                </a:ext>
              </a:extLst>
            </p:cNvPr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7009059" y="3246602"/>
              <a:ext cx="321168" cy="245293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0" name="Freeform 258">
              <a:extLst>
                <a:ext uri="{FF2B5EF4-FFF2-40B4-BE49-F238E27FC236}">
                  <a16:creationId xmlns:a16="http://schemas.microsoft.com/office/drawing/2014/main" id="{D89B49AA-AD21-4D93-8BBA-CAE4F36DA64B}"/>
                </a:ext>
              </a:extLst>
            </p:cNvPr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7262287" y="3004716"/>
              <a:ext cx="156466" cy="129460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1" name="Freeform 259">
              <a:extLst>
                <a:ext uri="{FF2B5EF4-FFF2-40B4-BE49-F238E27FC236}">
                  <a16:creationId xmlns:a16="http://schemas.microsoft.com/office/drawing/2014/main" id="{7A4DE57C-67DD-4555-B866-19EA0CA6D713}"/>
                </a:ext>
              </a:extLst>
            </p:cNvPr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6856710" y="2631665"/>
              <a:ext cx="288227" cy="282769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2" name="Freeform 260">
              <a:extLst>
                <a:ext uri="{FF2B5EF4-FFF2-40B4-BE49-F238E27FC236}">
                  <a16:creationId xmlns:a16="http://schemas.microsoft.com/office/drawing/2014/main" id="{6CA4B7E9-9E33-4ED2-97A6-0A0F438B82FC}"/>
                </a:ext>
              </a:extLst>
            </p:cNvPr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7505221" y="2589079"/>
              <a:ext cx="430283" cy="311727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3" name="Freeform 261">
              <a:extLst>
                <a:ext uri="{FF2B5EF4-FFF2-40B4-BE49-F238E27FC236}">
                  <a16:creationId xmlns:a16="http://schemas.microsoft.com/office/drawing/2014/main" id="{7ED58BC8-1011-46BF-88E9-85269F51C2D7}"/>
                </a:ext>
              </a:extLst>
            </p:cNvPr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7546395" y="2641884"/>
              <a:ext cx="473515" cy="454816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4" name="Freeform 262">
              <a:extLst>
                <a:ext uri="{FF2B5EF4-FFF2-40B4-BE49-F238E27FC236}">
                  <a16:creationId xmlns:a16="http://schemas.microsoft.com/office/drawing/2014/main" id="{6C370EEC-453E-448A-B2DB-9C05AAC9A43C}"/>
                </a:ext>
              </a:extLst>
            </p:cNvPr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8571659" y="2929764"/>
              <a:ext cx="286169" cy="628564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5" name="Freeform 263">
              <a:extLst>
                <a:ext uri="{FF2B5EF4-FFF2-40B4-BE49-F238E27FC236}">
                  <a16:creationId xmlns:a16="http://schemas.microsoft.com/office/drawing/2014/main" id="{516C7699-7A96-4C0C-907F-73BD4BC9F127}"/>
                </a:ext>
              </a:extLst>
            </p:cNvPr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5100584" y="3476564"/>
              <a:ext cx="104998" cy="63028"/>
            </a:xfrm>
            <a:custGeom>
              <a:avLst/>
              <a:gdLst>
                <a:gd name="T0" fmla="*/ 80963 w 180"/>
                <a:gd name="T1" fmla="*/ 3671 h 112"/>
                <a:gd name="T2" fmla="*/ 76915 w 180"/>
                <a:gd name="T3" fmla="*/ 12587 h 112"/>
                <a:gd name="T4" fmla="*/ 73316 w 180"/>
                <a:gd name="T5" fmla="*/ 20453 h 112"/>
                <a:gd name="T6" fmla="*/ 68369 w 180"/>
                <a:gd name="T7" fmla="*/ 27796 h 112"/>
                <a:gd name="T8" fmla="*/ 63421 w 180"/>
                <a:gd name="T9" fmla="*/ 34613 h 112"/>
                <a:gd name="T10" fmla="*/ 58023 w 180"/>
                <a:gd name="T11" fmla="*/ 41956 h 112"/>
                <a:gd name="T12" fmla="*/ 51726 w 180"/>
                <a:gd name="T13" fmla="*/ 48249 h 112"/>
                <a:gd name="T14" fmla="*/ 45429 w 180"/>
                <a:gd name="T15" fmla="*/ 53494 h 112"/>
                <a:gd name="T16" fmla="*/ 39132 w 180"/>
                <a:gd name="T17" fmla="*/ 58738 h 112"/>
                <a:gd name="T18" fmla="*/ 36883 w 180"/>
                <a:gd name="T19" fmla="*/ 56116 h 112"/>
                <a:gd name="T20" fmla="*/ 35534 w 180"/>
                <a:gd name="T21" fmla="*/ 52969 h 112"/>
                <a:gd name="T22" fmla="*/ 34184 w 180"/>
                <a:gd name="T23" fmla="*/ 49822 h 112"/>
                <a:gd name="T24" fmla="*/ 33285 w 180"/>
                <a:gd name="T25" fmla="*/ 46151 h 112"/>
                <a:gd name="T26" fmla="*/ 31486 w 180"/>
                <a:gd name="T27" fmla="*/ 42480 h 112"/>
                <a:gd name="T28" fmla="*/ 30586 w 180"/>
                <a:gd name="T29" fmla="*/ 38809 h 112"/>
                <a:gd name="T30" fmla="*/ 29237 w 180"/>
                <a:gd name="T31" fmla="*/ 36187 h 112"/>
                <a:gd name="T32" fmla="*/ 26988 w 180"/>
                <a:gd name="T33" fmla="*/ 33040 h 112"/>
                <a:gd name="T34" fmla="*/ 20241 w 180"/>
                <a:gd name="T35" fmla="*/ 25173 h 112"/>
                <a:gd name="T36" fmla="*/ 16193 w 180"/>
                <a:gd name="T37" fmla="*/ 19929 h 112"/>
                <a:gd name="T38" fmla="*/ 13494 w 180"/>
                <a:gd name="T39" fmla="*/ 17307 h 112"/>
                <a:gd name="T40" fmla="*/ 11245 w 180"/>
                <a:gd name="T41" fmla="*/ 16258 h 112"/>
                <a:gd name="T42" fmla="*/ 8096 w 180"/>
                <a:gd name="T43" fmla="*/ 15733 h 112"/>
                <a:gd name="T44" fmla="*/ 0 w 180"/>
                <a:gd name="T45" fmla="*/ 13636 h 112"/>
                <a:gd name="T46" fmla="*/ 11695 w 180"/>
                <a:gd name="T47" fmla="*/ 7342 h 112"/>
                <a:gd name="T48" fmla="*/ 18442 w 180"/>
                <a:gd name="T49" fmla="*/ 4720 h 112"/>
                <a:gd name="T50" fmla="*/ 25188 w 180"/>
                <a:gd name="T51" fmla="*/ 2622 h 112"/>
                <a:gd name="T52" fmla="*/ 33285 w 180"/>
                <a:gd name="T53" fmla="*/ 1573 h 112"/>
                <a:gd name="T54" fmla="*/ 41831 w 180"/>
                <a:gd name="T55" fmla="*/ 524 h 112"/>
                <a:gd name="T56" fmla="*/ 51277 w 180"/>
                <a:gd name="T57" fmla="*/ 0 h 112"/>
                <a:gd name="T58" fmla="*/ 60722 w 180"/>
                <a:gd name="T59" fmla="*/ 524 h 112"/>
                <a:gd name="T60" fmla="*/ 70618 w 180"/>
                <a:gd name="T61" fmla="*/ 1573 h 112"/>
                <a:gd name="T62" fmla="*/ 80963 w 180"/>
                <a:gd name="T63" fmla="*/ 3671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6" name="Freeform 264">
              <a:extLst>
                <a:ext uri="{FF2B5EF4-FFF2-40B4-BE49-F238E27FC236}">
                  <a16:creationId xmlns:a16="http://schemas.microsoft.com/office/drawing/2014/main" id="{D1796A9F-B3B7-41DF-8E3F-AE4A0833E610}"/>
                </a:ext>
              </a:extLst>
            </p:cNvPr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5209698" y="3565143"/>
              <a:ext cx="96761" cy="107316"/>
            </a:xfrm>
            <a:custGeom>
              <a:avLst/>
              <a:gdLst>
                <a:gd name="T0" fmla="*/ 0 w 173"/>
                <a:gd name="T1" fmla="*/ 35421 h 192"/>
                <a:gd name="T2" fmla="*/ 11645 w 173"/>
                <a:gd name="T3" fmla="*/ 21878 h 192"/>
                <a:gd name="T4" fmla="*/ 21995 w 173"/>
                <a:gd name="T5" fmla="*/ 10939 h 192"/>
                <a:gd name="T6" fmla="*/ 24152 w 173"/>
                <a:gd name="T7" fmla="*/ 8334 h 192"/>
                <a:gd name="T8" fmla="*/ 27171 w 173"/>
                <a:gd name="T9" fmla="*/ 6251 h 192"/>
                <a:gd name="T10" fmla="*/ 30190 w 173"/>
                <a:gd name="T11" fmla="*/ 4167 h 192"/>
                <a:gd name="T12" fmla="*/ 32778 w 173"/>
                <a:gd name="T13" fmla="*/ 3125 h 192"/>
                <a:gd name="T14" fmla="*/ 35797 w 173"/>
                <a:gd name="T15" fmla="*/ 1563 h 192"/>
                <a:gd name="T16" fmla="*/ 38815 w 173"/>
                <a:gd name="T17" fmla="*/ 1042 h 192"/>
                <a:gd name="T18" fmla="*/ 42266 w 173"/>
                <a:gd name="T19" fmla="*/ 521 h 192"/>
                <a:gd name="T20" fmla="*/ 46147 w 173"/>
                <a:gd name="T21" fmla="*/ 0 h 192"/>
                <a:gd name="T22" fmla="*/ 50029 w 173"/>
                <a:gd name="T23" fmla="*/ 521 h 192"/>
                <a:gd name="T24" fmla="*/ 53479 w 173"/>
                <a:gd name="T25" fmla="*/ 1042 h 192"/>
                <a:gd name="T26" fmla="*/ 56929 w 173"/>
                <a:gd name="T27" fmla="*/ 2605 h 192"/>
                <a:gd name="T28" fmla="*/ 59948 w 173"/>
                <a:gd name="T29" fmla="*/ 4167 h 192"/>
                <a:gd name="T30" fmla="*/ 62536 w 173"/>
                <a:gd name="T31" fmla="*/ 6772 h 192"/>
                <a:gd name="T32" fmla="*/ 65124 w 173"/>
                <a:gd name="T33" fmla="*/ 9897 h 192"/>
                <a:gd name="T34" fmla="*/ 66849 w 173"/>
                <a:gd name="T35" fmla="*/ 12502 h 192"/>
                <a:gd name="T36" fmla="*/ 69005 w 173"/>
                <a:gd name="T37" fmla="*/ 15627 h 192"/>
                <a:gd name="T38" fmla="*/ 70299 w 173"/>
                <a:gd name="T39" fmla="*/ 19273 h 192"/>
                <a:gd name="T40" fmla="*/ 71593 w 173"/>
                <a:gd name="T41" fmla="*/ 22399 h 192"/>
                <a:gd name="T42" fmla="*/ 72456 w 173"/>
                <a:gd name="T43" fmla="*/ 26045 h 192"/>
                <a:gd name="T44" fmla="*/ 72887 w 173"/>
                <a:gd name="T45" fmla="*/ 29691 h 192"/>
                <a:gd name="T46" fmla="*/ 74181 w 173"/>
                <a:gd name="T47" fmla="*/ 37505 h 192"/>
                <a:gd name="T48" fmla="*/ 74612 w 173"/>
                <a:gd name="T49" fmla="*/ 45318 h 192"/>
                <a:gd name="T50" fmla="*/ 67711 w 173"/>
                <a:gd name="T51" fmla="*/ 59383 h 192"/>
                <a:gd name="T52" fmla="*/ 62967 w 173"/>
                <a:gd name="T53" fmla="*/ 71363 h 192"/>
                <a:gd name="T54" fmla="*/ 59948 w 173"/>
                <a:gd name="T55" fmla="*/ 77093 h 192"/>
                <a:gd name="T56" fmla="*/ 56067 w 173"/>
                <a:gd name="T57" fmla="*/ 83344 h 192"/>
                <a:gd name="T58" fmla="*/ 50460 w 173"/>
                <a:gd name="T59" fmla="*/ 90637 h 192"/>
                <a:gd name="T60" fmla="*/ 42697 w 173"/>
                <a:gd name="T61" fmla="*/ 100013 h 192"/>
                <a:gd name="T62" fmla="*/ 37090 w 173"/>
                <a:gd name="T63" fmla="*/ 95325 h 192"/>
                <a:gd name="T64" fmla="*/ 31915 w 173"/>
                <a:gd name="T65" fmla="*/ 91679 h 192"/>
                <a:gd name="T66" fmla="*/ 27171 w 173"/>
                <a:gd name="T67" fmla="*/ 88032 h 192"/>
                <a:gd name="T68" fmla="*/ 23289 w 173"/>
                <a:gd name="T69" fmla="*/ 84907 h 192"/>
                <a:gd name="T70" fmla="*/ 19839 w 173"/>
                <a:gd name="T71" fmla="*/ 81261 h 192"/>
                <a:gd name="T72" fmla="*/ 17251 w 173"/>
                <a:gd name="T73" fmla="*/ 78135 h 192"/>
                <a:gd name="T74" fmla="*/ 14664 w 173"/>
                <a:gd name="T75" fmla="*/ 75010 h 192"/>
                <a:gd name="T76" fmla="*/ 12938 w 173"/>
                <a:gd name="T77" fmla="*/ 71363 h 192"/>
                <a:gd name="T78" fmla="*/ 9488 w 173"/>
                <a:gd name="T79" fmla="*/ 64071 h 192"/>
                <a:gd name="T80" fmla="*/ 6901 w 173"/>
                <a:gd name="T81" fmla="*/ 55736 h 192"/>
                <a:gd name="T82" fmla="*/ 3882 w 173"/>
                <a:gd name="T83" fmla="*/ 46881 h 192"/>
                <a:gd name="T84" fmla="*/ 0 w 173"/>
                <a:gd name="T85" fmla="*/ 35421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7" name="Freeform 265">
              <a:extLst>
                <a:ext uri="{FF2B5EF4-FFF2-40B4-BE49-F238E27FC236}">
                  <a16:creationId xmlns:a16="http://schemas.microsoft.com/office/drawing/2014/main" id="{347F69CE-25A4-4BE9-AB9E-1AC9C2DD952C}"/>
                </a:ext>
              </a:extLst>
            </p:cNvPr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5265284" y="3619652"/>
              <a:ext cx="135879" cy="141385"/>
            </a:xfrm>
            <a:custGeom>
              <a:avLst/>
              <a:gdLst>
                <a:gd name="T0" fmla="*/ 33276 w 233"/>
                <a:gd name="T1" fmla="*/ 0 h 252"/>
                <a:gd name="T2" fmla="*/ 37323 w 233"/>
                <a:gd name="T3" fmla="*/ 1046 h 252"/>
                <a:gd name="T4" fmla="*/ 40021 w 233"/>
                <a:gd name="T5" fmla="*/ 1569 h 252"/>
                <a:gd name="T6" fmla="*/ 42719 w 233"/>
                <a:gd name="T7" fmla="*/ 1569 h 252"/>
                <a:gd name="T8" fmla="*/ 44518 w 233"/>
                <a:gd name="T9" fmla="*/ 1046 h 252"/>
                <a:gd name="T10" fmla="*/ 47666 w 233"/>
                <a:gd name="T11" fmla="*/ 523 h 252"/>
                <a:gd name="T12" fmla="*/ 50814 w 233"/>
                <a:gd name="T13" fmla="*/ 0 h 252"/>
                <a:gd name="T14" fmla="*/ 56210 w 233"/>
                <a:gd name="T15" fmla="*/ 8889 h 252"/>
                <a:gd name="T16" fmla="*/ 62955 w 233"/>
                <a:gd name="T17" fmla="*/ 19346 h 252"/>
                <a:gd name="T18" fmla="*/ 64754 w 233"/>
                <a:gd name="T19" fmla="*/ 21961 h 252"/>
                <a:gd name="T20" fmla="*/ 66552 w 233"/>
                <a:gd name="T21" fmla="*/ 24052 h 252"/>
                <a:gd name="T22" fmla="*/ 68801 w 233"/>
                <a:gd name="T23" fmla="*/ 25621 h 252"/>
                <a:gd name="T24" fmla="*/ 70599 w 233"/>
                <a:gd name="T25" fmla="*/ 27189 h 252"/>
                <a:gd name="T26" fmla="*/ 73298 w 233"/>
                <a:gd name="T27" fmla="*/ 28235 h 252"/>
                <a:gd name="T28" fmla="*/ 75546 w 233"/>
                <a:gd name="T29" fmla="*/ 29281 h 252"/>
                <a:gd name="T30" fmla="*/ 78244 w 233"/>
                <a:gd name="T31" fmla="*/ 29281 h 252"/>
                <a:gd name="T32" fmla="*/ 80942 w 233"/>
                <a:gd name="T33" fmla="*/ 29281 h 252"/>
                <a:gd name="T34" fmla="*/ 80942 w 233"/>
                <a:gd name="T35" fmla="*/ 41830 h 252"/>
                <a:gd name="T36" fmla="*/ 86788 w 233"/>
                <a:gd name="T37" fmla="*/ 53856 h 252"/>
                <a:gd name="T38" fmla="*/ 95332 w 233"/>
                <a:gd name="T39" fmla="*/ 66927 h 252"/>
                <a:gd name="T40" fmla="*/ 96681 w 233"/>
                <a:gd name="T41" fmla="*/ 70587 h 252"/>
                <a:gd name="T42" fmla="*/ 98929 w 233"/>
                <a:gd name="T43" fmla="*/ 74247 h 252"/>
                <a:gd name="T44" fmla="*/ 100278 w 233"/>
                <a:gd name="T45" fmla="*/ 78953 h 252"/>
                <a:gd name="T46" fmla="*/ 101627 w 233"/>
                <a:gd name="T47" fmla="*/ 83659 h 252"/>
                <a:gd name="T48" fmla="*/ 103426 w 233"/>
                <a:gd name="T49" fmla="*/ 88888 h 252"/>
                <a:gd name="T50" fmla="*/ 104325 w 233"/>
                <a:gd name="T51" fmla="*/ 94116 h 252"/>
                <a:gd name="T52" fmla="*/ 104775 w 233"/>
                <a:gd name="T53" fmla="*/ 99868 h 252"/>
                <a:gd name="T54" fmla="*/ 104775 w 233"/>
                <a:gd name="T55" fmla="*/ 106665 h 252"/>
                <a:gd name="T56" fmla="*/ 104325 w 233"/>
                <a:gd name="T57" fmla="*/ 112940 h 252"/>
                <a:gd name="T58" fmla="*/ 103426 w 233"/>
                <a:gd name="T59" fmla="*/ 119214 h 252"/>
                <a:gd name="T60" fmla="*/ 102077 w 233"/>
                <a:gd name="T61" fmla="*/ 125489 h 252"/>
                <a:gd name="T62" fmla="*/ 101627 w 233"/>
                <a:gd name="T63" fmla="*/ 131763 h 252"/>
                <a:gd name="T64" fmla="*/ 99829 w 233"/>
                <a:gd name="T65" fmla="*/ 131763 h 252"/>
                <a:gd name="T66" fmla="*/ 96681 w 233"/>
                <a:gd name="T67" fmla="*/ 130717 h 252"/>
                <a:gd name="T68" fmla="*/ 93533 w 233"/>
                <a:gd name="T69" fmla="*/ 128626 h 252"/>
                <a:gd name="T70" fmla="*/ 89036 w 233"/>
                <a:gd name="T71" fmla="*/ 126011 h 252"/>
                <a:gd name="T72" fmla="*/ 79143 w 233"/>
                <a:gd name="T73" fmla="*/ 118168 h 252"/>
                <a:gd name="T74" fmla="*/ 67901 w 233"/>
                <a:gd name="T75" fmla="*/ 108757 h 252"/>
                <a:gd name="T76" fmla="*/ 56210 w 233"/>
                <a:gd name="T77" fmla="*/ 97254 h 252"/>
                <a:gd name="T78" fmla="*/ 44968 w 233"/>
                <a:gd name="T79" fmla="*/ 86273 h 252"/>
                <a:gd name="T80" fmla="*/ 35075 w 233"/>
                <a:gd name="T81" fmla="*/ 75816 h 252"/>
                <a:gd name="T82" fmla="*/ 27430 w 233"/>
                <a:gd name="T83" fmla="*/ 67450 h 252"/>
                <a:gd name="T84" fmla="*/ 24732 w 233"/>
                <a:gd name="T85" fmla="*/ 65359 h 252"/>
                <a:gd name="T86" fmla="*/ 21585 w 233"/>
                <a:gd name="T87" fmla="*/ 62744 h 252"/>
                <a:gd name="T88" fmla="*/ 18437 w 233"/>
                <a:gd name="T89" fmla="*/ 60653 h 252"/>
                <a:gd name="T90" fmla="*/ 14839 w 233"/>
                <a:gd name="T91" fmla="*/ 58561 h 252"/>
                <a:gd name="T92" fmla="*/ 7645 w 233"/>
                <a:gd name="T93" fmla="*/ 54378 h 252"/>
                <a:gd name="T94" fmla="*/ 0 w 233"/>
                <a:gd name="T95" fmla="*/ 51764 h 252"/>
                <a:gd name="T96" fmla="*/ 17987 w 233"/>
                <a:gd name="T97" fmla="*/ 32941 h 252"/>
                <a:gd name="T98" fmla="*/ 26531 w 233"/>
                <a:gd name="T99" fmla="*/ 22483 h 252"/>
                <a:gd name="T100" fmla="*/ 29229 w 233"/>
                <a:gd name="T101" fmla="*/ 17255 h 252"/>
                <a:gd name="T102" fmla="*/ 31028 w 233"/>
                <a:gd name="T103" fmla="*/ 13072 h 252"/>
                <a:gd name="T104" fmla="*/ 32377 w 233"/>
                <a:gd name="T105" fmla="*/ 7320 h 252"/>
                <a:gd name="T106" fmla="*/ 33276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8" name="Freeform 266">
              <a:extLst>
                <a:ext uri="{FF2B5EF4-FFF2-40B4-BE49-F238E27FC236}">
                  <a16:creationId xmlns:a16="http://schemas.microsoft.com/office/drawing/2014/main" id="{D5179FB7-9DB3-4DDB-8D92-BFB5ADB9156C}"/>
                </a:ext>
              </a:extLst>
            </p:cNvPr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5543219" y="3532778"/>
              <a:ext cx="135879" cy="216334"/>
            </a:xfrm>
            <a:custGeom>
              <a:avLst/>
              <a:gdLst>
                <a:gd name="T0" fmla="*/ 5537 w 246"/>
                <a:gd name="T1" fmla="*/ 199490 h 380"/>
                <a:gd name="T2" fmla="*/ 5963 w 246"/>
                <a:gd name="T3" fmla="*/ 194715 h 380"/>
                <a:gd name="T4" fmla="*/ 6389 w 246"/>
                <a:gd name="T5" fmla="*/ 190470 h 380"/>
                <a:gd name="T6" fmla="*/ 7666 w 246"/>
                <a:gd name="T7" fmla="*/ 186226 h 380"/>
                <a:gd name="T8" fmla="*/ 8518 w 246"/>
                <a:gd name="T9" fmla="*/ 182512 h 380"/>
                <a:gd name="T10" fmla="*/ 10648 w 246"/>
                <a:gd name="T11" fmla="*/ 176676 h 380"/>
                <a:gd name="T12" fmla="*/ 11074 w 246"/>
                <a:gd name="T13" fmla="*/ 173492 h 380"/>
                <a:gd name="T14" fmla="*/ 10648 w 246"/>
                <a:gd name="T15" fmla="*/ 170309 h 380"/>
                <a:gd name="T16" fmla="*/ 9796 w 246"/>
                <a:gd name="T17" fmla="*/ 166595 h 380"/>
                <a:gd name="T18" fmla="*/ 8092 w 246"/>
                <a:gd name="T19" fmla="*/ 161820 h 380"/>
                <a:gd name="T20" fmla="*/ 5537 w 246"/>
                <a:gd name="T21" fmla="*/ 156515 h 380"/>
                <a:gd name="T22" fmla="*/ 3833 w 246"/>
                <a:gd name="T23" fmla="*/ 151209 h 380"/>
                <a:gd name="T24" fmla="*/ 1704 w 246"/>
                <a:gd name="T25" fmla="*/ 145903 h 380"/>
                <a:gd name="T26" fmla="*/ 426 w 246"/>
                <a:gd name="T27" fmla="*/ 141659 h 380"/>
                <a:gd name="T28" fmla="*/ 0 w 246"/>
                <a:gd name="T29" fmla="*/ 137414 h 380"/>
                <a:gd name="T30" fmla="*/ 426 w 246"/>
                <a:gd name="T31" fmla="*/ 133170 h 380"/>
                <a:gd name="T32" fmla="*/ 852 w 246"/>
                <a:gd name="T33" fmla="*/ 128926 h 380"/>
                <a:gd name="T34" fmla="*/ 1278 w 246"/>
                <a:gd name="T35" fmla="*/ 125212 h 380"/>
                <a:gd name="T36" fmla="*/ 2555 w 246"/>
                <a:gd name="T37" fmla="*/ 122028 h 380"/>
                <a:gd name="T38" fmla="*/ 4685 w 246"/>
                <a:gd name="T39" fmla="*/ 115662 h 380"/>
                <a:gd name="T40" fmla="*/ 8092 w 246"/>
                <a:gd name="T41" fmla="*/ 109825 h 380"/>
                <a:gd name="T42" fmla="*/ 11074 w 246"/>
                <a:gd name="T43" fmla="*/ 104520 h 380"/>
                <a:gd name="T44" fmla="*/ 14481 w 246"/>
                <a:gd name="T45" fmla="*/ 98153 h 380"/>
                <a:gd name="T46" fmla="*/ 17463 w 246"/>
                <a:gd name="T47" fmla="*/ 91787 h 380"/>
                <a:gd name="T48" fmla="*/ 20018 w 246"/>
                <a:gd name="T49" fmla="*/ 84889 h 380"/>
                <a:gd name="T50" fmla="*/ 11074 w 246"/>
                <a:gd name="T51" fmla="*/ 38731 h 380"/>
                <a:gd name="T52" fmla="*/ 11074 w 246"/>
                <a:gd name="T53" fmla="*/ 26528 h 380"/>
                <a:gd name="T54" fmla="*/ 10222 w 246"/>
                <a:gd name="T55" fmla="*/ 17508 h 380"/>
                <a:gd name="T56" fmla="*/ 10222 w 246"/>
                <a:gd name="T57" fmla="*/ 13264 h 380"/>
                <a:gd name="T58" fmla="*/ 10222 w 246"/>
                <a:gd name="T59" fmla="*/ 8489 h 380"/>
                <a:gd name="T60" fmla="*/ 10648 w 246"/>
                <a:gd name="T61" fmla="*/ 4244 h 380"/>
                <a:gd name="T62" fmla="*/ 11074 w 246"/>
                <a:gd name="T63" fmla="*/ 0 h 380"/>
                <a:gd name="T64" fmla="*/ 76665 w 246"/>
                <a:gd name="T65" fmla="*/ 0 h 380"/>
                <a:gd name="T66" fmla="*/ 93701 w 246"/>
                <a:gd name="T67" fmla="*/ 68442 h 380"/>
                <a:gd name="T68" fmla="*/ 93701 w 246"/>
                <a:gd name="T69" fmla="*/ 111417 h 380"/>
                <a:gd name="T70" fmla="*/ 93701 w 246"/>
                <a:gd name="T71" fmla="*/ 116723 h 380"/>
                <a:gd name="T72" fmla="*/ 94127 w 246"/>
                <a:gd name="T73" fmla="*/ 122028 h 380"/>
                <a:gd name="T74" fmla="*/ 94979 w 246"/>
                <a:gd name="T75" fmla="*/ 127334 h 380"/>
                <a:gd name="T76" fmla="*/ 95831 w 246"/>
                <a:gd name="T77" fmla="*/ 132639 h 380"/>
                <a:gd name="T78" fmla="*/ 97109 w 246"/>
                <a:gd name="T79" fmla="*/ 137414 h 380"/>
                <a:gd name="T80" fmla="*/ 99664 w 246"/>
                <a:gd name="T81" fmla="*/ 142190 h 380"/>
                <a:gd name="T82" fmla="*/ 101794 w 246"/>
                <a:gd name="T83" fmla="*/ 147495 h 380"/>
                <a:gd name="T84" fmla="*/ 104775 w 246"/>
                <a:gd name="T85" fmla="*/ 153331 h 380"/>
                <a:gd name="T86" fmla="*/ 95405 w 246"/>
                <a:gd name="T87" fmla="*/ 156515 h 380"/>
                <a:gd name="T88" fmla="*/ 86035 w 246"/>
                <a:gd name="T89" fmla="*/ 160228 h 380"/>
                <a:gd name="T90" fmla="*/ 77091 w 246"/>
                <a:gd name="T91" fmla="*/ 164473 h 380"/>
                <a:gd name="T92" fmla="*/ 68146 w 246"/>
                <a:gd name="T93" fmla="*/ 169248 h 380"/>
                <a:gd name="T94" fmla="*/ 60054 w 246"/>
                <a:gd name="T95" fmla="*/ 174023 h 380"/>
                <a:gd name="T96" fmla="*/ 51110 w 246"/>
                <a:gd name="T97" fmla="*/ 179329 h 380"/>
                <a:gd name="T98" fmla="*/ 42591 w 246"/>
                <a:gd name="T99" fmla="*/ 184104 h 380"/>
                <a:gd name="T100" fmla="*/ 34073 w 246"/>
                <a:gd name="T101" fmla="*/ 189940 h 380"/>
                <a:gd name="T102" fmla="*/ 31944 w 246"/>
                <a:gd name="T103" fmla="*/ 192593 h 380"/>
                <a:gd name="T104" fmla="*/ 29388 w 246"/>
                <a:gd name="T105" fmla="*/ 194715 h 380"/>
                <a:gd name="T106" fmla="*/ 26407 w 246"/>
                <a:gd name="T107" fmla="*/ 197368 h 380"/>
                <a:gd name="T108" fmla="*/ 22999 w 246"/>
                <a:gd name="T109" fmla="*/ 199490 h 380"/>
                <a:gd name="T110" fmla="*/ 19592 w 246"/>
                <a:gd name="T111" fmla="*/ 201081 h 380"/>
                <a:gd name="T112" fmla="*/ 15333 w 246"/>
                <a:gd name="T113" fmla="*/ 201612 h 380"/>
                <a:gd name="T114" fmla="*/ 13203 w 246"/>
                <a:gd name="T115" fmla="*/ 201612 h 380"/>
                <a:gd name="T116" fmla="*/ 10648 w 246"/>
                <a:gd name="T117" fmla="*/ 201081 h 380"/>
                <a:gd name="T118" fmla="*/ 8518 w 246"/>
                <a:gd name="T119" fmla="*/ 200551 h 380"/>
                <a:gd name="T120" fmla="*/ 5537 w 246"/>
                <a:gd name="T121" fmla="*/ 199490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9" name="Freeform 267">
              <a:extLst>
                <a:ext uri="{FF2B5EF4-FFF2-40B4-BE49-F238E27FC236}">
                  <a16:creationId xmlns:a16="http://schemas.microsoft.com/office/drawing/2014/main" id="{82100AA2-8F0C-4B99-AE23-EF4236725881}"/>
                </a:ext>
              </a:extLst>
            </p:cNvPr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5092348" y="3442496"/>
              <a:ext cx="113233" cy="63028"/>
            </a:xfrm>
            <a:custGeom>
              <a:avLst/>
              <a:gdLst>
                <a:gd name="T0" fmla="*/ 3167 w 193"/>
                <a:gd name="T1" fmla="*/ 30915 h 38"/>
                <a:gd name="T2" fmla="*/ 17191 w 193"/>
                <a:gd name="T3" fmla="*/ 17003 h 38"/>
                <a:gd name="T4" fmla="*/ 30311 w 193"/>
                <a:gd name="T5" fmla="*/ 7729 h 38"/>
                <a:gd name="T6" fmla="*/ 36192 w 193"/>
                <a:gd name="T7" fmla="*/ 4637 h 38"/>
                <a:gd name="T8" fmla="*/ 42526 w 193"/>
                <a:gd name="T9" fmla="*/ 3091 h 38"/>
                <a:gd name="T10" fmla="*/ 49764 w 193"/>
                <a:gd name="T11" fmla="*/ 1546 h 38"/>
                <a:gd name="T12" fmla="*/ 57002 w 193"/>
                <a:gd name="T13" fmla="*/ 0 h 38"/>
                <a:gd name="T14" fmla="*/ 62431 w 193"/>
                <a:gd name="T15" fmla="*/ 1546 h 38"/>
                <a:gd name="T16" fmla="*/ 67407 w 193"/>
                <a:gd name="T17" fmla="*/ 1546 h 38"/>
                <a:gd name="T18" fmla="*/ 72384 w 193"/>
                <a:gd name="T19" fmla="*/ 3091 h 38"/>
                <a:gd name="T20" fmla="*/ 76455 w 193"/>
                <a:gd name="T21" fmla="*/ 6183 h 38"/>
                <a:gd name="T22" fmla="*/ 80527 w 193"/>
                <a:gd name="T23" fmla="*/ 9274 h 38"/>
                <a:gd name="T24" fmla="*/ 83241 w 193"/>
                <a:gd name="T25" fmla="*/ 17003 h 38"/>
                <a:gd name="T26" fmla="*/ 84599 w 193"/>
                <a:gd name="T27" fmla="*/ 20095 h 38"/>
                <a:gd name="T28" fmla="*/ 85503 w 193"/>
                <a:gd name="T29" fmla="*/ 27823 h 38"/>
                <a:gd name="T30" fmla="*/ 86408 w 193"/>
                <a:gd name="T31" fmla="*/ 32460 h 38"/>
                <a:gd name="T32" fmla="*/ 87313 w 193"/>
                <a:gd name="T33" fmla="*/ 40189 h 38"/>
                <a:gd name="T34" fmla="*/ 82789 w 193"/>
                <a:gd name="T35" fmla="*/ 41735 h 38"/>
                <a:gd name="T36" fmla="*/ 78265 w 193"/>
                <a:gd name="T37" fmla="*/ 43281 h 38"/>
                <a:gd name="T38" fmla="*/ 74646 w 193"/>
                <a:gd name="T39" fmla="*/ 43281 h 38"/>
                <a:gd name="T40" fmla="*/ 70574 w 193"/>
                <a:gd name="T41" fmla="*/ 43281 h 38"/>
                <a:gd name="T42" fmla="*/ 62431 w 193"/>
                <a:gd name="T43" fmla="*/ 41735 h 38"/>
                <a:gd name="T44" fmla="*/ 54288 w 193"/>
                <a:gd name="T45" fmla="*/ 40189 h 38"/>
                <a:gd name="T46" fmla="*/ 46597 w 193"/>
                <a:gd name="T47" fmla="*/ 40189 h 38"/>
                <a:gd name="T48" fmla="*/ 40264 w 193"/>
                <a:gd name="T49" fmla="*/ 43281 h 38"/>
                <a:gd name="T50" fmla="*/ 34382 w 193"/>
                <a:gd name="T51" fmla="*/ 46372 h 38"/>
                <a:gd name="T52" fmla="*/ 28501 w 193"/>
                <a:gd name="T53" fmla="*/ 49464 h 38"/>
                <a:gd name="T54" fmla="*/ 22168 w 193"/>
                <a:gd name="T55" fmla="*/ 52555 h 38"/>
                <a:gd name="T56" fmla="*/ 15834 w 193"/>
                <a:gd name="T57" fmla="*/ 55647 h 38"/>
                <a:gd name="T58" fmla="*/ 8596 w 193"/>
                <a:gd name="T59" fmla="*/ 57192 h 38"/>
                <a:gd name="T60" fmla="*/ 0 w 193"/>
                <a:gd name="T61" fmla="*/ 58738 h 38"/>
                <a:gd name="T62" fmla="*/ 0 w 193"/>
                <a:gd name="T63" fmla="*/ 51009 h 38"/>
                <a:gd name="T64" fmla="*/ 452 w 193"/>
                <a:gd name="T65" fmla="*/ 44826 h 38"/>
                <a:gd name="T66" fmla="*/ 1357 w 193"/>
                <a:gd name="T67" fmla="*/ 37098 h 38"/>
                <a:gd name="T68" fmla="*/ 3167 w 193"/>
                <a:gd name="T69" fmla="*/ 30915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0" name="Freeform 268">
              <a:extLst>
                <a:ext uri="{FF2B5EF4-FFF2-40B4-BE49-F238E27FC236}">
                  <a16:creationId xmlns:a16="http://schemas.microsoft.com/office/drawing/2014/main" id="{F9BD5D1F-E671-4AF8-973C-D79B5E87B16E}"/>
                </a:ext>
              </a:extLst>
            </p:cNvPr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5644097" y="3525965"/>
              <a:ext cx="55587" cy="166936"/>
            </a:xfrm>
            <a:custGeom>
              <a:avLst/>
              <a:gdLst>
                <a:gd name="T0" fmla="*/ 22947 w 99"/>
                <a:gd name="T1" fmla="*/ 6202 h 301"/>
                <a:gd name="T2" fmla="*/ 25545 w 99"/>
                <a:gd name="T3" fmla="*/ 6202 h 301"/>
                <a:gd name="T4" fmla="*/ 25545 w 99"/>
                <a:gd name="T5" fmla="*/ 9820 h 301"/>
                <a:gd name="T6" fmla="*/ 26843 w 99"/>
                <a:gd name="T7" fmla="*/ 13438 h 301"/>
                <a:gd name="T8" fmla="*/ 27276 w 99"/>
                <a:gd name="T9" fmla="*/ 17056 h 301"/>
                <a:gd name="T10" fmla="*/ 28575 w 99"/>
                <a:gd name="T11" fmla="*/ 21708 h 301"/>
                <a:gd name="T12" fmla="*/ 31173 w 99"/>
                <a:gd name="T13" fmla="*/ 29978 h 301"/>
                <a:gd name="T14" fmla="*/ 34204 w 99"/>
                <a:gd name="T15" fmla="*/ 38765 h 301"/>
                <a:gd name="T16" fmla="*/ 37667 w 99"/>
                <a:gd name="T17" fmla="*/ 48068 h 301"/>
                <a:gd name="T18" fmla="*/ 40265 w 99"/>
                <a:gd name="T19" fmla="*/ 57372 h 301"/>
                <a:gd name="T20" fmla="*/ 41564 w 99"/>
                <a:gd name="T21" fmla="*/ 62023 h 301"/>
                <a:gd name="T22" fmla="*/ 42430 w 99"/>
                <a:gd name="T23" fmla="*/ 66675 h 301"/>
                <a:gd name="T24" fmla="*/ 42863 w 99"/>
                <a:gd name="T25" fmla="*/ 71327 h 301"/>
                <a:gd name="T26" fmla="*/ 42863 w 99"/>
                <a:gd name="T27" fmla="*/ 76495 h 301"/>
                <a:gd name="T28" fmla="*/ 42863 w 99"/>
                <a:gd name="T29" fmla="*/ 149373 h 301"/>
                <a:gd name="T30" fmla="*/ 38533 w 99"/>
                <a:gd name="T31" fmla="*/ 149890 h 301"/>
                <a:gd name="T32" fmla="*/ 34637 w 99"/>
                <a:gd name="T33" fmla="*/ 151440 h 301"/>
                <a:gd name="T34" fmla="*/ 31606 w 99"/>
                <a:gd name="T35" fmla="*/ 153508 h 301"/>
                <a:gd name="T36" fmla="*/ 28575 w 99"/>
                <a:gd name="T37" fmla="*/ 155575 h 301"/>
                <a:gd name="T38" fmla="*/ 25545 w 99"/>
                <a:gd name="T39" fmla="*/ 149890 h 301"/>
                <a:gd name="T40" fmla="*/ 23380 w 99"/>
                <a:gd name="T41" fmla="*/ 144721 h 301"/>
                <a:gd name="T42" fmla="*/ 20782 w 99"/>
                <a:gd name="T43" fmla="*/ 140069 h 301"/>
                <a:gd name="T44" fmla="*/ 19483 w 99"/>
                <a:gd name="T45" fmla="*/ 135417 h 301"/>
                <a:gd name="T46" fmla="*/ 18617 w 99"/>
                <a:gd name="T47" fmla="*/ 130249 h 301"/>
                <a:gd name="T48" fmla="*/ 17751 w 99"/>
                <a:gd name="T49" fmla="*/ 125080 h 301"/>
                <a:gd name="T50" fmla="*/ 17318 w 99"/>
                <a:gd name="T51" fmla="*/ 119912 h 301"/>
                <a:gd name="T52" fmla="*/ 17318 w 99"/>
                <a:gd name="T53" fmla="*/ 114743 h 301"/>
                <a:gd name="T54" fmla="*/ 17318 w 99"/>
                <a:gd name="T55" fmla="*/ 72877 h 301"/>
                <a:gd name="T56" fmla="*/ 0 w 99"/>
                <a:gd name="T57" fmla="*/ 3101 h 301"/>
                <a:gd name="T58" fmla="*/ 2165 w 99"/>
                <a:gd name="T59" fmla="*/ 1034 h 301"/>
                <a:gd name="T60" fmla="*/ 4330 w 99"/>
                <a:gd name="T61" fmla="*/ 0 h 301"/>
                <a:gd name="T62" fmla="*/ 6061 w 99"/>
                <a:gd name="T63" fmla="*/ 0 h 301"/>
                <a:gd name="T64" fmla="*/ 8659 w 99"/>
                <a:gd name="T65" fmla="*/ 0 h 301"/>
                <a:gd name="T66" fmla="*/ 11257 w 99"/>
                <a:gd name="T67" fmla="*/ 0 h 301"/>
                <a:gd name="T68" fmla="*/ 13855 w 99"/>
                <a:gd name="T69" fmla="*/ 1034 h 301"/>
                <a:gd name="T70" fmla="*/ 16020 w 99"/>
                <a:gd name="T71" fmla="*/ 2067 h 301"/>
                <a:gd name="T72" fmla="*/ 17751 w 99"/>
                <a:gd name="T73" fmla="*/ 3101 h 301"/>
                <a:gd name="T74" fmla="*/ 20349 w 99"/>
                <a:gd name="T75" fmla="*/ 5169 h 301"/>
                <a:gd name="T76" fmla="*/ 22947 w 99"/>
                <a:gd name="T77" fmla="*/ 6202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1" name="Freeform 269">
              <a:extLst>
                <a:ext uri="{FF2B5EF4-FFF2-40B4-BE49-F238E27FC236}">
                  <a16:creationId xmlns:a16="http://schemas.microsoft.com/office/drawing/2014/main" id="{B97A588E-CDB6-4761-A7C2-FAA0CF19BF84}"/>
                </a:ext>
              </a:extLst>
            </p:cNvPr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5677038" y="3485082"/>
              <a:ext cx="98821" cy="202707"/>
            </a:xfrm>
            <a:custGeom>
              <a:avLst/>
              <a:gdLst>
                <a:gd name="T0" fmla="*/ 0 w 173"/>
                <a:gd name="T1" fmla="*/ 42333 h 357"/>
                <a:gd name="T2" fmla="*/ 3964 w 173"/>
                <a:gd name="T3" fmla="*/ 38100 h 357"/>
                <a:gd name="T4" fmla="*/ 7488 w 173"/>
                <a:gd name="T5" fmla="*/ 34396 h 357"/>
                <a:gd name="T6" fmla="*/ 11012 w 173"/>
                <a:gd name="T7" fmla="*/ 31750 h 357"/>
                <a:gd name="T8" fmla="*/ 14535 w 173"/>
                <a:gd name="T9" fmla="*/ 29633 h 357"/>
                <a:gd name="T10" fmla="*/ 17618 w 173"/>
                <a:gd name="T11" fmla="*/ 26458 h 357"/>
                <a:gd name="T12" fmla="*/ 29511 w 173"/>
                <a:gd name="T13" fmla="*/ 26458 h 357"/>
                <a:gd name="T14" fmla="*/ 41403 w 173"/>
                <a:gd name="T15" fmla="*/ 0 h 357"/>
                <a:gd name="T16" fmla="*/ 44487 w 173"/>
                <a:gd name="T17" fmla="*/ 1587 h 357"/>
                <a:gd name="T18" fmla="*/ 47570 w 173"/>
                <a:gd name="T19" fmla="*/ 3704 h 357"/>
                <a:gd name="T20" fmla="*/ 51094 w 173"/>
                <a:gd name="T21" fmla="*/ 6350 h 357"/>
                <a:gd name="T22" fmla="*/ 54177 w 173"/>
                <a:gd name="T23" fmla="*/ 9525 h 357"/>
                <a:gd name="T24" fmla="*/ 57701 w 173"/>
                <a:gd name="T25" fmla="*/ 11642 h 357"/>
                <a:gd name="T26" fmla="*/ 61224 w 173"/>
                <a:gd name="T27" fmla="*/ 14287 h 357"/>
                <a:gd name="T28" fmla="*/ 63867 w 173"/>
                <a:gd name="T29" fmla="*/ 15346 h 357"/>
                <a:gd name="T30" fmla="*/ 67391 w 173"/>
                <a:gd name="T31" fmla="*/ 15875 h 357"/>
                <a:gd name="T32" fmla="*/ 71795 w 173"/>
                <a:gd name="T33" fmla="*/ 20637 h 357"/>
                <a:gd name="T34" fmla="*/ 76200 w 173"/>
                <a:gd name="T35" fmla="*/ 26458 h 357"/>
                <a:gd name="T36" fmla="*/ 76200 w 173"/>
                <a:gd name="T37" fmla="*/ 32279 h 357"/>
                <a:gd name="T38" fmla="*/ 76200 w 173"/>
                <a:gd name="T39" fmla="*/ 36512 h 357"/>
                <a:gd name="T40" fmla="*/ 76200 w 173"/>
                <a:gd name="T41" fmla="*/ 42333 h 357"/>
                <a:gd name="T42" fmla="*/ 76200 w 173"/>
                <a:gd name="T43" fmla="*/ 51858 h 357"/>
                <a:gd name="T44" fmla="*/ 76200 w 173"/>
                <a:gd name="T45" fmla="*/ 57679 h 357"/>
                <a:gd name="T46" fmla="*/ 75319 w 173"/>
                <a:gd name="T47" fmla="*/ 62442 h 357"/>
                <a:gd name="T48" fmla="*/ 73557 w 173"/>
                <a:gd name="T49" fmla="*/ 67204 h 357"/>
                <a:gd name="T50" fmla="*/ 71795 w 173"/>
                <a:gd name="T51" fmla="*/ 71437 h 357"/>
                <a:gd name="T52" fmla="*/ 66950 w 173"/>
                <a:gd name="T53" fmla="*/ 79904 h 357"/>
                <a:gd name="T54" fmla="*/ 61665 w 173"/>
                <a:gd name="T55" fmla="*/ 88371 h 357"/>
                <a:gd name="T56" fmla="*/ 56379 w 173"/>
                <a:gd name="T57" fmla="*/ 96837 h 357"/>
                <a:gd name="T58" fmla="*/ 51534 w 173"/>
                <a:gd name="T59" fmla="*/ 105833 h 357"/>
                <a:gd name="T60" fmla="*/ 49332 w 173"/>
                <a:gd name="T61" fmla="*/ 110596 h 357"/>
                <a:gd name="T62" fmla="*/ 48010 w 173"/>
                <a:gd name="T63" fmla="*/ 115887 h 357"/>
                <a:gd name="T64" fmla="*/ 47570 w 173"/>
                <a:gd name="T65" fmla="*/ 121179 h 357"/>
                <a:gd name="T66" fmla="*/ 47129 w 173"/>
                <a:gd name="T67" fmla="*/ 127000 h 357"/>
                <a:gd name="T68" fmla="*/ 47570 w 173"/>
                <a:gd name="T69" fmla="*/ 144462 h 357"/>
                <a:gd name="T70" fmla="*/ 48010 w 173"/>
                <a:gd name="T71" fmla="*/ 155045 h 357"/>
                <a:gd name="T72" fmla="*/ 48451 w 173"/>
                <a:gd name="T73" fmla="*/ 159808 h 357"/>
                <a:gd name="T74" fmla="*/ 48010 w 173"/>
                <a:gd name="T75" fmla="*/ 165629 h 357"/>
                <a:gd name="T76" fmla="*/ 48010 w 173"/>
                <a:gd name="T77" fmla="*/ 173037 h 357"/>
                <a:gd name="T78" fmla="*/ 47129 w 173"/>
                <a:gd name="T79" fmla="*/ 182562 h 357"/>
                <a:gd name="T80" fmla="*/ 42725 w 173"/>
                <a:gd name="T81" fmla="*/ 183091 h 357"/>
                <a:gd name="T82" fmla="*/ 38761 w 173"/>
                <a:gd name="T83" fmla="*/ 183620 h 357"/>
                <a:gd name="T84" fmla="*/ 34797 w 173"/>
                <a:gd name="T85" fmla="*/ 184679 h 357"/>
                <a:gd name="T86" fmla="*/ 31273 w 173"/>
                <a:gd name="T87" fmla="*/ 185737 h 357"/>
                <a:gd name="T88" fmla="*/ 27749 w 173"/>
                <a:gd name="T89" fmla="*/ 186795 h 357"/>
                <a:gd name="T90" fmla="*/ 24225 w 173"/>
                <a:gd name="T91" fmla="*/ 187854 h 357"/>
                <a:gd name="T92" fmla="*/ 21142 w 173"/>
                <a:gd name="T93" fmla="*/ 188912 h 357"/>
                <a:gd name="T94" fmla="*/ 17618 w 173"/>
                <a:gd name="T95" fmla="*/ 188912 h 357"/>
                <a:gd name="T96" fmla="*/ 17618 w 173"/>
                <a:gd name="T97" fmla="*/ 114300 h 357"/>
                <a:gd name="T98" fmla="*/ 17618 w 173"/>
                <a:gd name="T99" fmla="*/ 109008 h 357"/>
                <a:gd name="T100" fmla="*/ 17178 w 173"/>
                <a:gd name="T101" fmla="*/ 104246 h 357"/>
                <a:gd name="T102" fmla="*/ 16297 w 173"/>
                <a:gd name="T103" fmla="*/ 99483 h 357"/>
                <a:gd name="T104" fmla="*/ 14976 w 173"/>
                <a:gd name="T105" fmla="*/ 94721 h 357"/>
                <a:gd name="T106" fmla="*/ 12333 w 173"/>
                <a:gd name="T107" fmla="*/ 85196 h 357"/>
                <a:gd name="T108" fmla="*/ 8809 w 173"/>
                <a:gd name="T109" fmla="*/ 75671 h 357"/>
                <a:gd name="T110" fmla="*/ 5726 w 173"/>
                <a:gd name="T111" fmla="*/ 66675 h 357"/>
                <a:gd name="T112" fmla="*/ 3083 w 173"/>
                <a:gd name="T113" fmla="*/ 58208 h 357"/>
                <a:gd name="T114" fmla="*/ 1762 w 173"/>
                <a:gd name="T115" fmla="*/ 53446 h 357"/>
                <a:gd name="T116" fmla="*/ 1321 w 173"/>
                <a:gd name="T117" fmla="*/ 49742 h 357"/>
                <a:gd name="T118" fmla="*/ 0 w 173"/>
                <a:gd name="T119" fmla="*/ 46037 h 357"/>
                <a:gd name="T120" fmla="*/ 0 w 173"/>
                <a:gd name="T121" fmla="*/ 42333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2" name="Freeform 270">
              <a:extLst>
                <a:ext uri="{FF2B5EF4-FFF2-40B4-BE49-F238E27FC236}">
                  <a16:creationId xmlns:a16="http://schemas.microsoft.com/office/drawing/2014/main" id="{A028BB0D-7671-415D-8D15-0F6C52201A9C}"/>
                </a:ext>
              </a:extLst>
            </p:cNvPr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6622011" y="4777984"/>
              <a:ext cx="32940" cy="64731"/>
            </a:xfrm>
            <a:custGeom>
              <a:avLst/>
              <a:gdLst>
                <a:gd name="T0" fmla="*/ 5080 w 50"/>
                <a:gd name="T1" fmla="*/ 0 h 74"/>
                <a:gd name="T2" fmla="*/ 3048 w 50"/>
                <a:gd name="T3" fmla="*/ 11413 h 74"/>
                <a:gd name="T4" fmla="*/ 1016 w 50"/>
                <a:gd name="T5" fmla="*/ 21195 h 74"/>
                <a:gd name="T6" fmla="*/ 0 w 50"/>
                <a:gd name="T7" fmla="*/ 29347 h 74"/>
                <a:gd name="T8" fmla="*/ 0 w 50"/>
                <a:gd name="T9" fmla="*/ 35054 h 74"/>
                <a:gd name="T10" fmla="*/ 0 w 50"/>
                <a:gd name="T11" fmla="*/ 40760 h 74"/>
                <a:gd name="T12" fmla="*/ 1016 w 50"/>
                <a:gd name="T13" fmla="*/ 45651 h 74"/>
                <a:gd name="T14" fmla="*/ 3048 w 50"/>
                <a:gd name="T15" fmla="*/ 49727 h 74"/>
                <a:gd name="T16" fmla="*/ 5080 w 50"/>
                <a:gd name="T17" fmla="*/ 55434 h 74"/>
                <a:gd name="T18" fmla="*/ 25400 w 50"/>
                <a:gd name="T19" fmla="*/ 60325 h 74"/>
                <a:gd name="T20" fmla="*/ 25400 w 50"/>
                <a:gd name="T21" fmla="*/ 41575 h 74"/>
                <a:gd name="T22" fmla="*/ 25400 w 50"/>
                <a:gd name="T23" fmla="*/ 27717 h 74"/>
                <a:gd name="T24" fmla="*/ 25400 w 50"/>
                <a:gd name="T25" fmla="*/ 15489 h 74"/>
                <a:gd name="T26" fmla="*/ 25400 w 50"/>
                <a:gd name="T27" fmla="*/ 0 h 74"/>
                <a:gd name="T28" fmla="*/ 19304 w 50"/>
                <a:gd name="T29" fmla="*/ 0 h 74"/>
                <a:gd name="T30" fmla="*/ 12700 w 50"/>
                <a:gd name="T31" fmla="*/ 0 h 74"/>
                <a:gd name="T32" fmla="*/ 7112 w 50"/>
                <a:gd name="T33" fmla="*/ 0 h 74"/>
                <a:gd name="T34" fmla="*/ 508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3" name="Freeform 271">
              <a:extLst>
                <a:ext uri="{FF2B5EF4-FFF2-40B4-BE49-F238E27FC236}">
                  <a16:creationId xmlns:a16="http://schemas.microsoft.com/office/drawing/2014/main" id="{526950A6-A943-4F79-A88F-D64EFA5AC77B}"/>
                </a:ext>
              </a:extLst>
            </p:cNvPr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6486132" y="4881892"/>
              <a:ext cx="80291" cy="61324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4" name="Freeform 272">
              <a:extLst>
                <a:ext uri="{FF2B5EF4-FFF2-40B4-BE49-F238E27FC236}">
                  <a16:creationId xmlns:a16="http://schemas.microsoft.com/office/drawing/2014/main" id="{BCD4D7D6-55EA-406E-92F4-85095905BB5B}"/>
                </a:ext>
              </a:extLst>
            </p:cNvPr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9362226" y="2428957"/>
              <a:ext cx="156466" cy="183971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5" name="Freeform 273">
              <a:extLst>
                <a:ext uri="{FF2B5EF4-FFF2-40B4-BE49-F238E27FC236}">
                  <a16:creationId xmlns:a16="http://schemas.microsoft.com/office/drawing/2014/main" id="{C028FCD5-D99E-4437-8317-BA45672DB64E}"/>
                </a:ext>
              </a:extLst>
            </p:cNvPr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8157849" y="2873551"/>
              <a:ext cx="267638" cy="132867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6" name="Freeform 274">
              <a:extLst>
                <a:ext uri="{FF2B5EF4-FFF2-40B4-BE49-F238E27FC236}">
                  <a16:creationId xmlns:a16="http://schemas.microsoft.com/office/drawing/2014/main" id="{468832EB-96C2-47E0-B51C-22A08E6C8458}"/>
                </a:ext>
              </a:extLst>
            </p:cNvPr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8437840" y="2933171"/>
              <a:ext cx="94703" cy="69841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7" name="Freeform 275">
              <a:extLst>
                <a:ext uri="{FF2B5EF4-FFF2-40B4-BE49-F238E27FC236}">
                  <a16:creationId xmlns:a16="http://schemas.microsoft.com/office/drawing/2014/main" id="{CABA45D8-6188-4CB6-B515-FD612A5C5C91}"/>
                </a:ext>
              </a:extLst>
            </p:cNvPr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8425489" y="3009825"/>
              <a:ext cx="172936" cy="178861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8" name="Freeform 276">
              <a:extLst>
                <a:ext uri="{FF2B5EF4-FFF2-40B4-BE49-F238E27FC236}">
                  <a16:creationId xmlns:a16="http://schemas.microsoft.com/office/drawing/2014/main" id="{EBAB88A2-888B-44D2-944B-FCFBF074C933}"/>
                </a:ext>
              </a:extLst>
            </p:cNvPr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8837241" y="3134176"/>
              <a:ext cx="261463" cy="289583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9" name="Freeform 277">
              <a:extLst>
                <a:ext uri="{FF2B5EF4-FFF2-40B4-BE49-F238E27FC236}">
                  <a16:creationId xmlns:a16="http://schemas.microsoft.com/office/drawing/2014/main" id="{B272FAAA-72A0-4C87-913D-588870470B3B}"/>
                </a:ext>
              </a:extLst>
            </p:cNvPr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8944297" y="3403318"/>
              <a:ext cx="172936" cy="139681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10" name="Freeform 278">
              <a:extLst>
                <a:ext uri="{FF2B5EF4-FFF2-40B4-BE49-F238E27FC236}">
                  <a16:creationId xmlns:a16="http://schemas.microsoft.com/office/drawing/2014/main" id="{65F247B9-5AAE-42F0-86CB-4607DBBB72C8}"/>
                </a:ext>
              </a:extLst>
            </p:cNvPr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9465163" y="2583968"/>
              <a:ext cx="111173" cy="139681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11" name="Freeform 279">
              <a:extLst>
                <a:ext uri="{FF2B5EF4-FFF2-40B4-BE49-F238E27FC236}">
                  <a16:creationId xmlns:a16="http://schemas.microsoft.com/office/drawing/2014/main" id="{3D1B61FF-E66D-4404-B0F2-BBE17BB99835}"/>
                </a:ext>
              </a:extLst>
            </p:cNvPr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10202201" y="3975669"/>
              <a:ext cx="300580" cy="272548"/>
            </a:xfrm>
            <a:custGeom>
              <a:avLst/>
              <a:gdLst>
                <a:gd name="T0" fmla="*/ 39204 w 538"/>
                <a:gd name="T1" fmla="*/ 10953 h 487"/>
                <a:gd name="T2" fmla="*/ 68929 w 538"/>
                <a:gd name="T3" fmla="*/ 24513 h 487"/>
                <a:gd name="T4" fmla="*/ 87023 w 538"/>
                <a:gd name="T5" fmla="*/ 36509 h 487"/>
                <a:gd name="T6" fmla="*/ 108995 w 538"/>
                <a:gd name="T7" fmla="*/ 57372 h 487"/>
                <a:gd name="T8" fmla="*/ 129243 w 538"/>
                <a:gd name="T9" fmla="*/ 70932 h 487"/>
                <a:gd name="T10" fmla="*/ 128812 w 538"/>
                <a:gd name="T11" fmla="*/ 83971 h 487"/>
                <a:gd name="T12" fmla="*/ 149491 w 538"/>
                <a:gd name="T13" fmla="*/ 106920 h 487"/>
                <a:gd name="T14" fmla="*/ 169308 w 538"/>
                <a:gd name="T15" fmla="*/ 129347 h 487"/>
                <a:gd name="T16" fmla="*/ 163276 w 538"/>
                <a:gd name="T17" fmla="*/ 130390 h 487"/>
                <a:gd name="T18" fmla="*/ 160261 w 538"/>
                <a:gd name="T19" fmla="*/ 133520 h 487"/>
                <a:gd name="T20" fmla="*/ 160261 w 538"/>
                <a:gd name="T21" fmla="*/ 144994 h 487"/>
                <a:gd name="T22" fmla="*/ 162415 w 538"/>
                <a:gd name="T23" fmla="*/ 156990 h 487"/>
                <a:gd name="T24" fmla="*/ 167585 w 538"/>
                <a:gd name="T25" fmla="*/ 169507 h 487"/>
                <a:gd name="T26" fmla="*/ 175339 w 538"/>
                <a:gd name="T27" fmla="*/ 181503 h 487"/>
                <a:gd name="T28" fmla="*/ 184386 w 538"/>
                <a:gd name="T29" fmla="*/ 190891 h 487"/>
                <a:gd name="T30" fmla="*/ 194295 w 538"/>
                <a:gd name="T31" fmla="*/ 196107 h 487"/>
                <a:gd name="T32" fmla="*/ 198603 w 538"/>
                <a:gd name="T33" fmla="*/ 203409 h 487"/>
                <a:gd name="T34" fmla="*/ 203342 w 538"/>
                <a:gd name="T35" fmla="*/ 211754 h 487"/>
                <a:gd name="T36" fmla="*/ 210665 w 538"/>
                <a:gd name="T37" fmla="*/ 217491 h 487"/>
                <a:gd name="T38" fmla="*/ 221005 w 538"/>
                <a:gd name="T39" fmla="*/ 225314 h 487"/>
                <a:gd name="T40" fmla="*/ 223159 w 538"/>
                <a:gd name="T41" fmla="*/ 231573 h 487"/>
                <a:gd name="T42" fmla="*/ 226174 w 538"/>
                <a:gd name="T43" fmla="*/ 234702 h 487"/>
                <a:gd name="T44" fmla="*/ 231775 w 538"/>
                <a:gd name="T45" fmla="*/ 237832 h 487"/>
                <a:gd name="T46" fmla="*/ 230052 w 538"/>
                <a:gd name="T47" fmla="*/ 246177 h 487"/>
                <a:gd name="T48" fmla="*/ 223590 w 538"/>
                <a:gd name="T49" fmla="*/ 252435 h 487"/>
                <a:gd name="T50" fmla="*/ 211096 w 538"/>
                <a:gd name="T51" fmla="*/ 254000 h 487"/>
                <a:gd name="T52" fmla="*/ 193002 w 538"/>
                <a:gd name="T53" fmla="*/ 250349 h 487"/>
                <a:gd name="T54" fmla="*/ 178355 w 538"/>
                <a:gd name="T55" fmla="*/ 243047 h 487"/>
                <a:gd name="T56" fmla="*/ 166292 w 538"/>
                <a:gd name="T57" fmla="*/ 232616 h 487"/>
                <a:gd name="T58" fmla="*/ 152937 w 538"/>
                <a:gd name="T59" fmla="*/ 216448 h 487"/>
                <a:gd name="T60" fmla="*/ 134412 w 538"/>
                <a:gd name="T61" fmla="*/ 190370 h 487"/>
                <a:gd name="T62" fmla="*/ 118042 w 538"/>
                <a:gd name="T63" fmla="*/ 172115 h 487"/>
                <a:gd name="T64" fmla="*/ 105979 w 538"/>
                <a:gd name="T65" fmla="*/ 164813 h 487"/>
                <a:gd name="T66" fmla="*/ 91331 w 538"/>
                <a:gd name="T67" fmla="*/ 161162 h 487"/>
                <a:gd name="T68" fmla="*/ 77546 w 538"/>
                <a:gd name="T69" fmla="*/ 161684 h 487"/>
                <a:gd name="T70" fmla="*/ 65914 w 538"/>
                <a:gd name="T71" fmla="*/ 165335 h 487"/>
                <a:gd name="T72" fmla="*/ 48681 w 538"/>
                <a:gd name="T73" fmla="*/ 179938 h 487"/>
                <a:gd name="T74" fmla="*/ 58590 w 538"/>
                <a:gd name="T75" fmla="*/ 188283 h 487"/>
                <a:gd name="T76" fmla="*/ 60313 w 538"/>
                <a:gd name="T77" fmla="*/ 192977 h 487"/>
                <a:gd name="T78" fmla="*/ 53420 w 538"/>
                <a:gd name="T79" fmla="*/ 209146 h 487"/>
                <a:gd name="T80" fmla="*/ 48681 w 538"/>
                <a:gd name="T81" fmla="*/ 215926 h 487"/>
                <a:gd name="T82" fmla="*/ 20248 w 538"/>
                <a:gd name="T83" fmla="*/ 210189 h 487"/>
                <a:gd name="T84" fmla="*/ 8616 w 538"/>
                <a:gd name="T85" fmla="*/ 135084 h 487"/>
                <a:gd name="T86" fmla="*/ 8616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12" name="Freeform 280">
              <a:extLst>
                <a:ext uri="{FF2B5EF4-FFF2-40B4-BE49-F238E27FC236}">
                  <a16:creationId xmlns:a16="http://schemas.microsoft.com/office/drawing/2014/main" id="{F7E7070A-455A-4DA3-9DA4-56F766BCCD48}"/>
                </a:ext>
              </a:extLst>
            </p:cNvPr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10451311" y="3958634"/>
              <a:ext cx="137937" cy="137977"/>
            </a:xfrm>
            <a:custGeom>
              <a:avLst/>
              <a:gdLst>
                <a:gd name="T0" fmla="*/ 57175 w 253"/>
                <a:gd name="T1" fmla="*/ 523 h 246"/>
                <a:gd name="T2" fmla="*/ 66003 w 253"/>
                <a:gd name="T3" fmla="*/ 4182 h 246"/>
                <a:gd name="T4" fmla="*/ 75252 w 253"/>
                <a:gd name="T5" fmla="*/ 10977 h 246"/>
                <a:gd name="T6" fmla="*/ 83660 w 253"/>
                <a:gd name="T7" fmla="*/ 19340 h 246"/>
                <a:gd name="T8" fmla="*/ 91648 w 253"/>
                <a:gd name="T9" fmla="*/ 29795 h 246"/>
                <a:gd name="T10" fmla="*/ 98374 w 253"/>
                <a:gd name="T11" fmla="*/ 39726 h 246"/>
                <a:gd name="T12" fmla="*/ 102999 w 253"/>
                <a:gd name="T13" fmla="*/ 49135 h 246"/>
                <a:gd name="T14" fmla="*/ 105942 w 253"/>
                <a:gd name="T15" fmla="*/ 58021 h 246"/>
                <a:gd name="T16" fmla="*/ 105942 w 253"/>
                <a:gd name="T17" fmla="*/ 66907 h 246"/>
                <a:gd name="T18" fmla="*/ 102158 w 253"/>
                <a:gd name="T19" fmla="*/ 78929 h 246"/>
                <a:gd name="T20" fmla="*/ 96272 w 253"/>
                <a:gd name="T21" fmla="*/ 90952 h 246"/>
                <a:gd name="T22" fmla="*/ 87864 w 253"/>
                <a:gd name="T23" fmla="*/ 101929 h 246"/>
                <a:gd name="T24" fmla="*/ 77354 w 253"/>
                <a:gd name="T25" fmla="*/ 111860 h 246"/>
                <a:gd name="T26" fmla="*/ 66003 w 253"/>
                <a:gd name="T27" fmla="*/ 119701 h 246"/>
                <a:gd name="T28" fmla="*/ 54232 w 253"/>
                <a:gd name="T29" fmla="*/ 125451 h 246"/>
                <a:gd name="T30" fmla="*/ 42040 w 253"/>
                <a:gd name="T31" fmla="*/ 128064 h 246"/>
                <a:gd name="T32" fmla="*/ 31110 w 253"/>
                <a:gd name="T33" fmla="*/ 128064 h 246"/>
                <a:gd name="T34" fmla="*/ 22281 w 253"/>
                <a:gd name="T35" fmla="*/ 125451 h 246"/>
                <a:gd name="T36" fmla="*/ 13873 w 253"/>
                <a:gd name="T37" fmla="*/ 122314 h 246"/>
                <a:gd name="T38" fmla="*/ 4624 w 253"/>
                <a:gd name="T39" fmla="*/ 119701 h 246"/>
                <a:gd name="T40" fmla="*/ 1261 w 253"/>
                <a:gd name="T41" fmla="*/ 114474 h 246"/>
                <a:gd name="T42" fmla="*/ 4204 w 253"/>
                <a:gd name="T43" fmla="*/ 107156 h 246"/>
                <a:gd name="T44" fmla="*/ 9249 w 253"/>
                <a:gd name="T45" fmla="*/ 102451 h 246"/>
                <a:gd name="T46" fmla="*/ 15555 w 253"/>
                <a:gd name="T47" fmla="*/ 99838 h 246"/>
                <a:gd name="T48" fmla="*/ 21020 w 253"/>
                <a:gd name="T49" fmla="*/ 102974 h 246"/>
                <a:gd name="T50" fmla="*/ 25224 w 253"/>
                <a:gd name="T51" fmla="*/ 108201 h 246"/>
                <a:gd name="T52" fmla="*/ 28587 w 253"/>
                <a:gd name="T53" fmla="*/ 105065 h 246"/>
                <a:gd name="T54" fmla="*/ 31530 w 253"/>
                <a:gd name="T55" fmla="*/ 99315 h 246"/>
                <a:gd name="T56" fmla="*/ 35314 w 253"/>
                <a:gd name="T57" fmla="*/ 94088 h 246"/>
                <a:gd name="T58" fmla="*/ 38257 w 253"/>
                <a:gd name="T59" fmla="*/ 94611 h 246"/>
                <a:gd name="T60" fmla="*/ 41200 w 253"/>
                <a:gd name="T61" fmla="*/ 93565 h 246"/>
                <a:gd name="T62" fmla="*/ 44563 w 253"/>
                <a:gd name="T63" fmla="*/ 93043 h 246"/>
                <a:gd name="T64" fmla="*/ 50448 w 253"/>
                <a:gd name="T65" fmla="*/ 90952 h 246"/>
                <a:gd name="T66" fmla="*/ 62640 w 253"/>
                <a:gd name="T67" fmla="*/ 85725 h 246"/>
                <a:gd name="T68" fmla="*/ 75252 w 253"/>
                <a:gd name="T69" fmla="*/ 76839 h 246"/>
                <a:gd name="T70" fmla="*/ 82819 w 253"/>
                <a:gd name="T71" fmla="*/ 70566 h 246"/>
                <a:gd name="T72" fmla="*/ 88285 w 253"/>
                <a:gd name="T73" fmla="*/ 64294 h 246"/>
                <a:gd name="T74" fmla="*/ 91648 w 253"/>
                <a:gd name="T75" fmla="*/ 58021 h 246"/>
                <a:gd name="T76" fmla="*/ 92068 w 253"/>
                <a:gd name="T77" fmla="*/ 51226 h 246"/>
                <a:gd name="T78" fmla="*/ 89966 w 253"/>
                <a:gd name="T79" fmla="*/ 45999 h 246"/>
                <a:gd name="T80" fmla="*/ 88285 w 253"/>
                <a:gd name="T81" fmla="*/ 41817 h 246"/>
                <a:gd name="T82" fmla="*/ 87023 w 253"/>
                <a:gd name="T83" fmla="*/ 37635 h 246"/>
                <a:gd name="T84" fmla="*/ 84501 w 253"/>
                <a:gd name="T85" fmla="*/ 35022 h 246"/>
                <a:gd name="T86" fmla="*/ 80297 w 253"/>
                <a:gd name="T87" fmla="*/ 33976 h 246"/>
                <a:gd name="T88" fmla="*/ 77354 w 253"/>
                <a:gd name="T89" fmla="*/ 31885 h 246"/>
                <a:gd name="T90" fmla="*/ 75673 w 253"/>
                <a:gd name="T91" fmla="*/ 28226 h 246"/>
                <a:gd name="T92" fmla="*/ 58856 w 253"/>
                <a:gd name="T93" fmla="*/ 25613 h 246"/>
                <a:gd name="T94" fmla="*/ 57175 w 253"/>
                <a:gd name="T95" fmla="*/ 22999 h 246"/>
                <a:gd name="T96" fmla="*/ 57175 w 253"/>
                <a:gd name="T97" fmla="*/ 18818 h 246"/>
                <a:gd name="T98" fmla="*/ 58856 w 253"/>
                <a:gd name="T99" fmla="*/ 9409 h 246"/>
                <a:gd name="T100" fmla="*/ 46244 w 253"/>
                <a:gd name="T101" fmla="*/ 5750 h 246"/>
                <a:gd name="T102" fmla="*/ 40779 w 253"/>
                <a:gd name="T103" fmla="*/ 6273 h 246"/>
                <a:gd name="T104" fmla="*/ 36155 w 253"/>
                <a:gd name="T105" fmla="*/ 9409 h 246"/>
                <a:gd name="T106" fmla="*/ 43722 w 253"/>
                <a:gd name="T107" fmla="*/ 2614 h 246"/>
                <a:gd name="T108" fmla="*/ 47506 w 253"/>
                <a:gd name="T109" fmla="*/ 523 h 246"/>
                <a:gd name="T110" fmla="*/ 53391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13" name="Freeform 281">
              <a:extLst>
                <a:ext uri="{FF2B5EF4-FFF2-40B4-BE49-F238E27FC236}">
                  <a16:creationId xmlns:a16="http://schemas.microsoft.com/office/drawing/2014/main" id="{90D20CE1-6A03-4F23-BDED-144BA772631C}"/>
                </a:ext>
              </a:extLst>
            </p:cNvPr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8215495" y="3565143"/>
              <a:ext cx="82351" cy="127758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214" name="Group 282">
              <a:extLst>
                <a:ext uri="{FF2B5EF4-FFF2-40B4-BE49-F238E27FC236}">
                  <a16:creationId xmlns:a16="http://schemas.microsoft.com/office/drawing/2014/main" id="{6C1C201D-1569-40F4-A469-D0EB6568A682}"/>
                </a:ext>
              </a:extLst>
            </p:cNvPr>
            <p:cNvGrpSpPr>
              <a:grpSpLocks/>
            </p:cNvGrpSpPr>
            <p:nvPr>
              <p:custDataLst>
                <p:tags r:id="rId208"/>
              </p:custDataLst>
            </p:nvPr>
          </p:nvGrpSpPr>
          <p:grpSpPr bwMode="auto">
            <a:xfrm>
              <a:off x="9434283" y="3255119"/>
              <a:ext cx="302638" cy="471849"/>
              <a:chOff x="5062" y="2295"/>
              <a:chExt cx="177" cy="279"/>
            </a:xfrm>
          </p:grpSpPr>
          <p:sp>
            <p:nvSpPr>
              <p:cNvPr id="458" name="Freeform 283">
                <a:extLst>
                  <a:ext uri="{FF2B5EF4-FFF2-40B4-BE49-F238E27FC236}">
                    <a16:creationId xmlns:a16="http://schemas.microsoft.com/office/drawing/2014/main" id="{C331BF66-7BFE-4F8A-A601-976CB0EF78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0185C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59" name="Freeform 284">
                <a:extLst>
                  <a:ext uri="{FF2B5EF4-FFF2-40B4-BE49-F238E27FC236}">
                    <a16:creationId xmlns:a16="http://schemas.microsoft.com/office/drawing/2014/main" id="{6C63A1DF-56FF-41FF-85FB-A24FDAEA61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60" name="Freeform 285">
                <a:extLst>
                  <a:ext uri="{FF2B5EF4-FFF2-40B4-BE49-F238E27FC236}">
                    <a16:creationId xmlns:a16="http://schemas.microsoft.com/office/drawing/2014/main" id="{78F1DFDA-E239-473E-B3A6-B68FAC0BDB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61" name="Freeform 286">
                <a:extLst>
                  <a:ext uri="{FF2B5EF4-FFF2-40B4-BE49-F238E27FC236}">
                    <a16:creationId xmlns:a16="http://schemas.microsoft.com/office/drawing/2014/main" id="{4BE1877B-B5D3-43CB-B427-A21CE4AE38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62" name="Freeform 287">
                <a:extLst>
                  <a:ext uri="{FF2B5EF4-FFF2-40B4-BE49-F238E27FC236}">
                    <a16:creationId xmlns:a16="http://schemas.microsoft.com/office/drawing/2014/main" id="{58A092D0-E52C-4628-98D7-77296DD306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63" name="Freeform 288">
                <a:extLst>
                  <a:ext uri="{FF2B5EF4-FFF2-40B4-BE49-F238E27FC236}">
                    <a16:creationId xmlns:a16="http://schemas.microsoft.com/office/drawing/2014/main" id="{C36BD6CB-BCD4-4B90-AC6D-E3D3BDB730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64" name="Freeform 289">
                <a:extLst>
                  <a:ext uri="{FF2B5EF4-FFF2-40B4-BE49-F238E27FC236}">
                    <a16:creationId xmlns:a16="http://schemas.microsoft.com/office/drawing/2014/main" id="{0A8119B7-E1F9-471C-B59B-C19F0FA1BE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65" name="Freeform 290">
                <a:extLst>
                  <a:ext uri="{FF2B5EF4-FFF2-40B4-BE49-F238E27FC236}">
                    <a16:creationId xmlns:a16="http://schemas.microsoft.com/office/drawing/2014/main" id="{A8A79E1E-3A65-4D6A-87F5-9D0D72BD2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0185C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66" name="Freeform 291">
                <a:extLst>
                  <a:ext uri="{FF2B5EF4-FFF2-40B4-BE49-F238E27FC236}">
                    <a16:creationId xmlns:a16="http://schemas.microsoft.com/office/drawing/2014/main" id="{373B0558-9604-4DBD-9B1E-EB99B19FEF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0185C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67" name="Freeform 292">
                <a:extLst>
                  <a:ext uri="{FF2B5EF4-FFF2-40B4-BE49-F238E27FC236}">
                    <a16:creationId xmlns:a16="http://schemas.microsoft.com/office/drawing/2014/main" id="{3B7BE55A-2E79-4646-A68B-429D17E34F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FEA34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68" name="Freeform 293">
                <a:extLst>
                  <a:ext uri="{FF2B5EF4-FFF2-40B4-BE49-F238E27FC236}">
                    <a16:creationId xmlns:a16="http://schemas.microsoft.com/office/drawing/2014/main" id="{A39D719A-183A-4813-993F-4DFFB7B3F8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0185C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69" name="Freeform 294">
                <a:extLst>
                  <a:ext uri="{FF2B5EF4-FFF2-40B4-BE49-F238E27FC236}">
                    <a16:creationId xmlns:a16="http://schemas.microsoft.com/office/drawing/2014/main" id="{D43951AC-E948-46D1-91B4-AC14A9CE23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0185C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70" name="Freeform 295">
                <a:extLst>
                  <a:ext uri="{FF2B5EF4-FFF2-40B4-BE49-F238E27FC236}">
                    <a16:creationId xmlns:a16="http://schemas.microsoft.com/office/drawing/2014/main" id="{F2E3AB05-A53E-42F2-A59A-85108ACD5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71" name="Freeform 296">
                <a:extLst>
                  <a:ext uri="{FF2B5EF4-FFF2-40B4-BE49-F238E27FC236}">
                    <a16:creationId xmlns:a16="http://schemas.microsoft.com/office/drawing/2014/main" id="{99C96553-B053-4826-AB96-B33A632D4D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72" name="Freeform 297">
                <a:extLst>
                  <a:ext uri="{FF2B5EF4-FFF2-40B4-BE49-F238E27FC236}">
                    <a16:creationId xmlns:a16="http://schemas.microsoft.com/office/drawing/2014/main" id="{C65F16FD-50A5-46E2-A832-20494C76A3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0185C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73" name="Line 298">
                <a:extLst>
                  <a:ext uri="{FF2B5EF4-FFF2-40B4-BE49-F238E27FC236}">
                    <a16:creationId xmlns:a16="http://schemas.microsoft.com/office/drawing/2014/main" id="{36D72CC2-F87F-483A-A504-6368B8AF6E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0185C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74" name="Freeform 299">
                <a:extLst>
                  <a:ext uri="{FF2B5EF4-FFF2-40B4-BE49-F238E27FC236}">
                    <a16:creationId xmlns:a16="http://schemas.microsoft.com/office/drawing/2014/main" id="{D11DD0B2-B4E4-472B-A498-F54D03F249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75" name="Line 300">
                <a:extLst>
                  <a:ext uri="{FF2B5EF4-FFF2-40B4-BE49-F238E27FC236}">
                    <a16:creationId xmlns:a16="http://schemas.microsoft.com/office/drawing/2014/main" id="{5BF56FF6-6E3C-4FD6-8CE9-7EFB3E0DAA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76" name="Freeform 301">
                <a:extLst>
                  <a:ext uri="{FF2B5EF4-FFF2-40B4-BE49-F238E27FC236}">
                    <a16:creationId xmlns:a16="http://schemas.microsoft.com/office/drawing/2014/main" id="{8A514BC6-99C6-4A6B-B180-F3CCCD146D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77" name="Freeform 302">
                <a:extLst>
                  <a:ext uri="{FF2B5EF4-FFF2-40B4-BE49-F238E27FC236}">
                    <a16:creationId xmlns:a16="http://schemas.microsoft.com/office/drawing/2014/main" id="{CEB86EA7-13B2-4963-9C5B-E8B3B586A6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78" name="Freeform 303">
                <a:extLst>
                  <a:ext uri="{FF2B5EF4-FFF2-40B4-BE49-F238E27FC236}">
                    <a16:creationId xmlns:a16="http://schemas.microsoft.com/office/drawing/2014/main" id="{5E486A2B-EA56-485E-8B4E-F900A698B5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79" name="Freeform 304">
                <a:extLst>
                  <a:ext uri="{FF2B5EF4-FFF2-40B4-BE49-F238E27FC236}">
                    <a16:creationId xmlns:a16="http://schemas.microsoft.com/office/drawing/2014/main" id="{51DD2F11-6C30-424B-BBB0-2CF96FF3A9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80" name="Freeform 305">
                <a:extLst>
                  <a:ext uri="{FF2B5EF4-FFF2-40B4-BE49-F238E27FC236}">
                    <a16:creationId xmlns:a16="http://schemas.microsoft.com/office/drawing/2014/main" id="{B5563BDE-53E0-42D0-A84A-438A85EEDC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81" name="Line 306">
                <a:extLst>
                  <a:ext uri="{FF2B5EF4-FFF2-40B4-BE49-F238E27FC236}">
                    <a16:creationId xmlns:a16="http://schemas.microsoft.com/office/drawing/2014/main" id="{D8C5E2F2-BD7D-4651-945D-D1CC15F43C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0185C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215" name="Freeform 307">
              <a:extLst>
                <a:ext uri="{FF2B5EF4-FFF2-40B4-BE49-F238E27FC236}">
                  <a16:creationId xmlns:a16="http://schemas.microsoft.com/office/drawing/2014/main" id="{022527B5-8443-4BCC-B55A-EA22A9548C91}"/>
                </a:ext>
              </a:extLst>
            </p:cNvPr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9881034" y="4134087"/>
              <a:ext cx="18530" cy="59620"/>
            </a:xfrm>
            <a:custGeom>
              <a:avLst/>
              <a:gdLst>
                <a:gd name="T0" fmla="*/ 0 w 33"/>
                <a:gd name="T1" fmla="*/ 55563 h 43"/>
                <a:gd name="T2" fmla="*/ 433 w 33"/>
                <a:gd name="T3" fmla="*/ 43934 h 43"/>
                <a:gd name="T4" fmla="*/ 866 w 33"/>
                <a:gd name="T5" fmla="*/ 34888 h 43"/>
                <a:gd name="T6" fmla="*/ 2165 w 33"/>
                <a:gd name="T7" fmla="*/ 27135 h 43"/>
                <a:gd name="T8" fmla="*/ 3897 w 33"/>
                <a:gd name="T9" fmla="*/ 19382 h 43"/>
                <a:gd name="T10" fmla="*/ 6062 w 33"/>
                <a:gd name="T11" fmla="*/ 11629 h 43"/>
                <a:gd name="T12" fmla="*/ 8659 w 33"/>
                <a:gd name="T13" fmla="*/ 6461 h 43"/>
                <a:gd name="T14" fmla="*/ 11257 w 33"/>
                <a:gd name="T15" fmla="*/ 2584 h 43"/>
                <a:gd name="T16" fmla="*/ 14288 w 33"/>
                <a:gd name="T17" fmla="*/ 0 h 43"/>
                <a:gd name="T18" fmla="*/ 14288 w 33"/>
                <a:gd name="T19" fmla="*/ 32304 h 43"/>
                <a:gd name="T20" fmla="*/ 9958 w 33"/>
                <a:gd name="T21" fmla="*/ 34888 h 43"/>
                <a:gd name="T22" fmla="*/ 7793 w 33"/>
                <a:gd name="T23" fmla="*/ 37473 h 43"/>
                <a:gd name="T24" fmla="*/ 6928 w 33"/>
                <a:gd name="T25" fmla="*/ 41349 h 43"/>
                <a:gd name="T26" fmla="*/ 6928 w 33"/>
                <a:gd name="T27" fmla="*/ 43934 h 43"/>
                <a:gd name="T28" fmla="*/ 6928 w 33"/>
                <a:gd name="T29" fmla="*/ 46518 h 43"/>
                <a:gd name="T30" fmla="*/ 6062 w 33"/>
                <a:gd name="T31" fmla="*/ 49102 h 43"/>
                <a:gd name="T32" fmla="*/ 4330 w 33"/>
                <a:gd name="T33" fmla="*/ 52979 h 43"/>
                <a:gd name="T34" fmla="*/ 0 w 33"/>
                <a:gd name="T35" fmla="*/ 5556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16" name="Freeform 308">
              <a:extLst>
                <a:ext uri="{FF2B5EF4-FFF2-40B4-BE49-F238E27FC236}">
                  <a16:creationId xmlns:a16="http://schemas.microsoft.com/office/drawing/2014/main" id="{B9ED6740-9401-4C13-8F06-EBE6DDA68014}"/>
                </a:ext>
              </a:extLst>
            </p:cNvPr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9979854" y="4069358"/>
              <a:ext cx="28823" cy="63028"/>
            </a:xfrm>
            <a:custGeom>
              <a:avLst/>
              <a:gdLst>
                <a:gd name="T0" fmla="*/ 0 w 54"/>
                <a:gd name="T1" fmla="*/ 35115 h 92"/>
                <a:gd name="T2" fmla="*/ 412 w 54"/>
                <a:gd name="T3" fmla="*/ 32561 h 92"/>
                <a:gd name="T4" fmla="*/ 823 w 54"/>
                <a:gd name="T5" fmla="*/ 29369 h 92"/>
                <a:gd name="T6" fmla="*/ 1235 w 54"/>
                <a:gd name="T7" fmla="*/ 26815 h 92"/>
                <a:gd name="T8" fmla="*/ 2469 w 54"/>
                <a:gd name="T9" fmla="*/ 23623 h 92"/>
                <a:gd name="T10" fmla="*/ 4527 w 54"/>
                <a:gd name="T11" fmla="*/ 18515 h 92"/>
                <a:gd name="T12" fmla="*/ 7408 w 54"/>
                <a:gd name="T13" fmla="*/ 13408 h 92"/>
                <a:gd name="T14" fmla="*/ 12759 w 54"/>
                <a:gd name="T15" fmla="*/ 4469 h 92"/>
                <a:gd name="T16" fmla="*/ 16875 w 54"/>
                <a:gd name="T17" fmla="*/ 0 h 92"/>
                <a:gd name="T18" fmla="*/ 22225 w 54"/>
                <a:gd name="T19" fmla="*/ 7661 h 92"/>
                <a:gd name="T20" fmla="*/ 20990 w 54"/>
                <a:gd name="T21" fmla="*/ 13408 h 92"/>
                <a:gd name="T22" fmla="*/ 19344 w 54"/>
                <a:gd name="T23" fmla="*/ 18515 h 92"/>
                <a:gd name="T24" fmla="*/ 18109 w 54"/>
                <a:gd name="T25" fmla="*/ 22346 h 92"/>
                <a:gd name="T26" fmla="*/ 16875 w 54"/>
                <a:gd name="T27" fmla="*/ 26177 h 92"/>
                <a:gd name="T28" fmla="*/ 13582 w 54"/>
                <a:gd name="T29" fmla="*/ 31284 h 92"/>
                <a:gd name="T30" fmla="*/ 11524 w 54"/>
                <a:gd name="T31" fmla="*/ 35115 h 92"/>
                <a:gd name="T32" fmla="*/ 10701 w 54"/>
                <a:gd name="T33" fmla="*/ 40861 h 92"/>
                <a:gd name="T34" fmla="*/ 10701 w 54"/>
                <a:gd name="T35" fmla="*/ 47246 h 92"/>
                <a:gd name="T36" fmla="*/ 9878 w 54"/>
                <a:gd name="T37" fmla="*/ 52992 h 92"/>
                <a:gd name="T38" fmla="*/ 8231 w 54"/>
                <a:gd name="T39" fmla="*/ 58738 h 92"/>
                <a:gd name="T40" fmla="*/ 5762 w 54"/>
                <a:gd name="T41" fmla="*/ 52992 h 92"/>
                <a:gd name="T42" fmla="*/ 3293 w 54"/>
                <a:gd name="T43" fmla="*/ 47246 h 92"/>
                <a:gd name="T44" fmla="*/ 2058 w 54"/>
                <a:gd name="T45" fmla="*/ 44692 h 92"/>
                <a:gd name="T46" fmla="*/ 823 w 54"/>
                <a:gd name="T47" fmla="*/ 40861 h 92"/>
                <a:gd name="T48" fmla="*/ 412 w 54"/>
                <a:gd name="T49" fmla="*/ 38307 h 92"/>
                <a:gd name="T50" fmla="*/ 0 w 54"/>
                <a:gd name="T51" fmla="*/ 3511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17" name="Freeform 309">
              <a:extLst>
                <a:ext uri="{FF2B5EF4-FFF2-40B4-BE49-F238E27FC236}">
                  <a16:creationId xmlns:a16="http://schemas.microsoft.com/office/drawing/2014/main" id="{43FB3C58-C155-49D2-88B7-2F0D9CF6D0BD}"/>
                </a:ext>
              </a:extLst>
            </p:cNvPr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10041617" y="3939897"/>
              <a:ext cx="30882" cy="61324"/>
            </a:xfrm>
            <a:custGeom>
              <a:avLst/>
              <a:gdLst>
                <a:gd name="T0" fmla="*/ 0 w 60"/>
                <a:gd name="T1" fmla="*/ 0 h 18"/>
                <a:gd name="T2" fmla="*/ 7541 w 60"/>
                <a:gd name="T3" fmla="*/ 12700 h 18"/>
                <a:gd name="T4" fmla="*/ 14685 w 60"/>
                <a:gd name="T5" fmla="*/ 28575 h 18"/>
                <a:gd name="T6" fmla="*/ 17860 w 60"/>
                <a:gd name="T7" fmla="*/ 34925 h 18"/>
                <a:gd name="T8" fmla="*/ 20241 w 60"/>
                <a:gd name="T9" fmla="*/ 41275 h 18"/>
                <a:gd name="T10" fmla="*/ 22225 w 60"/>
                <a:gd name="T11" fmla="*/ 50800 h 18"/>
                <a:gd name="T12" fmla="*/ 23813 w 60"/>
                <a:gd name="T13" fmla="*/ 57150 h 18"/>
                <a:gd name="T14" fmla="*/ 15082 w 60"/>
                <a:gd name="T15" fmla="*/ 57150 h 18"/>
                <a:gd name="T16" fmla="*/ 9128 w 60"/>
                <a:gd name="T17" fmla="*/ 57150 h 18"/>
                <a:gd name="T18" fmla="*/ 3969 w 60"/>
                <a:gd name="T19" fmla="*/ 57150 h 18"/>
                <a:gd name="T20" fmla="*/ 0 w 60"/>
                <a:gd name="T21" fmla="*/ 571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18" name="Freeform 310">
              <a:extLst>
                <a:ext uri="{FF2B5EF4-FFF2-40B4-BE49-F238E27FC236}">
                  <a16:creationId xmlns:a16="http://schemas.microsoft.com/office/drawing/2014/main" id="{B6563B01-D084-4AE8-AE5D-24288B3B48C8}"/>
                </a:ext>
              </a:extLst>
            </p:cNvPr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10021030" y="3907532"/>
              <a:ext cx="32940" cy="61324"/>
            </a:xfrm>
            <a:custGeom>
              <a:avLst/>
              <a:gdLst>
                <a:gd name="T0" fmla="*/ 0 w 66"/>
                <a:gd name="T1" fmla="*/ 57150 h 18"/>
                <a:gd name="T2" fmla="*/ 25400 w 66"/>
                <a:gd name="T3" fmla="*/ 57150 h 18"/>
                <a:gd name="T4" fmla="*/ 20012 w 66"/>
                <a:gd name="T5" fmla="*/ 41275 h 18"/>
                <a:gd name="T6" fmla="*/ 15394 w 66"/>
                <a:gd name="T7" fmla="*/ 22225 h 18"/>
                <a:gd name="T8" fmla="*/ 13470 w 66"/>
                <a:gd name="T9" fmla="*/ 12700 h 18"/>
                <a:gd name="T10" fmla="*/ 11161 w 66"/>
                <a:gd name="T11" fmla="*/ 6350 h 18"/>
                <a:gd name="T12" fmla="*/ 9621 w 66"/>
                <a:gd name="T13" fmla="*/ 3175 h 18"/>
                <a:gd name="T14" fmla="*/ 7312 w 66"/>
                <a:gd name="T15" fmla="*/ 0 h 18"/>
                <a:gd name="T16" fmla="*/ 0 w 66"/>
                <a:gd name="T17" fmla="*/ 571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19" name="Freeform 311">
              <a:extLst>
                <a:ext uri="{FF2B5EF4-FFF2-40B4-BE49-F238E27FC236}">
                  <a16:creationId xmlns:a16="http://schemas.microsoft.com/office/drawing/2014/main" id="{A7A1A900-9004-46F1-A123-18A7D53697E9}"/>
                </a:ext>
              </a:extLst>
            </p:cNvPr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9794565" y="3796809"/>
              <a:ext cx="10294" cy="61324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20" name="Freeform 312">
              <a:extLst>
                <a:ext uri="{FF2B5EF4-FFF2-40B4-BE49-F238E27FC236}">
                  <a16:creationId xmlns:a16="http://schemas.microsoft.com/office/drawing/2014/main" id="{F99F9407-97DF-4838-8AC0-2E2B7770954D}"/>
                </a:ext>
              </a:extLst>
            </p:cNvPr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9699862" y="3941601"/>
              <a:ext cx="39117" cy="63027"/>
            </a:xfrm>
            <a:custGeom>
              <a:avLst/>
              <a:gdLst>
                <a:gd name="T0" fmla="*/ 2514 w 72"/>
                <a:gd name="T1" fmla="*/ 58737 h 29"/>
                <a:gd name="T2" fmla="*/ 6284 w 72"/>
                <a:gd name="T3" fmla="*/ 52661 h 29"/>
                <a:gd name="T4" fmla="*/ 10054 w 72"/>
                <a:gd name="T5" fmla="*/ 48610 h 29"/>
                <a:gd name="T6" fmla="*/ 13406 w 72"/>
                <a:gd name="T7" fmla="*/ 48610 h 29"/>
                <a:gd name="T8" fmla="*/ 16338 w 72"/>
                <a:gd name="T9" fmla="*/ 48610 h 29"/>
                <a:gd name="T10" fmla="*/ 23041 w 72"/>
                <a:gd name="T11" fmla="*/ 54686 h 29"/>
                <a:gd name="T12" fmla="*/ 30163 w 72"/>
                <a:gd name="T13" fmla="*/ 58737 h 29"/>
                <a:gd name="T14" fmla="*/ 30163 w 72"/>
                <a:gd name="T15" fmla="*/ 8102 h 29"/>
                <a:gd name="T16" fmla="*/ 24298 w 72"/>
                <a:gd name="T17" fmla="*/ 2025 h 29"/>
                <a:gd name="T18" fmla="*/ 19690 w 72"/>
                <a:gd name="T19" fmla="*/ 0 h 29"/>
                <a:gd name="T20" fmla="*/ 16338 w 72"/>
                <a:gd name="T21" fmla="*/ 0 h 29"/>
                <a:gd name="T22" fmla="*/ 14244 w 72"/>
                <a:gd name="T23" fmla="*/ 4051 h 29"/>
                <a:gd name="T24" fmla="*/ 11311 w 72"/>
                <a:gd name="T25" fmla="*/ 6076 h 29"/>
                <a:gd name="T26" fmla="*/ 8798 w 72"/>
                <a:gd name="T27" fmla="*/ 10127 h 29"/>
                <a:gd name="T28" fmla="*/ 5027 w 72"/>
                <a:gd name="T29" fmla="*/ 10127 h 29"/>
                <a:gd name="T30" fmla="*/ 0 w 72"/>
                <a:gd name="T31" fmla="*/ 8102 h 29"/>
                <a:gd name="T32" fmla="*/ 1257 w 72"/>
                <a:gd name="T33" fmla="*/ 32407 h 29"/>
                <a:gd name="T34" fmla="*/ 2514 w 72"/>
                <a:gd name="T35" fmla="*/ 5873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21" name="Freeform 313">
              <a:extLst>
                <a:ext uri="{FF2B5EF4-FFF2-40B4-BE49-F238E27FC236}">
                  <a16:creationId xmlns:a16="http://schemas.microsoft.com/office/drawing/2014/main" id="{3B03DFE9-9165-4842-A3FA-7F0F28F867BB}"/>
                </a:ext>
              </a:extLst>
            </p:cNvPr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9710157" y="4140901"/>
              <a:ext cx="24705" cy="59620"/>
            </a:xfrm>
            <a:custGeom>
              <a:avLst/>
              <a:gdLst>
                <a:gd name="T0" fmla="*/ 0 w 46"/>
                <a:gd name="T1" fmla="*/ 0 h 37"/>
                <a:gd name="T2" fmla="*/ 3727 w 46"/>
                <a:gd name="T3" fmla="*/ 13515 h 37"/>
                <a:gd name="T4" fmla="*/ 8283 w 46"/>
                <a:gd name="T5" fmla="*/ 22526 h 37"/>
                <a:gd name="T6" fmla="*/ 12838 w 46"/>
                <a:gd name="T7" fmla="*/ 30034 h 37"/>
                <a:gd name="T8" fmla="*/ 19050 w 46"/>
                <a:gd name="T9" fmla="*/ 37543 h 37"/>
                <a:gd name="T10" fmla="*/ 15323 w 46"/>
                <a:gd name="T11" fmla="*/ 43549 h 37"/>
                <a:gd name="T12" fmla="*/ 12010 w 46"/>
                <a:gd name="T13" fmla="*/ 49556 h 37"/>
                <a:gd name="T14" fmla="*/ 8697 w 46"/>
                <a:gd name="T15" fmla="*/ 54061 h 37"/>
                <a:gd name="T16" fmla="*/ 5384 w 46"/>
                <a:gd name="T17" fmla="*/ 55563 h 37"/>
                <a:gd name="T18" fmla="*/ 3727 w 46"/>
                <a:gd name="T19" fmla="*/ 54061 h 37"/>
                <a:gd name="T20" fmla="*/ 2899 w 46"/>
                <a:gd name="T21" fmla="*/ 49556 h 37"/>
                <a:gd name="T22" fmla="*/ 2071 w 46"/>
                <a:gd name="T23" fmla="*/ 43549 h 37"/>
                <a:gd name="T24" fmla="*/ 1242 w 46"/>
                <a:gd name="T25" fmla="*/ 34539 h 37"/>
                <a:gd name="T26" fmla="*/ 414 w 46"/>
                <a:gd name="T27" fmla="*/ 18020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22" name="Freeform 314">
              <a:extLst>
                <a:ext uri="{FF2B5EF4-FFF2-40B4-BE49-F238E27FC236}">
                  <a16:creationId xmlns:a16="http://schemas.microsoft.com/office/drawing/2014/main" id="{5F1C0CCC-495B-4BC7-8C0E-2A4DB6469A77}"/>
                </a:ext>
              </a:extLst>
            </p:cNvPr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9856328" y="3946711"/>
              <a:ext cx="14412" cy="61324"/>
            </a:xfrm>
            <a:custGeom>
              <a:avLst/>
              <a:gdLst>
                <a:gd name="T0" fmla="*/ 0 w 26"/>
                <a:gd name="T1" fmla="*/ 0 h 19"/>
                <a:gd name="T2" fmla="*/ 11113 w 26"/>
                <a:gd name="T3" fmla="*/ 57150 h 19"/>
                <a:gd name="T4" fmla="*/ 11113 w 26"/>
                <a:gd name="T5" fmla="*/ 27071 h 19"/>
                <a:gd name="T6" fmla="*/ 11113 w 26"/>
                <a:gd name="T7" fmla="*/ 0 h 19"/>
                <a:gd name="T8" fmla="*/ 6411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23" name="Freeform 315">
              <a:extLst>
                <a:ext uri="{FF2B5EF4-FFF2-40B4-BE49-F238E27FC236}">
                  <a16:creationId xmlns:a16="http://schemas.microsoft.com/office/drawing/2014/main" id="{AD2B4B61-5649-4B53-AF12-08804C3F0B6A}"/>
                </a:ext>
              </a:extLst>
            </p:cNvPr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9675157" y="3941601"/>
              <a:ext cx="24705" cy="63027"/>
            </a:xfrm>
            <a:custGeom>
              <a:avLst/>
              <a:gdLst>
                <a:gd name="T0" fmla="*/ 886 w 43"/>
                <a:gd name="T1" fmla="*/ 0 h 31"/>
                <a:gd name="T2" fmla="*/ 443 w 43"/>
                <a:gd name="T3" fmla="*/ 22737 h 31"/>
                <a:gd name="T4" fmla="*/ 0 w 43"/>
                <a:gd name="T5" fmla="*/ 43579 h 31"/>
                <a:gd name="T6" fmla="*/ 0 w 43"/>
                <a:gd name="T7" fmla="*/ 49263 h 31"/>
                <a:gd name="T8" fmla="*/ 0 w 43"/>
                <a:gd name="T9" fmla="*/ 54948 h 31"/>
                <a:gd name="T10" fmla="*/ 0 w 43"/>
                <a:gd name="T11" fmla="*/ 58737 h 31"/>
                <a:gd name="T12" fmla="*/ 886 w 43"/>
                <a:gd name="T13" fmla="*/ 58737 h 31"/>
                <a:gd name="T14" fmla="*/ 5759 w 43"/>
                <a:gd name="T15" fmla="*/ 41684 h 31"/>
                <a:gd name="T16" fmla="*/ 11076 w 43"/>
                <a:gd name="T17" fmla="*/ 24632 h 31"/>
                <a:gd name="T18" fmla="*/ 15506 w 43"/>
                <a:gd name="T19" fmla="*/ 9474 h 31"/>
                <a:gd name="T20" fmla="*/ 19050 w 43"/>
                <a:gd name="T21" fmla="*/ 0 h 31"/>
                <a:gd name="T22" fmla="*/ 886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24" name="Freeform 316">
              <a:extLst>
                <a:ext uri="{FF2B5EF4-FFF2-40B4-BE49-F238E27FC236}">
                  <a16:creationId xmlns:a16="http://schemas.microsoft.com/office/drawing/2014/main" id="{1452F81B-43C5-4FEE-A698-D9DF68AC9352}"/>
                </a:ext>
              </a:extLst>
            </p:cNvPr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9732802" y="3992704"/>
              <a:ext cx="39117" cy="61324"/>
            </a:xfrm>
            <a:custGeom>
              <a:avLst/>
              <a:gdLst>
                <a:gd name="T0" fmla="*/ 1699 w 71"/>
                <a:gd name="T1" fmla="*/ 13996 h 49"/>
                <a:gd name="T2" fmla="*/ 1699 w 71"/>
                <a:gd name="T3" fmla="*/ 20994 h 49"/>
                <a:gd name="T4" fmla="*/ 2124 w 71"/>
                <a:gd name="T5" fmla="*/ 29158 h 49"/>
                <a:gd name="T6" fmla="*/ 2974 w 71"/>
                <a:gd name="T7" fmla="*/ 36156 h 49"/>
                <a:gd name="T8" fmla="*/ 3823 w 71"/>
                <a:gd name="T9" fmla="*/ 43154 h 49"/>
                <a:gd name="T10" fmla="*/ 5948 w 71"/>
                <a:gd name="T11" fmla="*/ 47819 h 49"/>
                <a:gd name="T12" fmla="*/ 7647 w 71"/>
                <a:gd name="T13" fmla="*/ 53651 h 49"/>
                <a:gd name="T14" fmla="*/ 9771 w 71"/>
                <a:gd name="T15" fmla="*/ 55984 h 49"/>
                <a:gd name="T16" fmla="*/ 12745 w 71"/>
                <a:gd name="T17" fmla="*/ 57150 h 49"/>
                <a:gd name="T18" fmla="*/ 14869 w 71"/>
                <a:gd name="T19" fmla="*/ 55984 h 49"/>
                <a:gd name="T20" fmla="*/ 16993 w 71"/>
                <a:gd name="T21" fmla="*/ 53651 h 49"/>
                <a:gd name="T22" fmla="*/ 19117 w 71"/>
                <a:gd name="T23" fmla="*/ 48986 h 49"/>
                <a:gd name="T24" fmla="*/ 21242 w 71"/>
                <a:gd name="T25" fmla="*/ 43154 h 49"/>
                <a:gd name="T26" fmla="*/ 25490 w 71"/>
                <a:gd name="T27" fmla="*/ 32657 h 49"/>
                <a:gd name="T28" fmla="*/ 30163 w 71"/>
                <a:gd name="T29" fmla="*/ 20994 h 49"/>
                <a:gd name="T30" fmla="*/ 25915 w 71"/>
                <a:gd name="T31" fmla="*/ 13996 h 49"/>
                <a:gd name="T32" fmla="*/ 22091 w 71"/>
                <a:gd name="T33" fmla="*/ 10497 h 49"/>
                <a:gd name="T34" fmla="*/ 18693 w 71"/>
                <a:gd name="T35" fmla="*/ 8164 h 49"/>
                <a:gd name="T36" fmla="*/ 15719 w 71"/>
                <a:gd name="T37" fmla="*/ 6998 h 49"/>
                <a:gd name="T38" fmla="*/ 12320 w 71"/>
                <a:gd name="T39" fmla="*/ 6998 h 49"/>
                <a:gd name="T40" fmla="*/ 8921 w 71"/>
                <a:gd name="T41" fmla="*/ 5832 h 49"/>
                <a:gd name="T42" fmla="*/ 5948 w 71"/>
                <a:gd name="T43" fmla="*/ 3499 h 49"/>
                <a:gd name="T44" fmla="*/ 1699 w 71"/>
                <a:gd name="T45" fmla="*/ 0 h 49"/>
                <a:gd name="T46" fmla="*/ 1274 w 71"/>
                <a:gd name="T47" fmla="*/ 1166 h 49"/>
                <a:gd name="T48" fmla="*/ 425 w 71"/>
                <a:gd name="T49" fmla="*/ 6998 h 49"/>
                <a:gd name="T50" fmla="*/ 0 w 71"/>
                <a:gd name="T51" fmla="*/ 9331 h 49"/>
                <a:gd name="T52" fmla="*/ 0 w 71"/>
                <a:gd name="T53" fmla="*/ 11663 h 49"/>
                <a:gd name="T54" fmla="*/ 425 w 71"/>
                <a:gd name="T55" fmla="*/ 12830 h 49"/>
                <a:gd name="T56" fmla="*/ 1699 w 71"/>
                <a:gd name="T57" fmla="*/ 1399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25" name="Freeform 317">
              <a:extLst>
                <a:ext uri="{FF2B5EF4-FFF2-40B4-BE49-F238E27FC236}">
                  <a16:creationId xmlns:a16="http://schemas.microsoft.com/office/drawing/2014/main" id="{F2BF15C8-FE67-415B-ACAD-AE2B66BF03A5}"/>
                </a:ext>
              </a:extLst>
            </p:cNvPr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9475457" y="4210742"/>
              <a:ext cx="59704" cy="63027"/>
            </a:xfrm>
            <a:custGeom>
              <a:avLst/>
              <a:gdLst>
                <a:gd name="T0" fmla="*/ 18908 w 112"/>
                <a:gd name="T1" fmla="*/ 4518 h 26"/>
                <a:gd name="T2" fmla="*/ 23019 w 112"/>
                <a:gd name="T3" fmla="*/ 4518 h 26"/>
                <a:gd name="T4" fmla="*/ 27129 w 112"/>
                <a:gd name="T5" fmla="*/ 6777 h 26"/>
                <a:gd name="T6" fmla="*/ 30417 w 112"/>
                <a:gd name="T7" fmla="*/ 9036 h 26"/>
                <a:gd name="T8" fmla="*/ 34528 w 112"/>
                <a:gd name="T9" fmla="*/ 13555 h 26"/>
                <a:gd name="T10" fmla="*/ 37816 w 112"/>
                <a:gd name="T11" fmla="*/ 20332 h 26"/>
                <a:gd name="T12" fmla="*/ 41104 w 112"/>
                <a:gd name="T13" fmla="*/ 27109 h 26"/>
                <a:gd name="T14" fmla="*/ 43571 w 112"/>
                <a:gd name="T15" fmla="*/ 36146 h 26"/>
                <a:gd name="T16" fmla="*/ 46037 w 112"/>
                <a:gd name="T17" fmla="*/ 45182 h 26"/>
                <a:gd name="T18" fmla="*/ 45215 w 112"/>
                <a:gd name="T19" fmla="*/ 49701 h 26"/>
                <a:gd name="T20" fmla="*/ 43160 w 112"/>
                <a:gd name="T21" fmla="*/ 51960 h 26"/>
                <a:gd name="T22" fmla="*/ 41516 w 112"/>
                <a:gd name="T23" fmla="*/ 56478 h 26"/>
                <a:gd name="T24" fmla="*/ 39049 w 112"/>
                <a:gd name="T25" fmla="*/ 56478 h 26"/>
                <a:gd name="T26" fmla="*/ 35761 w 112"/>
                <a:gd name="T27" fmla="*/ 58737 h 26"/>
                <a:gd name="T28" fmla="*/ 32473 w 112"/>
                <a:gd name="T29" fmla="*/ 58737 h 26"/>
                <a:gd name="T30" fmla="*/ 27129 w 112"/>
                <a:gd name="T31" fmla="*/ 54219 h 26"/>
                <a:gd name="T32" fmla="*/ 16853 w 112"/>
                <a:gd name="T33" fmla="*/ 42923 h 26"/>
                <a:gd name="T34" fmla="*/ 6577 w 112"/>
                <a:gd name="T35" fmla="*/ 29369 h 26"/>
                <a:gd name="T36" fmla="*/ 0 w 112"/>
                <a:gd name="T37" fmla="*/ 18073 h 26"/>
                <a:gd name="T38" fmla="*/ 2055 w 112"/>
                <a:gd name="T39" fmla="*/ 9036 h 26"/>
                <a:gd name="T40" fmla="*/ 4521 w 112"/>
                <a:gd name="T41" fmla="*/ 4518 h 26"/>
                <a:gd name="T42" fmla="*/ 7399 w 112"/>
                <a:gd name="T43" fmla="*/ 2259 h 26"/>
                <a:gd name="T44" fmla="*/ 10276 w 112"/>
                <a:gd name="T45" fmla="*/ 0 h 26"/>
                <a:gd name="T46" fmla="*/ 15209 w 112"/>
                <a:gd name="T47" fmla="*/ 2259 h 26"/>
                <a:gd name="T48" fmla="*/ 18908 w 112"/>
                <a:gd name="T49" fmla="*/ 4518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26" name="Freeform 318">
              <a:extLst>
                <a:ext uri="{FF2B5EF4-FFF2-40B4-BE49-F238E27FC236}">
                  <a16:creationId xmlns:a16="http://schemas.microsoft.com/office/drawing/2014/main" id="{A99942DE-1FBF-47AE-9A9E-E3087C323FAB}"/>
                </a:ext>
              </a:extLst>
            </p:cNvPr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9603101" y="4251624"/>
              <a:ext cx="18528" cy="63027"/>
            </a:xfrm>
            <a:custGeom>
              <a:avLst/>
              <a:gdLst>
                <a:gd name="T0" fmla="*/ 0 w 41"/>
                <a:gd name="T1" fmla="*/ 0 h 25"/>
                <a:gd name="T2" fmla="*/ 14287 w 41"/>
                <a:gd name="T3" fmla="*/ 0 h 25"/>
                <a:gd name="T4" fmla="*/ 9757 w 41"/>
                <a:gd name="T5" fmla="*/ 18796 h 25"/>
                <a:gd name="T6" fmla="*/ 6272 w 41"/>
                <a:gd name="T7" fmla="*/ 35242 h 25"/>
                <a:gd name="T8" fmla="*/ 3136 w 41"/>
                <a:gd name="T9" fmla="*/ 46990 h 25"/>
                <a:gd name="T10" fmla="*/ 0 w 41"/>
                <a:gd name="T11" fmla="*/ 5873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27" name="Freeform 319">
              <a:extLst>
                <a:ext uri="{FF2B5EF4-FFF2-40B4-BE49-F238E27FC236}">
                  <a16:creationId xmlns:a16="http://schemas.microsoft.com/office/drawing/2014/main" id="{5CD79DCD-D8B8-4C94-9FCD-145DE983C4E8}"/>
                </a:ext>
              </a:extLst>
            </p:cNvPr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9386930" y="4178377"/>
              <a:ext cx="47352" cy="59620"/>
            </a:xfrm>
            <a:custGeom>
              <a:avLst/>
              <a:gdLst>
                <a:gd name="T0" fmla="*/ 0 w 81"/>
                <a:gd name="T1" fmla="*/ 55563 h 31"/>
                <a:gd name="T2" fmla="*/ 0 w 81"/>
                <a:gd name="T3" fmla="*/ 39432 h 31"/>
                <a:gd name="T4" fmla="*/ 0 w 81"/>
                <a:gd name="T5" fmla="*/ 23301 h 31"/>
                <a:gd name="T6" fmla="*/ 0 w 81"/>
                <a:gd name="T7" fmla="*/ 17924 h 31"/>
                <a:gd name="T8" fmla="*/ 902 w 81"/>
                <a:gd name="T9" fmla="*/ 14339 h 31"/>
                <a:gd name="T10" fmla="*/ 1352 w 81"/>
                <a:gd name="T11" fmla="*/ 10754 h 31"/>
                <a:gd name="T12" fmla="*/ 1803 w 81"/>
                <a:gd name="T13" fmla="*/ 7169 h 31"/>
                <a:gd name="T14" fmla="*/ 3606 w 81"/>
                <a:gd name="T15" fmla="*/ 3585 h 31"/>
                <a:gd name="T16" fmla="*/ 6311 w 81"/>
                <a:gd name="T17" fmla="*/ 0 h 31"/>
                <a:gd name="T18" fmla="*/ 11720 w 81"/>
                <a:gd name="T19" fmla="*/ 1792 h 31"/>
                <a:gd name="T20" fmla="*/ 18482 w 81"/>
                <a:gd name="T21" fmla="*/ 1792 h 31"/>
                <a:gd name="T22" fmla="*/ 25244 w 81"/>
                <a:gd name="T23" fmla="*/ 1792 h 31"/>
                <a:gd name="T24" fmla="*/ 29301 w 81"/>
                <a:gd name="T25" fmla="*/ 1792 h 31"/>
                <a:gd name="T26" fmla="*/ 32907 w 81"/>
                <a:gd name="T27" fmla="*/ 1792 h 31"/>
                <a:gd name="T28" fmla="*/ 36513 w 81"/>
                <a:gd name="T29" fmla="*/ 1792 h 31"/>
                <a:gd name="T30" fmla="*/ 32907 w 81"/>
                <a:gd name="T31" fmla="*/ 10754 h 31"/>
                <a:gd name="T32" fmla="*/ 30202 w 81"/>
                <a:gd name="T33" fmla="*/ 17924 h 31"/>
                <a:gd name="T34" fmla="*/ 28850 w 81"/>
                <a:gd name="T35" fmla="*/ 25093 h 31"/>
                <a:gd name="T36" fmla="*/ 27948 w 81"/>
                <a:gd name="T37" fmla="*/ 32262 h 31"/>
                <a:gd name="T38" fmla="*/ 26596 w 81"/>
                <a:gd name="T39" fmla="*/ 37639 h 31"/>
                <a:gd name="T40" fmla="*/ 24342 w 81"/>
                <a:gd name="T41" fmla="*/ 41224 h 31"/>
                <a:gd name="T42" fmla="*/ 21187 w 81"/>
                <a:gd name="T43" fmla="*/ 44809 h 31"/>
                <a:gd name="T44" fmla="*/ 15326 w 81"/>
                <a:gd name="T45" fmla="*/ 44809 h 31"/>
                <a:gd name="T46" fmla="*/ 0 w 81"/>
                <a:gd name="T47" fmla="*/ 5556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28" name="Freeform 320">
              <a:extLst>
                <a:ext uri="{FF2B5EF4-FFF2-40B4-BE49-F238E27FC236}">
                  <a16:creationId xmlns:a16="http://schemas.microsoft.com/office/drawing/2014/main" id="{1E12AF51-835E-4B2D-B06D-0B17F7CE33A1}"/>
                </a:ext>
              </a:extLst>
            </p:cNvPr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9444575" y="4163046"/>
              <a:ext cx="51470" cy="59620"/>
            </a:xfrm>
            <a:custGeom>
              <a:avLst/>
              <a:gdLst>
                <a:gd name="T0" fmla="*/ 892 w 89"/>
                <a:gd name="T1" fmla="*/ 55562 h 49"/>
                <a:gd name="T2" fmla="*/ 39688 w 89"/>
                <a:gd name="T3" fmla="*/ 55562 h 49"/>
                <a:gd name="T4" fmla="*/ 34783 w 89"/>
                <a:gd name="T5" fmla="*/ 46491 h 49"/>
                <a:gd name="T6" fmla="*/ 30323 w 89"/>
                <a:gd name="T7" fmla="*/ 39687 h 49"/>
                <a:gd name="T8" fmla="*/ 25418 w 89"/>
                <a:gd name="T9" fmla="*/ 34018 h 49"/>
                <a:gd name="T10" fmla="*/ 20513 w 89"/>
                <a:gd name="T11" fmla="*/ 28348 h 49"/>
                <a:gd name="T12" fmla="*/ 16054 w 89"/>
                <a:gd name="T13" fmla="*/ 23812 h 49"/>
                <a:gd name="T14" fmla="*/ 11594 w 89"/>
                <a:gd name="T15" fmla="*/ 15875 h 49"/>
                <a:gd name="T16" fmla="*/ 7135 w 89"/>
                <a:gd name="T17" fmla="*/ 9071 h 49"/>
                <a:gd name="T18" fmla="*/ 4013 w 89"/>
                <a:gd name="T19" fmla="*/ 0 h 49"/>
                <a:gd name="T20" fmla="*/ 1784 w 89"/>
                <a:gd name="T21" fmla="*/ 11339 h 49"/>
                <a:gd name="T22" fmla="*/ 446 w 89"/>
                <a:gd name="T23" fmla="*/ 26080 h 49"/>
                <a:gd name="T24" fmla="*/ 0 w 89"/>
                <a:gd name="T25" fmla="*/ 32884 h 49"/>
                <a:gd name="T26" fmla="*/ 0 w 89"/>
                <a:gd name="T27" fmla="*/ 40821 h 49"/>
                <a:gd name="T28" fmla="*/ 0 w 89"/>
                <a:gd name="T29" fmla="*/ 48758 h 49"/>
                <a:gd name="T30" fmla="*/ 892 w 89"/>
                <a:gd name="T31" fmla="*/ 5556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29" name="Freeform 321">
              <a:extLst>
                <a:ext uri="{FF2B5EF4-FFF2-40B4-BE49-F238E27FC236}">
                  <a16:creationId xmlns:a16="http://schemas.microsoft.com/office/drawing/2014/main" id="{CC078BFC-1004-4EF9-89D4-96BDA9B92845}"/>
                </a:ext>
              </a:extLst>
            </p:cNvPr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9512515" y="4173267"/>
              <a:ext cx="47351" cy="63027"/>
            </a:xfrm>
            <a:custGeom>
              <a:avLst/>
              <a:gdLst>
                <a:gd name="T0" fmla="*/ 0 w 86"/>
                <a:gd name="T1" fmla="*/ 26815 h 46"/>
                <a:gd name="T2" fmla="*/ 5944 w 86"/>
                <a:gd name="T3" fmla="*/ 33199 h 46"/>
                <a:gd name="T4" fmla="*/ 10614 w 86"/>
                <a:gd name="T5" fmla="*/ 37030 h 46"/>
                <a:gd name="T6" fmla="*/ 12737 w 86"/>
                <a:gd name="T7" fmla="*/ 38307 h 46"/>
                <a:gd name="T8" fmla="*/ 15284 w 86"/>
                <a:gd name="T9" fmla="*/ 38307 h 46"/>
                <a:gd name="T10" fmla="*/ 17407 w 86"/>
                <a:gd name="T11" fmla="*/ 37030 h 46"/>
                <a:gd name="T12" fmla="*/ 19530 w 86"/>
                <a:gd name="T13" fmla="*/ 34476 h 46"/>
                <a:gd name="T14" fmla="*/ 19530 w 86"/>
                <a:gd name="T15" fmla="*/ 45968 h 46"/>
                <a:gd name="T16" fmla="*/ 19530 w 86"/>
                <a:gd name="T17" fmla="*/ 58737 h 46"/>
                <a:gd name="T18" fmla="*/ 23775 w 86"/>
                <a:gd name="T19" fmla="*/ 57460 h 46"/>
                <a:gd name="T20" fmla="*/ 28445 w 86"/>
                <a:gd name="T21" fmla="*/ 54906 h 46"/>
                <a:gd name="T22" fmla="*/ 32691 w 86"/>
                <a:gd name="T23" fmla="*/ 51076 h 46"/>
                <a:gd name="T24" fmla="*/ 36512 w 86"/>
                <a:gd name="T25" fmla="*/ 51076 h 46"/>
                <a:gd name="T26" fmla="*/ 35238 w 86"/>
                <a:gd name="T27" fmla="*/ 40861 h 46"/>
                <a:gd name="T28" fmla="*/ 33965 w 86"/>
                <a:gd name="T29" fmla="*/ 31922 h 46"/>
                <a:gd name="T30" fmla="*/ 31417 w 86"/>
                <a:gd name="T31" fmla="*/ 24261 h 46"/>
                <a:gd name="T32" fmla="*/ 29719 w 86"/>
                <a:gd name="T33" fmla="*/ 17876 h 46"/>
                <a:gd name="T34" fmla="*/ 27172 w 86"/>
                <a:gd name="T35" fmla="*/ 11492 h 46"/>
                <a:gd name="T36" fmla="*/ 24624 w 86"/>
                <a:gd name="T37" fmla="*/ 7661 h 46"/>
                <a:gd name="T38" fmla="*/ 21652 w 86"/>
                <a:gd name="T39" fmla="*/ 3831 h 46"/>
                <a:gd name="T40" fmla="*/ 19530 w 86"/>
                <a:gd name="T41" fmla="*/ 1277 h 46"/>
                <a:gd name="T42" fmla="*/ 16558 w 86"/>
                <a:gd name="T43" fmla="*/ 0 h 46"/>
                <a:gd name="T44" fmla="*/ 14010 w 86"/>
                <a:gd name="T45" fmla="*/ 0 h 46"/>
                <a:gd name="T46" fmla="*/ 11039 w 86"/>
                <a:gd name="T47" fmla="*/ 1277 h 46"/>
                <a:gd name="T48" fmla="*/ 8067 w 86"/>
                <a:gd name="T49" fmla="*/ 3831 h 46"/>
                <a:gd name="T50" fmla="*/ 5944 w 86"/>
                <a:gd name="T51" fmla="*/ 7661 h 46"/>
                <a:gd name="T52" fmla="*/ 3396 w 86"/>
                <a:gd name="T53" fmla="*/ 12769 h 46"/>
                <a:gd name="T54" fmla="*/ 1698 w 86"/>
                <a:gd name="T55" fmla="*/ 19153 h 46"/>
                <a:gd name="T56" fmla="*/ 0 w 86"/>
                <a:gd name="T57" fmla="*/ 26815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0" name="Freeform 322">
              <a:extLst>
                <a:ext uri="{FF2B5EF4-FFF2-40B4-BE49-F238E27FC236}">
                  <a16:creationId xmlns:a16="http://schemas.microsoft.com/office/drawing/2014/main" id="{1FA7F202-6D4E-4F2B-A735-FBC0FEBF9F5B}"/>
                </a:ext>
              </a:extLst>
            </p:cNvPr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9580454" y="4178377"/>
              <a:ext cx="32940" cy="59620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55563 h 18"/>
                <a:gd name="T4" fmla="*/ 16790 w 59"/>
                <a:gd name="T5" fmla="*/ 55563 h 18"/>
                <a:gd name="T6" fmla="*/ 25400 w 59"/>
                <a:gd name="T7" fmla="*/ 18521 h 18"/>
                <a:gd name="T8" fmla="*/ 21956 w 59"/>
                <a:gd name="T9" fmla="*/ 15434 h 18"/>
                <a:gd name="T10" fmla="*/ 19373 w 59"/>
                <a:gd name="T11" fmla="*/ 12347 h 18"/>
                <a:gd name="T12" fmla="*/ 15929 w 59"/>
                <a:gd name="T13" fmla="*/ 15434 h 18"/>
                <a:gd name="T14" fmla="*/ 12485 w 59"/>
                <a:gd name="T15" fmla="*/ 18521 h 18"/>
                <a:gd name="T16" fmla="*/ 9471 w 59"/>
                <a:gd name="T17" fmla="*/ 18521 h 18"/>
                <a:gd name="T18" fmla="*/ 6027 w 59"/>
                <a:gd name="T19" fmla="*/ 15434 h 18"/>
                <a:gd name="T20" fmla="*/ 3014 w 59"/>
                <a:gd name="T21" fmla="*/ 123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1" name="Freeform 323">
              <a:extLst>
                <a:ext uri="{FF2B5EF4-FFF2-40B4-BE49-F238E27FC236}">
                  <a16:creationId xmlns:a16="http://schemas.microsoft.com/office/drawing/2014/main" id="{2CB8691E-2A3B-4136-A524-2D46DB4B5FA2}"/>
                </a:ext>
              </a:extLst>
            </p:cNvPr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9675157" y="4169860"/>
              <a:ext cx="2059" cy="59620"/>
            </a:xfrm>
            <a:custGeom>
              <a:avLst/>
              <a:gdLst>
                <a:gd name="T0" fmla="*/ 1588 w 4"/>
                <a:gd name="T1" fmla="*/ 55562 h 19"/>
                <a:gd name="T2" fmla="*/ 1588 w 4"/>
                <a:gd name="T3" fmla="*/ 0 h 19"/>
                <a:gd name="T4" fmla="*/ 794 w 4"/>
                <a:gd name="T5" fmla="*/ 2924 h 19"/>
                <a:gd name="T6" fmla="*/ 397 w 4"/>
                <a:gd name="T7" fmla="*/ 8773 h 19"/>
                <a:gd name="T8" fmla="*/ 0 w 4"/>
                <a:gd name="T9" fmla="*/ 17546 h 19"/>
                <a:gd name="T10" fmla="*/ 0 w 4"/>
                <a:gd name="T11" fmla="*/ 29243 h 19"/>
                <a:gd name="T12" fmla="*/ 0 w 4"/>
                <a:gd name="T13" fmla="*/ 40940 h 19"/>
                <a:gd name="T14" fmla="*/ 397 w 4"/>
                <a:gd name="T15" fmla="*/ 46789 h 19"/>
                <a:gd name="T16" fmla="*/ 794 w 4"/>
                <a:gd name="T17" fmla="*/ 55562 h 19"/>
                <a:gd name="T18" fmla="*/ 1588 w 4"/>
                <a:gd name="T19" fmla="*/ 5556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2" name="Freeform 324">
              <a:extLst>
                <a:ext uri="{FF2B5EF4-FFF2-40B4-BE49-F238E27FC236}">
                  <a16:creationId xmlns:a16="http://schemas.microsoft.com/office/drawing/2014/main" id="{43908605-520F-4D3D-A3D8-8AC6115FFAC7}"/>
                </a:ext>
              </a:extLst>
            </p:cNvPr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9123409" y="3970559"/>
              <a:ext cx="26765" cy="63028"/>
            </a:xfrm>
            <a:custGeom>
              <a:avLst/>
              <a:gdLst>
                <a:gd name="T0" fmla="*/ 0 w 46"/>
                <a:gd name="T1" fmla="*/ 58738 h 50"/>
                <a:gd name="T2" fmla="*/ 3141 w 46"/>
                <a:gd name="T3" fmla="*/ 0 h 50"/>
                <a:gd name="T4" fmla="*/ 10319 w 46"/>
                <a:gd name="T5" fmla="*/ 9398 h 50"/>
                <a:gd name="T6" fmla="*/ 15254 w 46"/>
                <a:gd name="T7" fmla="*/ 16447 h 50"/>
                <a:gd name="T8" fmla="*/ 16600 w 46"/>
                <a:gd name="T9" fmla="*/ 21146 h 50"/>
                <a:gd name="T10" fmla="*/ 18395 w 46"/>
                <a:gd name="T11" fmla="*/ 25845 h 50"/>
                <a:gd name="T12" fmla="*/ 19741 w 46"/>
                <a:gd name="T13" fmla="*/ 35243 h 50"/>
                <a:gd name="T14" fmla="*/ 20638 w 46"/>
                <a:gd name="T15" fmla="*/ 44641 h 50"/>
                <a:gd name="T16" fmla="*/ 15254 w 46"/>
                <a:gd name="T17" fmla="*/ 49340 h 50"/>
                <a:gd name="T18" fmla="*/ 9422 w 46"/>
                <a:gd name="T19" fmla="*/ 54039 h 50"/>
                <a:gd name="T20" fmla="*/ 3589 w 46"/>
                <a:gd name="T21" fmla="*/ 57563 h 50"/>
                <a:gd name="T22" fmla="*/ 0 w 46"/>
                <a:gd name="T23" fmla="*/ 58738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3" name="Freeform 325">
              <a:extLst>
                <a:ext uri="{FF2B5EF4-FFF2-40B4-BE49-F238E27FC236}">
                  <a16:creationId xmlns:a16="http://schemas.microsoft.com/office/drawing/2014/main" id="{5E0580E2-652B-4102-BEF9-E0FB521E7B56}"/>
                </a:ext>
              </a:extLst>
            </p:cNvPr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9053411" y="3941601"/>
              <a:ext cx="39117" cy="63027"/>
            </a:xfrm>
            <a:custGeom>
              <a:avLst/>
              <a:gdLst>
                <a:gd name="T0" fmla="*/ 0 w 66"/>
                <a:gd name="T1" fmla="*/ 0 h 80"/>
                <a:gd name="T2" fmla="*/ 4570 w 66"/>
                <a:gd name="T3" fmla="*/ 0 h 80"/>
                <a:gd name="T4" fmla="*/ 8226 w 66"/>
                <a:gd name="T5" fmla="*/ 0 h 80"/>
                <a:gd name="T6" fmla="*/ 11882 w 66"/>
                <a:gd name="T7" fmla="*/ 0 h 80"/>
                <a:gd name="T8" fmla="*/ 15082 w 66"/>
                <a:gd name="T9" fmla="*/ 0 h 80"/>
                <a:gd name="T10" fmla="*/ 15082 w 66"/>
                <a:gd name="T11" fmla="*/ 5139 h 80"/>
                <a:gd name="T12" fmla="*/ 15539 w 66"/>
                <a:gd name="T13" fmla="*/ 10279 h 80"/>
                <a:gd name="T14" fmla="*/ 16453 w 66"/>
                <a:gd name="T15" fmla="*/ 15418 h 80"/>
                <a:gd name="T16" fmla="*/ 17367 w 66"/>
                <a:gd name="T17" fmla="*/ 19824 h 80"/>
                <a:gd name="T18" fmla="*/ 20109 w 66"/>
                <a:gd name="T19" fmla="*/ 26432 h 80"/>
                <a:gd name="T20" fmla="*/ 22394 w 66"/>
                <a:gd name="T21" fmla="*/ 33040 h 80"/>
                <a:gd name="T22" fmla="*/ 25593 w 66"/>
                <a:gd name="T23" fmla="*/ 38179 h 80"/>
                <a:gd name="T24" fmla="*/ 27878 w 66"/>
                <a:gd name="T25" fmla="*/ 44053 h 80"/>
                <a:gd name="T26" fmla="*/ 28335 w 66"/>
                <a:gd name="T27" fmla="*/ 47724 h 80"/>
                <a:gd name="T28" fmla="*/ 29706 w 66"/>
                <a:gd name="T29" fmla="*/ 50661 h 80"/>
                <a:gd name="T30" fmla="*/ 30163 w 66"/>
                <a:gd name="T31" fmla="*/ 55066 h 80"/>
                <a:gd name="T32" fmla="*/ 30163 w 66"/>
                <a:gd name="T33" fmla="*/ 58737 h 80"/>
                <a:gd name="T34" fmla="*/ 0 w 66"/>
                <a:gd name="T35" fmla="*/ 13216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4" name="Freeform 326">
              <a:extLst>
                <a:ext uri="{FF2B5EF4-FFF2-40B4-BE49-F238E27FC236}">
                  <a16:creationId xmlns:a16="http://schemas.microsoft.com/office/drawing/2014/main" id="{73C9A01C-1E9A-4FF2-A2D0-402BAA27981D}"/>
                </a:ext>
              </a:extLst>
            </p:cNvPr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8839299" y="3924567"/>
              <a:ext cx="10294" cy="61324"/>
            </a:xfrm>
            <a:custGeom>
              <a:avLst/>
              <a:gdLst>
                <a:gd name="T0" fmla="*/ 7938 w 20"/>
                <a:gd name="T1" fmla="*/ 57150 h 48"/>
                <a:gd name="T2" fmla="*/ 7938 w 20"/>
                <a:gd name="T3" fmla="*/ 46434 h 48"/>
                <a:gd name="T4" fmla="*/ 7541 w 20"/>
                <a:gd name="T5" fmla="*/ 38100 h 48"/>
                <a:gd name="T6" fmla="*/ 6350 w 20"/>
                <a:gd name="T7" fmla="*/ 29766 h 48"/>
                <a:gd name="T8" fmla="*/ 5557 w 20"/>
                <a:gd name="T9" fmla="*/ 22622 h 48"/>
                <a:gd name="T10" fmla="*/ 4763 w 20"/>
                <a:gd name="T11" fmla="*/ 16669 h 48"/>
                <a:gd name="T12" fmla="*/ 3572 w 20"/>
                <a:gd name="T13" fmla="*/ 10716 h 48"/>
                <a:gd name="T14" fmla="*/ 1588 w 20"/>
                <a:gd name="T15" fmla="*/ 4763 h 48"/>
                <a:gd name="T16" fmla="*/ 0 w 20"/>
                <a:gd name="T17" fmla="*/ 0 h 48"/>
                <a:gd name="T18" fmla="*/ 0 w 20"/>
                <a:gd name="T19" fmla="*/ 9525 h 48"/>
                <a:gd name="T20" fmla="*/ 794 w 20"/>
                <a:gd name="T21" fmla="*/ 20241 h 48"/>
                <a:gd name="T22" fmla="*/ 1588 w 20"/>
                <a:gd name="T23" fmla="*/ 28575 h 48"/>
                <a:gd name="T24" fmla="*/ 3175 w 20"/>
                <a:gd name="T25" fmla="*/ 36909 h 48"/>
                <a:gd name="T26" fmla="*/ 5557 w 20"/>
                <a:gd name="T27" fmla="*/ 48816 h 48"/>
                <a:gd name="T28" fmla="*/ 7938 w 20"/>
                <a:gd name="T29" fmla="*/ 57150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5" name="Line 327" descr="Horizontal dunkel">
              <a:extLst>
                <a:ext uri="{FF2B5EF4-FFF2-40B4-BE49-F238E27FC236}">
                  <a16:creationId xmlns:a16="http://schemas.microsoft.com/office/drawing/2014/main" id="{9FF490F4-2A53-4375-BFEB-8ECCA0895689}"/>
                </a:ext>
              </a:extLst>
            </p:cNvPr>
            <p:cNvSpPr>
              <a:spLocks noChangeShapeType="1"/>
            </p:cNvSpPr>
            <p:nvPr>
              <p:custDataLst>
                <p:tags r:id="rId229"/>
              </p:custDataLst>
            </p:nvPr>
          </p:nvSpPr>
          <p:spPr bwMode="auto">
            <a:xfrm>
              <a:off x="8872239" y="3963744"/>
              <a:ext cx="6177" cy="681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6" name="Freeform 328">
              <a:extLst>
                <a:ext uri="{FF2B5EF4-FFF2-40B4-BE49-F238E27FC236}">
                  <a16:creationId xmlns:a16="http://schemas.microsoft.com/office/drawing/2014/main" id="{8D0269EA-D746-4916-ACF2-96BB4098CDEA}"/>
                </a:ext>
              </a:extLst>
            </p:cNvPr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8868122" y="3963744"/>
              <a:ext cx="10294" cy="61324"/>
            </a:xfrm>
            <a:custGeom>
              <a:avLst/>
              <a:gdLst>
                <a:gd name="T0" fmla="*/ 7938 w 20"/>
                <a:gd name="T1" fmla="*/ 57150 h 12"/>
                <a:gd name="T2" fmla="*/ 7938 w 20"/>
                <a:gd name="T3" fmla="*/ 38100 h 12"/>
                <a:gd name="T4" fmla="*/ 7144 w 20"/>
                <a:gd name="T5" fmla="*/ 23813 h 12"/>
                <a:gd name="T6" fmla="*/ 5954 w 20"/>
                <a:gd name="T7" fmla="*/ 14288 h 12"/>
                <a:gd name="T8" fmla="*/ 5160 w 20"/>
                <a:gd name="T9" fmla="*/ 9525 h 12"/>
                <a:gd name="T10" fmla="*/ 277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7" name="Freeform 329">
              <a:extLst>
                <a:ext uri="{FF2B5EF4-FFF2-40B4-BE49-F238E27FC236}">
                  <a16:creationId xmlns:a16="http://schemas.microsoft.com/office/drawing/2014/main" id="{31E86EE6-9C31-42E0-853A-2E8DC2AC499B}"/>
                </a:ext>
              </a:extLst>
            </p:cNvPr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8740478" y="3796809"/>
              <a:ext cx="28823" cy="61324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8" name="Freeform 330">
              <a:extLst>
                <a:ext uri="{FF2B5EF4-FFF2-40B4-BE49-F238E27FC236}">
                  <a16:creationId xmlns:a16="http://schemas.microsoft.com/office/drawing/2014/main" id="{288B6B7A-0087-406A-9F97-D2DF36750E86}"/>
                </a:ext>
              </a:extLst>
            </p:cNvPr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9426047" y="4186894"/>
              <a:ext cx="14411" cy="61324"/>
            </a:xfrm>
            <a:custGeom>
              <a:avLst/>
              <a:gdLst>
                <a:gd name="T0" fmla="*/ 0 w 33"/>
                <a:gd name="T1" fmla="*/ 11061 h 31"/>
                <a:gd name="T2" fmla="*/ 1347 w 33"/>
                <a:gd name="T3" fmla="*/ 38715 h 31"/>
                <a:gd name="T4" fmla="*/ 2357 w 33"/>
                <a:gd name="T5" fmla="*/ 57150 h 31"/>
                <a:gd name="T6" fmla="*/ 7408 w 33"/>
                <a:gd name="T7" fmla="*/ 57150 h 31"/>
                <a:gd name="T8" fmla="*/ 11112 w 33"/>
                <a:gd name="T9" fmla="*/ 57150 h 31"/>
                <a:gd name="T10" fmla="*/ 11112 w 33"/>
                <a:gd name="T11" fmla="*/ 0 h 31"/>
                <a:gd name="T12" fmla="*/ 9092 w 33"/>
                <a:gd name="T13" fmla="*/ 0 h 31"/>
                <a:gd name="T14" fmla="*/ 6398 w 33"/>
                <a:gd name="T15" fmla="*/ 0 h 31"/>
                <a:gd name="T16" fmla="*/ 3367 w 33"/>
                <a:gd name="T17" fmla="*/ 0 h 31"/>
                <a:gd name="T18" fmla="*/ 0 w 33"/>
                <a:gd name="T19" fmla="*/ 0 h 31"/>
                <a:gd name="T20" fmla="*/ 0 w 33"/>
                <a:gd name="T21" fmla="*/ 1106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9" name="Freeform 331">
              <a:extLst>
                <a:ext uri="{FF2B5EF4-FFF2-40B4-BE49-F238E27FC236}">
                  <a16:creationId xmlns:a16="http://schemas.microsoft.com/office/drawing/2014/main" id="{3B711A10-6BA9-49B3-B0BB-355F39260C0B}"/>
                </a:ext>
              </a:extLst>
            </p:cNvPr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10095145" y="4140901"/>
              <a:ext cx="37058" cy="59620"/>
            </a:xfrm>
            <a:custGeom>
              <a:avLst/>
              <a:gdLst>
                <a:gd name="T0" fmla="*/ 8353 w 65"/>
                <a:gd name="T1" fmla="*/ 55563 h 68"/>
                <a:gd name="T2" fmla="*/ 7034 w 65"/>
                <a:gd name="T3" fmla="*/ 55563 h 68"/>
                <a:gd name="T4" fmla="*/ 6155 w 65"/>
                <a:gd name="T5" fmla="*/ 53929 h 68"/>
                <a:gd name="T6" fmla="*/ 4836 w 65"/>
                <a:gd name="T7" fmla="*/ 52295 h 68"/>
                <a:gd name="T8" fmla="*/ 3077 w 65"/>
                <a:gd name="T9" fmla="*/ 49843 h 68"/>
                <a:gd name="T10" fmla="*/ 1758 w 65"/>
                <a:gd name="T11" fmla="*/ 48209 h 68"/>
                <a:gd name="T12" fmla="*/ 879 w 65"/>
                <a:gd name="T13" fmla="*/ 44941 h 68"/>
                <a:gd name="T14" fmla="*/ 0 w 65"/>
                <a:gd name="T15" fmla="*/ 42489 h 68"/>
                <a:gd name="T16" fmla="*/ 0 w 65"/>
                <a:gd name="T17" fmla="*/ 40038 h 68"/>
                <a:gd name="T18" fmla="*/ 0 w 65"/>
                <a:gd name="T19" fmla="*/ 31050 h 68"/>
                <a:gd name="T20" fmla="*/ 879 w 65"/>
                <a:gd name="T21" fmla="*/ 23696 h 68"/>
                <a:gd name="T22" fmla="*/ 2198 w 65"/>
                <a:gd name="T23" fmla="*/ 17159 h 68"/>
                <a:gd name="T24" fmla="*/ 3957 w 65"/>
                <a:gd name="T25" fmla="*/ 11439 h 68"/>
                <a:gd name="T26" fmla="*/ 6594 w 65"/>
                <a:gd name="T27" fmla="*/ 6537 h 68"/>
                <a:gd name="T28" fmla="*/ 9672 w 65"/>
                <a:gd name="T29" fmla="*/ 3268 h 68"/>
                <a:gd name="T30" fmla="*/ 13188 w 65"/>
                <a:gd name="T31" fmla="*/ 1634 h 68"/>
                <a:gd name="T32" fmla="*/ 17145 w 65"/>
                <a:gd name="T33" fmla="*/ 0 h 68"/>
                <a:gd name="T34" fmla="*/ 22860 w 65"/>
                <a:gd name="T35" fmla="*/ 0 h 68"/>
                <a:gd name="T36" fmla="*/ 28575 w 65"/>
                <a:gd name="T37" fmla="*/ 0 h 68"/>
                <a:gd name="T38" fmla="*/ 28575 w 65"/>
                <a:gd name="T39" fmla="*/ 35135 h 68"/>
                <a:gd name="T40" fmla="*/ 24618 w 65"/>
                <a:gd name="T41" fmla="*/ 42489 h 68"/>
                <a:gd name="T42" fmla="*/ 19783 w 65"/>
                <a:gd name="T43" fmla="*/ 49843 h 68"/>
                <a:gd name="T44" fmla="*/ 17145 w 65"/>
                <a:gd name="T45" fmla="*/ 52295 h 68"/>
                <a:gd name="T46" fmla="*/ 14947 w 65"/>
                <a:gd name="T47" fmla="*/ 53929 h 68"/>
                <a:gd name="T48" fmla="*/ 11870 w 65"/>
                <a:gd name="T49" fmla="*/ 55563 h 68"/>
                <a:gd name="T50" fmla="*/ 8353 w 65"/>
                <a:gd name="T51" fmla="*/ 55563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0" name="Freeform 332">
              <a:extLst>
                <a:ext uri="{FF2B5EF4-FFF2-40B4-BE49-F238E27FC236}">
                  <a16:creationId xmlns:a16="http://schemas.microsoft.com/office/drawing/2014/main" id="{A7144883-9CC9-4F5B-8E5C-CE7FF8A2D0B7}"/>
                </a:ext>
              </a:extLst>
            </p:cNvPr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8717832" y="3692901"/>
              <a:ext cx="356166" cy="395195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1" name="Freeform 333">
              <a:extLst>
                <a:ext uri="{FF2B5EF4-FFF2-40B4-BE49-F238E27FC236}">
                  <a16:creationId xmlns:a16="http://schemas.microsoft.com/office/drawing/2014/main" id="{90FCE2C3-1208-4F17-A659-649CDCAAFB61}"/>
                </a:ext>
              </a:extLst>
            </p:cNvPr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9160467" y="3745706"/>
              <a:ext cx="329403" cy="275955"/>
            </a:xfrm>
            <a:custGeom>
              <a:avLst/>
              <a:gdLst>
                <a:gd name="T0" fmla="*/ 224041 w 585"/>
                <a:gd name="T1" fmla="*/ 14606 h 493"/>
                <a:gd name="T2" fmla="*/ 214923 w 585"/>
                <a:gd name="T3" fmla="*/ 28691 h 493"/>
                <a:gd name="T4" fmla="*/ 222304 w 585"/>
                <a:gd name="T5" fmla="*/ 48514 h 493"/>
                <a:gd name="T6" fmla="*/ 231856 w 585"/>
                <a:gd name="T7" fmla="*/ 67815 h 493"/>
                <a:gd name="T8" fmla="*/ 248790 w 585"/>
                <a:gd name="T9" fmla="*/ 92333 h 493"/>
                <a:gd name="T10" fmla="*/ 251829 w 585"/>
                <a:gd name="T11" fmla="*/ 106939 h 493"/>
                <a:gd name="T12" fmla="*/ 237501 w 585"/>
                <a:gd name="T13" fmla="*/ 106417 h 493"/>
                <a:gd name="T14" fmla="*/ 224041 w 585"/>
                <a:gd name="T15" fmla="*/ 121545 h 493"/>
                <a:gd name="T16" fmla="*/ 219699 w 585"/>
                <a:gd name="T17" fmla="*/ 128327 h 493"/>
                <a:gd name="T18" fmla="*/ 224909 w 585"/>
                <a:gd name="T19" fmla="*/ 141368 h 493"/>
                <a:gd name="T20" fmla="*/ 227949 w 585"/>
                <a:gd name="T21" fmla="*/ 153366 h 493"/>
                <a:gd name="T22" fmla="*/ 219265 w 585"/>
                <a:gd name="T23" fmla="*/ 160669 h 493"/>
                <a:gd name="T24" fmla="*/ 199292 w 585"/>
                <a:gd name="T25" fmla="*/ 168494 h 493"/>
                <a:gd name="T26" fmla="*/ 192345 w 585"/>
                <a:gd name="T27" fmla="*/ 184665 h 493"/>
                <a:gd name="T28" fmla="*/ 193214 w 585"/>
                <a:gd name="T29" fmla="*/ 216486 h 493"/>
                <a:gd name="T30" fmla="*/ 186701 w 585"/>
                <a:gd name="T31" fmla="*/ 236831 h 493"/>
                <a:gd name="T32" fmla="*/ 173675 w 585"/>
                <a:gd name="T33" fmla="*/ 246220 h 493"/>
                <a:gd name="T34" fmla="*/ 160650 w 585"/>
                <a:gd name="T35" fmla="*/ 254567 h 493"/>
                <a:gd name="T36" fmla="*/ 148058 w 585"/>
                <a:gd name="T37" fmla="*/ 257175 h 493"/>
                <a:gd name="T38" fmla="*/ 142848 w 585"/>
                <a:gd name="T39" fmla="*/ 254045 h 493"/>
                <a:gd name="T40" fmla="*/ 141979 w 585"/>
                <a:gd name="T41" fmla="*/ 245699 h 493"/>
                <a:gd name="T42" fmla="*/ 131993 w 585"/>
                <a:gd name="T43" fmla="*/ 235266 h 493"/>
                <a:gd name="T44" fmla="*/ 108981 w 585"/>
                <a:gd name="T45" fmla="*/ 236831 h 493"/>
                <a:gd name="T46" fmla="*/ 95087 w 585"/>
                <a:gd name="T47" fmla="*/ 241004 h 493"/>
                <a:gd name="T48" fmla="*/ 76417 w 585"/>
                <a:gd name="T49" fmla="*/ 229527 h 493"/>
                <a:gd name="T50" fmla="*/ 52971 w 585"/>
                <a:gd name="T51" fmla="*/ 227441 h 493"/>
                <a:gd name="T52" fmla="*/ 41248 w 585"/>
                <a:gd name="T53" fmla="*/ 223789 h 493"/>
                <a:gd name="T54" fmla="*/ 35169 w 585"/>
                <a:gd name="T55" fmla="*/ 190925 h 493"/>
                <a:gd name="T56" fmla="*/ 25183 w 585"/>
                <a:gd name="T57" fmla="*/ 161712 h 493"/>
                <a:gd name="T58" fmla="*/ 15197 w 585"/>
                <a:gd name="T59" fmla="*/ 152323 h 493"/>
                <a:gd name="T60" fmla="*/ 5210 w 585"/>
                <a:gd name="T61" fmla="*/ 135630 h 493"/>
                <a:gd name="T62" fmla="*/ 2171 w 585"/>
                <a:gd name="T63" fmla="*/ 106417 h 493"/>
                <a:gd name="T64" fmla="*/ 13460 w 585"/>
                <a:gd name="T65" fmla="*/ 79813 h 493"/>
                <a:gd name="T66" fmla="*/ 23446 w 585"/>
                <a:gd name="T67" fmla="*/ 73553 h 493"/>
                <a:gd name="T68" fmla="*/ 32564 w 585"/>
                <a:gd name="T69" fmla="*/ 79291 h 493"/>
                <a:gd name="T70" fmla="*/ 42116 w 585"/>
                <a:gd name="T71" fmla="*/ 97549 h 493"/>
                <a:gd name="T72" fmla="*/ 56010 w 585"/>
                <a:gd name="T73" fmla="*/ 111634 h 493"/>
                <a:gd name="T74" fmla="*/ 73812 w 585"/>
                <a:gd name="T75" fmla="*/ 111112 h 493"/>
                <a:gd name="T76" fmla="*/ 95956 w 585"/>
                <a:gd name="T77" fmla="*/ 98592 h 493"/>
                <a:gd name="T78" fmla="*/ 101166 w 585"/>
                <a:gd name="T79" fmla="*/ 89724 h 493"/>
                <a:gd name="T80" fmla="*/ 125046 w 585"/>
                <a:gd name="T81" fmla="*/ 92854 h 493"/>
                <a:gd name="T82" fmla="*/ 141545 w 585"/>
                <a:gd name="T83" fmla="*/ 94419 h 493"/>
                <a:gd name="T84" fmla="*/ 146321 w 585"/>
                <a:gd name="T85" fmla="*/ 88681 h 493"/>
                <a:gd name="T86" fmla="*/ 157176 w 585"/>
                <a:gd name="T87" fmla="*/ 82421 h 493"/>
                <a:gd name="T88" fmla="*/ 166294 w 585"/>
                <a:gd name="T89" fmla="*/ 70945 h 493"/>
                <a:gd name="T90" fmla="*/ 180188 w 585"/>
                <a:gd name="T91" fmla="*/ 41211 h 493"/>
                <a:gd name="T92" fmla="*/ 185398 w 585"/>
                <a:gd name="T93" fmla="*/ 13041 h 493"/>
                <a:gd name="T94" fmla="*/ 194082 w 585"/>
                <a:gd name="T95" fmla="*/ 3130 h 493"/>
                <a:gd name="T96" fmla="*/ 207976 w 585"/>
                <a:gd name="T97" fmla="*/ 1043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2" name="Freeform 334">
              <a:extLst>
                <a:ext uri="{FF2B5EF4-FFF2-40B4-BE49-F238E27FC236}">
                  <a16:creationId xmlns:a16="http://schemas.microsoft.com/office/drawing/2014/main" id="{E6F8C5FA-47DD-4A02-BF8E-21C8517271EE}"/>
                </a:ext>
              </a:extLst>
            </p:cNvPr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9621629" y="4181784"/>
              <a:ext cx="119408" cy="61324"/>
            </a:xfrm>
            <a:custGeom>
              <a:avLst/>
              <a:gdLst>
                <a:gd name="T0" fmla="*/ 0 w 212"/>
                <a:gd name="T1" fmla="*/ 57150 h 105"/>
                <a:gd name="T2" fmla="*/ 6949 w 212"/>
                <a:gd name="T3" fmla="*/ 46264 h 105"/>
                <a:gd name="T4" fmla="*/ 15201 w 212"/>
                <a:gd name="T5" fmla="*/ 37011 h 105"/>
                <a:gd name="T6" fmla="*/ 19110 w 212"/>
                <a:gd name="T7" fmla="*/ 32657 h 105"/>
                <a:gd name="T8" fmla="*/ 23453 w 212"/>
                <a:gd name="T9" fmla="*/ 28847 h 105"/>
                <a:gd name="T10" fmla="*/ 27796 w 212"/>
                <a:gd name="T11" fmla="*/ 25037 h 105"/>
                <a:gd name="T12" fmla="*/ 31705 w 212"/>
                <a:gd name="T13" fmla="*/ 20683 h 105"/>
                <a:gd name="T14" fmla="*/ 36048 w 212"/>
                <a:gd name="T15" fmla="*/ 17417 h 105"/>
                <a:gd name="T16" fmla="*/ 40826 w 212"/>
                <a:gd name="T17" fmla="*/ 14696 h 105"/>
                <a:gd name="T18" fmla="*/ 46038 w 212"/>
                <a:gd name="T19" fmla="*/ 11430 h 105"/>
                <a:gd name="T20" fmla="*/ 51249 w 212"/>
                <a:gd name="T21" fmla="*/ 8709 h 105"/>
                <a:gd name="T22" fmla="*/ 62542 w 212"/>
                <a:gd name="T23" fmla="*/ 4354 h 105"/>
                <a:gd name="T24" fmla="*/ 74702 w 212"/>
                <a:gd name="T25" fmla="*/ 0 h 105"/>
                <a:gd name="T26" fmla="*/ 92075 w 212"/>
                <a:gd name="T27" fmla="*/ 0 h 105"/>
                <a:gd name="T28" fmla="*/ 87732 w 212"/>
                <a:gd name="T29" fmla="*/ 4899 h 105"/>
                <a:gd name="T30" fmla="*/ 82520 w 212"/>
                <a:gd name="T31" fmla="*/ 9797 h 105"/>
                <a:gd name="T32" fmla="*/ 77308 w 212"/>
                <a:gd name="T33" fmla="*/ 14696 h 105"/>
                <a:gd name="T34" fmla="*/ 71662 w 212"/>
                <a:gd name="T35" fmla="*/ 19050 h 105"/>
                <a:gd name="T36" fmla="*/ 59501 w 212"/>
                <a:gd name="T37" fmla="*/ 28303 h 105"/>
                <a:gd name="T38" fmla="*/ 47340 w 212"/>
                <a:gd name="T39" fmla="*/ 35923 h 105"/>
                <a:gd name="T40" fmla="*/ 34311 w 212"/>
                <a:gd name="T41" fmla="*/ 42999 h 105"/>
                <a:gd name="T42" fmla="*/ 21716 w 212"/>
                <a:gd name="T43" fmla="*/ 48986 h 105"/>
                <a:gd name="T44" fmla="*/ 9989 w 212"/>
                <a:gd name="T45" fmla="*/ 53884 h 105"/>
                <a:gd name="T46" fmla="*/ 0 w 212"/>
                <a:gd name="T47" fmla="*/ 5715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3" name="Freeform 335">
              <a:extLst>
                <a:ext uri="{FF2B5EF4-FFF2-40B4-BE49-F238E27FC236}">
                  <a16:creationId xmlns:a16="http://schemas.microsoft.com/office/drawing/2014/main" id="{5D4D3D8B-62C9-43E9-9E1D-1CDF0ABD41A6}"/>
                </a:ext>
              </a:extLst>
            </p:cNvPr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9771920" y="3824064"/>
              <a:ext cx="55586" cy="95392"/>
            </a:xfrm>
            <a:custGeom>
              <a:avLst/>
              <a:gdLst>
                <a:gd name="T0" fmla="*/ 0 w 92"/>
                <a:gd name="T1" fmla="*/ 43379 h 166"/>
                <a:gd name="T2" fmla="*/ 0 w 92"/>
                <a:gd name="T3" fmla="*/ 79260 h 166"/>
                <a:gd name="T4" fmla="*/ 2329 w 92"/>
                <a:gd name="T5" fmla="*/ 77118 h 166"/>
                <a:gd name="T6" fmla="*/ 5591 w 92"/>
                <a:gd name="T7" fmla="*/ 74440 h 166"/>
                <a:gd name="T8" fmla="*/ 6522 w 92"/>
                <a:gd name="T9" fmla="*/ 73369 h 166"/>
                <a:gd name="T10" fmla="*/ 7920 w 92"/>
                <a:gd name="T11" fmla="*/ 72298 h 166"/>
                <a:gd name="T12" fmla="*/ 8386 w 92"/>
                <a:gd name="T13" fmla="*/ 70692 h 166"/>
                <a:gd name="T14" fmla="*/ 8852 w 92"/>
                <a:gd name="T15" fmla="*/ 69620 h 166"/>
                <a:gd name="T16" fmla="*/ 9318 w 92"/>
                <a:gd name="T17" fmla="*/ 73905 h 166"/>
                <a:gd name="T18" fmla="*/ 11181 w 92"/>
                <a:gd name="T19" fmla="*/ 79260 h 166"/>
                <a:gd name="T20" fmla="*/ 12579 w 92"/>
                <a:gd name="T21" fmla="*/ 82473 h 166"/>
                <a:gd name="T22" fmla="*/ 13977 w 92"/>
                <a:gd name="T23" fmla="*/ 85151 h 166"/>
                <a:gd name="T24" fmla="*/ 16306 w 92"/>
                <a:gd name="T25" fmla="*/ 87293 h 166"/>
                <a:gd name="T26" fmla="*/ 18170 w 92"/>
                <a:gd name="T27" fmla="*/ 88900 h 166"/>
                <a:gd name="T28" fmla="*/ 19102 w 92"/>
                <a:gd name="T29" fmla="*/ 84616 h 166"/>
                <a:gd name="T30" fmla="*/ 19102 w 92"/>
                <a:gd name="T31" fmla="*/ 79260 h 166"/>
                <a:gd name="T32" fmla="*/ 19102 w 92"/>
                <a:gd name="T33" fmla="*/ 73369 h 166"/>
                <a:gd name="T34" fmla="*/ 19102 w 92"/>
                <a:gd name="T35" fmla="*/ 67478 h 166"/>
                <a:gd name="T36" fmla="*/ 18636 w 92"/>
                <a:gd name="T37" fmla="*/ 57303 h 166"/>
                <a:gd name="T38" fmla="*/ 18170 w 92"/>
                <a:gd name="T39" fmla="*/ 53019 h 166"/>
                <a:gd name="T40" fmla="*/ 22363 w 92"/>
                <a:gd name="T41" fmla="*/ 53554 h 166"/>
                <a:gd name="T42" fmla="*/ 26556 w 92"/>
                <a:gd name="T43" fmla="*/ 54625 h 166"/>
                <a:gd name="T44" fmla="*/ 29817 w 92"/>
                <a:gd name="T45" fmla="*/ 56232 h 166"/>
                <a:gd name="T46" fmla="*/ 33078 w 92"/>
                <a:gd name="T47" fmla="*/ 57839 h 166"/>
                <a:gd name="T48" fmla="*/ 35408 w 92"/>
                <a:gd name="T49" fmla="*/ 59445 h 166"/>
                <a:gd name="T50" fmla="*/ 38203 w 92"/>
                <a:gd name="T51" fmla="*/ 61052 h 166"/>
                <a:gd name="T52" fmla="*/ 40533 w 92"/>
                <a:gd name="T53" fmla="*/ 62123 h 166"/>
                <a:gd name="T54" fmla="*/ 42862 w 92"/>
                <a:gd name="T55" fmla="*/ 63194 h 166"/>
                <a:gd name="T56" fmla="*/ 39601 w 92"/>
                <a:gd name="T57" fmla="*/ 55161 h 166"/>
                <a:gd name="T58" fmla="*/ 37737 w 92"/>
                <a:gd name="T59" fmla="*/ 47663 h 166"/>
                <a:gd name="T60" fmla="*/ 35408 w 92"/>
                <a:gd name="T61" fmla="*/ 40166 h 166"/>
                <a:gd name="T62" fmla="*/ 34010 w 92"/>
                <a:gd name="T63" fmla="*/ 32133 h 166"/>
                <a:gd name="T64" fmla="*/ 32612 w 92"/>
                <a:gd name="T65" fmla="*/ 25170 h 166"/>
                <a:gd name="T66" fmla="*/ 31215 w 92"/>
                <a:gd name="T67" fmla="*/ 18208 h 166"/>
                <a:gd name="T68" fmla="*/ 29351 w 92"/>
                <a:gd name="T69" fmla="*/ 12317 h 166"/>
                <a:gd name="T70" fmla="*/ 27488 w 92"/>
                <a:gd name="T71" fmla="*/ 6962 h 166"/>
                <a:gd name="T72" fmla="*/ 27488 w 92"/>
                <a:gd name="T73" fmla="*/ 10175 h 166"/>
                <a:gd name="T74" fmla="*/ 27488 w 92"/>
                <a:gd name="T75" fmla="*/ 13389 h 166"/>
                <a:gd name="T76" fmla="*/ 23295 w 92"/>
                <a:gd name="T77" fmla="*/ 12317 h 166"/>
                <a:gd name="T78" fmla="*/ 19567 w 92"/>
                <a:gd name="T79" fmla="*/ 10175 h 166"/>
                <a:gd name="T80" fmla="*/ 16306 w 92"/>
                <a:gd name="T81" fmla="*/ 8033 h 166"/>
                <a:gd name="T82" fmla="*/ 13511 w 92"/>
                <a:gd name="T83" fmla="*/ 5891 h 166"/>
                <a:gd name="T84" fmla="*/ 10716 w 92"/>
                <a:gd name="T85" fmla="*/ 3749 h 166"/>
                <a:gd name="T86" fmla="*/ 7454 w 92"/>
                <a:gd name="T87" fmla="*/ 1607 h 166"/>
                <a:gd name="T88" fmla="*/ 3727 w 92"/>
                <a:gd name="T89" fmla="*/ 536 h 166"/>
                <a:gd name="T90" fmla="*/ 0 w 92"/>
                <a:gd name="T91" fmla="*/ 0 h 166"/>
                <a:gd name="T92" fmla="*/ 0 w 92"/>
                <a:gd name="T93" fmla="*/ 5355 h 166"/>
                <a:gd name="T94" fmla="*/ 0 w 92"/>
                <a:gd name="T95" fmla="*/ 10175 h 166"/>
                <a:gd name="T96" fmla="*/ 0 w 92"/>
                <a:gd name="T97" fmla="*/ 17673 h 166"/>
                <a:gd name="T98" fmla="*/ 0 w 92"/>
                <a:gd name="T99" fmla="*/ 27848 h 166"/>
                <a:gd name="T100" fmla="*/ 0 w 92"/>
                <a:gd name="T101" fmla="*/ 37488 h 166"/>
                <a:gd name="T102" fmla="*/ 0 w 92"/>
                <a:gd name="T103" fmla="*/ 43379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4" name="Freeform 336">
              <a:extLst>
                <a:ext uri="{FF2B5EF4-FFF2-40B4-BE49-F238E27FC236}">
                  <a16:creationId xmlns:a16="http://schemas.microsoft.com/office/drawing/2014/main" id="{7B9A8CA8-C18C-4034-83AC-993B219C6E71}"/>
                </a:ext>
              </a:extLst>
            </p:cNvPr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9788390" y="3979077"/>
              <a:ext cx="92644" cy="59620"/>
            </a:xfrm>
            <a:custGeom>
              <a:avLst/>
              <a:gdLst>
                <a:gd name="T0" fmla="*/ 3012 w 166"/>
                <a:gd name="T1" fmla="*/ 0 h 62"/>
                <a:gd name="T2" fmla="*/ 6025 w 166"/>
                <a:gd name="T3" fmla="*/ 2688 h 62"/>
                <a:gd name="T4" fmla="*/ 9468 w 166"/>
                <a:gd name="T5" fmla="*/ 5377 h 62"/>
                <a:gd name="T6" fmla="*/ 12910 w 166"/>
                <a:gd name="T7" fmla="*/ 6273 h 62"/>
                <a:gd name="T8" fmla="*/ 15492 w 166"/>
                <a:gd name="T9" fmla="*/ 7169 h 62"/>
                <a:gd name="T10" fmla="*/ 20656 w 166"/>
                <a:gd name="T11" fmla="*/ 7169 h 62"/>
                <a:gd name="T12" fmla="*/ 24960 w 166"/>
                <a:gd name="T13" fmla="*/ 6273 h 62"/>
                <a:gd name="T14" fmla="*/ 29694 w 166"/>
                <a:gd name="T15" fmla="*/ 4481 h 62"/>
                <a:gd name="T16" fmla="*/ 34427 w 166"/>
                <a:gd name="T17" fmla="*/ 2688 h 62"/>
                <a:gd name="T18" fmla="*/ 39592 w 166"/>
                <a:gd name="T19" fmla="*/ 896 h 62"/>
                <a:gd name="T20" fmla="*/ 45616 w 166"/>
                <a:gd name="T21" fmla="*/ 0 h 62"/>
                <a:gd name="T22" fmla="*/ 47768 w 166"/>
                <a:gd name="T23" fmla="*/ 896 h 62"/>
                <a:gd name="T24" fmla="*/ 49489 w 166"/>
                <a:gd name="T25" fmla="*/ 1792 h 62"/>
                <a:gd name="T26" fmla="*/ 51641 w 166"/>
                <a:gd name="T27" fmla="*/ 4481 h 62"/>
                <a:gd name="T28" fmla="*/ 53363 w 166"/>
                <a:gd name="T29" fmla="*/ 7169 h 62"/>
                <a:gd name="T30" fmla="*/ 56805 w 166"/>
                <a:gd name="T31" fmla="*/ 15235 h 62"/>
                <a:gd name="T32" fmla="*/ 59387 w 166"/>
                <a:gd name="T33" fmla="*/ 23300 h 62"/>
                <a:gd name="T34" fmla="*/ 62400 w 166"/>
                <a:gd name="T35" fmla="*/ 32262 h 62"/>
                <a:gd name="T36" fmla="*/ 64982 w 166"/>
                <a:gd name="T37" fmla="*/ 40327 h 62"/>
                <a:gd name="T38" fmla="*/ 66703 w 166"/>
                <a:gd name="T39" fmla="*/ 43912 h 62"/>
                <a:gd name="T40" fmla="*/ 67994 w 166"/>
                <a:gd name="T41" fmla="*/ 46600 h 62"/>
                <a:gd name="T42" fmla="*/ 69716 w 166"/>
                <a:gd name="T43" fmla="*/ 48393 h 62"/>
                <a:gd name="T44" fmla="*/ 71437 w 166"/>
                <a:gd name="T45" fmla="*/ 50185 h 62"/>
                <a:gd name="T46" fmla="*/ 68425 w 166"/>
                <a:gd name="T47" fmla="*/ 51081 h 62"/>
                <a:gd name="T48" fmla="*/ 64982 w 166"/>
                <a:gd name="T49" fmla="*/ 52874 h 62"/>
                <a:gd name="T50" fmla="*/ 61539 w 166"/>
                <a:gd name="T51" fmla="*/ 54666 h 62"/>
                <a:gd name="T52" fmla="*/ 57236 w 166"/>
                <a:gd name="T53" fmla="*/ 55562 h 62"/>
                <a:gd name="T54" fmla="*/ 53793 w 166"/>
                <a:gd name="T55" fmla="*/ 54666 h 62"/>
                <a:gd name="T56" fmla="*/ 51211 w 166"/>
                <a:gd name="T57" fmla="*/ 51977 h 62"/>
                <a:gd name="T58" fmla="*/ 48198 w 166"/>
                <a:gd name="T59" fmla="*/ 48393 h 62"/>
                <a:gd name="T60" fmla="*/ 45616 w 166"/>
                <a:gd name="T61" fmla="*/ 44808 h 62"/>
                <a:gd name="T62" fmla="*/ 43034 w 166"/>
                <a:gd name="T63" fmla="*/ 40327 h 62"/>
                <a:gd name="T64" fmla="*/ 40022 w 166"/>
                <a:gd name="T65" fmla="*/ 36743 h 62"/>
                <a:gd name="T66" fmla="*/ 37440 w 166"/>
                <a:gd name="T67" fmla="*/ 34950 h 62"/>
                <a:gd name="T68" fmla="*/ 33997 w 166"/>
                <a:gd name="T69" fmla="*/ 34054 h 62"/>
                <a:gd name="T70" fmla="*/ 24099 w 166"/>
                <a:gd name="T71" fmla="*/ 34054 h 62"/>
                <a:gd name="T72" fmla="*/ 15062 w 166"/>
                <a:gd name="T73" fmla="*/ 34950 h 62"/>
                <a:gd name="T74" fmla="*/ 11189 w 166"/>
                <a:gd name="T75" fmla="*/ 36743 h 62"/>
                <a:gd name="T76" fmla="*/ 8177 w 166"/>
                <a:gd name="T77" fmla="*/ 38535 h 62"/>
                <a:gd name="T78" fmla="*/ 5164 w 166"/>
                <a:gd name="T79" fmla="*/ 41223 h 62"/>
                <a:gd name="T80" fmla="*/ 3012 w 166"/>
                <a:gd name="T81" fmla="*/ 44808 h 62"/>
                <a:gd name="T82" fmla="*/ 861 w 166"/>
                <a:gd name="T83" fmla="*/ 40327 h 62"/>
                <a:gd name="T84" fmla="*/ 430 w 166"/>
                <a:gd name="T85" fmla="*/ 35846 h 62"/>
                <a:gd name="T86" fmla="*/ 0 w 166"/>
                <a:gd name="T87" fmla="*/ 30469 h 62"/>
                <a:gd name="T88" fmla="*/ 430 w 166"/>
                <a:gd name="T89" fmla="*/ 25093 h 62"/>
                <a:gd name="T90" fmla="*/ 1721 w 166"/>
                <a:gd name="T91" fmla="*/ 13442 h 62"/>
                <a:gd name="T92" fmla="*/ 3012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5" name="Freeform 337">
              <a:extLst>
                <a:ext uri="{FF2B5EF4-FFF2-40B4-BE49-F238E27FC236}">
                  <a16:creationId xmlns:a16="http://schemas.microsoft.com/office/drawing/2014/main" id="{565AC1C8-0D44-4680-9211-42725AC1623B}"/>
                </a:ext>
              </a:extLst>
            </p:cNvPr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9887210" y="3897312"/>
              <a:ext cx="111173" cy="68137"/>
            </a:xfrm>
            <a:custGeom>
              <a:avLst/>
              <a:gdLst>
                <a:gd name="T0" fmla="*/ 14658 w 193"/>
                <a:gd name="T1" fmla="*/ 18368 h 121"/>
                <a:gd name="T2" fmla="*/ 21320 w 193"/>
                <a:gd name="T3" fmla="*/ 13120 h 121"/>
                <a:gd name="T4" fmla="*/ 30204 w 193"/>
                <a:gd name="T5" fmla="*/ 6298 h 121"/>
                <a:gd name="T6" fmla="*/ 37310 w 193"/>
                <a:gd name="T7" fmla="*/ 2099 h 121"/>
                <a:gd name="T8" fmla="*/ 41752 w 193"/>
                <a:gd name="T9" fmla="*/ 525 h 121"/>
                <a:gd name="T10" fmla="*/ 46638 w 193"/>
                <a:gd name="T11" fmla="*/ 525 h 121"/>
                <a:gd name="T12" fmla="*/ 51524 w 193"/>
                <a:gd name="T13" fmla="*/ 1574 h 121"/>
                <a:gd name="T14" fmla="*/ 58186 w 193"/>
                <a:gd name="T15" fmla="*/ 5248 h 121"/>
                <a:gd name="T16" fmla="*/ 65737 w 193"/>
                <a:gd name="T17" fmla="*/ 11021 h 121"/>
                <a:gd name="T18" fmla="*/ 71956 w 193"/>
                <a:gd name="T19" fmla="*/ 14694 h 121"/>
                <a:gd name="T20" fmla="*/ 76842 w 193"/>
                <a:gd name="T21" fmla="*/ 15744 h 121"/>
                <a:gd name="T22" fmla="*/ 79507 w 193"/>
                <a:gd name="T23" fmla="*/ 25190 h 121"/>
                <a:gd name="T24" fmla="*/ 79062 w 193"/>
                <a:gd name="T25" fmla="*/ 34636 h 121"/>
                <a:gd name="T26" fmla="*/ 80839 w 193"/>
                <a:gd name="T27" fmla="*/ 39360 h 121"/>
                <a:gd name="T28" fmla="*/ 83060 w 193"/>
                <a:gd name="T29" fmla="*/ 46707 h 121"/>
                <a:gd name="T30" fmla="*/ 83504 w 193"/>
                <a:gd name="T31" fmla="*/ 53529 h 121"/>
                <a:gd name="T32" fmla="*/ 84837 w 193"/>
                <a:gd name="T33" fmla="*/ 57202 h 121"/>
                <a:gd name="T34" fmla="*/ 83504 w 193"/>
                <a:gd name="T35" fmla="*/ 59826 h 121"/>
                <a:gd name="T36" fmla="*/ 78618 w 193"/>
                <a:gd name="T37" fmla="*/ 61926 h 121"/>
                <a:gd name="T38" fmla="*/ 70623 w 193"/>
                <a:gd name="T39" fmla="*/ 63500 h 121"/>
                <a:gd name="T40" fmla="*/ 51524 w 193"/>
                <a:gd name="T41" fmla="*/ 62450 h 121"/>
                <a:gd name="T42" fmla="*/ 31980 w 193"/>
                <a:gd name="T43" fmla="*/ 60876 h 121"/>
                <a:gd name="T44" fmla="*/ 27983 w 193"/>
                <a:gd name="T45" fmla="*/ 57727 h 121"/>
                <a:gd name="T46" fmla="*/ 24874 w 193"/>
                <a:gd name="T47" fmla="*/ 52479 h 121"/>
                <a:gd name="T48" fmla="*/ 23985 w 193"/>
                <a:gd name="T49" fmla="*/ 45657 h 121"/>
                <a:gd name="T50" fmla="*/ 20876 w 193"/>
                <a:gd name="T51" fmla="*/ 41459 h 121"/>
                <a:gd name="T52" fmla="*/ 13769 w 193"/>
                <a:gd name="T53" fmla="*/ 39360 h 121"/>
                <a:gd name="T54" fmla="*/ 5774 w 193"/>
                <a:gd name="T55" fmla="*/ 36211 h 121"/>
                <a:gd name="T56" fmla="*/ 1333 w 193"/>
                <a:gd name="T57" fmla="*/ 32537 h 121"/>
                <a:gd name="T58" fmla="*/ 0 w 193"/>
                <a:gd name="T59" fmla="*/ 30438 h 121"/>
                <a:gd name="T60" fmla="*/ 444 w 193"/>
                <a:gd name="T61" fmla="*/ 26764 h 121"/>
                <a:gd name="T62" fmla="*/ 3109 w 193"/>
                <a:gd name="T63" fmla="*/ 23616 h 121"/>
                <a:gd name="T64" fmla="*/ 8883 w 193"/>
                <a:gd name="T65" fmla="*/ 19942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6" name="Freeform 338">
              <a:extLst>
                <a:ext uri="{FF2B5EF4-FFF2-40B4-BE49-F238E27FC236}">
                  <a16:creationId xmlns:a16="http://schemas.microsoft.com/office/drawing/2014/main" id="{B26E676B-46EE-445D-A629-58CC32D1F2EF}"/>
                </a:ext>
              </a:extLst>
            </p:cNvPr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9483692" y="3830878"/>
              <a:ext cx="216170" cy="246997"/>
            </a:xfrm>
            <a:custGeom>
              <a:avLst/>
              <a:gdLst>
                <a:gd name="T0" fmla="*/ 16273 w 379"/>
                <a:gd name="T1" fmla="*/ 220707 h 437"/>
                <a:gd name="T2" fmla="*/ 20231 w 379"/>
                <a:gd name="T3" fmla="*/ 214386 h 437"/>
                <a:gd name="T4" fmla="*/ 10555 w 379"/>
                <a:gd name="T5" fmla="*/ 163818 h 437"/>
                <a:gd name="T6" fmla="*/ 880 w 379"/>
                <a:gd name="T7" fmla="*/ 154863 h 437"/>
                <a:gd name="T8" fmla="*/ 6597 w 379"/>
                <a:gd name="T9" fmla="*/ 142221 h 437"/>
                <a:gd name="T10" fmla="*/ 13634 w 379"/>
                <a:gd name="T11" fmla="*/ 116411 h 437"/>
                <a:gd name="T12" fmla="*/ 17152 w 379"/>
                <a:gd name="T13" fmla="*/ 90600 h 437"/>
                <a:gd name="T14" fmla="*/ 25069 w 379"/>
                <a:gd name="T15" fmla="*/ 83753 h 437"/>
                <a:gd name="T16" fmla="*/ 28587 w 379"/>
                <a:gd name="T17" fmla="*/ 68477 h 437"/>
                <a:gd name="T18" fmla="*/ 33425 w 379"/>
                <a:gd name="T19" fmla="*/ 41086 h 437"/>
                <a:gd name="T20" fmla="*/ 39583 w 379"/>
                <a:gd name="T21" fmla="*/ 26864 h 437"/>
                <a:gd name="T22" fmla="*/ 50578 w 379"/>
                <a:gd name="T23" fmla="*/ 16329 h 437"/>
                <a:gd name="T24" fmla="*/ 67291 w 379"/>
                <a:gd name="T25" fmla="*/ 13169 h 437"/>
                <a:gd name="T26" fmla="*/ 95438 w 379"/>
                <a:gd name="T27" fmla="*/ 20016 h 437"/>
                <a:gd name="T28" fmla="*/ 115230 w 379"/>
                <a:gd name="T29" fmla="*/ 25284 h 437"/>
                <a:gd name="T30" fmla="*/ 133262 w 379"/>
                <a:gd name="T31" fmla="*/ 23704 h 437"/>
                <a:gd name="T32" fmla="*/ 144697 w 379"/>
                <a:gd name="T33" fmla="*/ 16329 h 437"/>
                <a:gd name="T34" fmla="*/ 156571 w 379"/>
                <a:gd name="T35" fmla="*/ 3687 h 437"/>
                <a:gd name="T36" fmla="*/ 164488 w 379"/>
                <a:gd name="T37" fmla="*/ 4741 h 437"/>
                <a:gd name="T38" fmla="*/ 163608 w 379"/>
                <a:gd name="T39" fmla="*/ 18436 h 437"/>
                <a:gd name="T40" fmla="*/ 144697 w 379"/>
                <a:gd name="T41" fmla="*/ 42140 h 437"/>
                <a:gd name="T42" fmla="*/ 128424 w 379"/>
                <a:gd name="T43" fmla="*/ 51094 h 437"/>
                <a:gd name="T44" fmla="*/ 119188 w 379"/>
                <a:gd name="T45" fmla="*/ 49514 h 437"/>
                <a:gd name="T46" fmla="*/ 104674 w 379"/>
                <a:gd name="T47" fmla="*/ 36345 h 437"/>
                <a:gd name="T48" fmla="*/ 93239 w 379"/>
                <a:gd name="T49" fmla="*/ 29498 h 437"/>
                <a:gd name="T50" fmla="*/ 77846 w 379"/>
                <a:gd name="T51" fmla="*/ 29498 h 437"/>
                <a:gd name="T52" fmla="*/ 60693 w 379"/>
                <a:gd name="T53" fmla="*/ 32132 h 437"/>
                <a:gd name="T54" fmla="*/ 50138 w 379"/>
                <a:gd name="T55" fmla="*/ 41613 h 437"/>
                <a:gd name="T56" fmla="*/ 34745 w 379"/>
                <a:gd name="T57" fmla="*/ 84806 h 437"/>
                <a:gd name="T58" fmla="*/ 52337 w 379"/>
                <a:gd name="T59" fmla="*/ 89020 h 437"/>
                <a:gd name="T60" fmla="*/ 58494 w 379"/>
                <a:gd name="T61" fmla="*/ 100608 h 437"/>
                <a:gd name="T62" fmla="*/ 68170 w 379"/>
                <a:gd name="T63" fmla="*/ 88493 h 437"/>
                <a:gd name="T64" fmla="*/ 75647 w 379"/>
                <a:gd name="T65" fmla="*/ 80592 h 437"/>
                <a:gd name="T66" fmla="*/ 97197 w 379"/>
                <a:gd name="T67" fmla="*/ 79012 h 437"/>
                <a:gd name="T68" fmla="*/ 109952 w 379"/>
                <a:gd name="T69" fmla="*/ 77432 h 437"/>
                <a:gd name="T70" fmla="*/ 120067 w 379"/>
                <a:gd name="T71" fmla="*/ 91127 h 437"/>
                <a:gd name="T72" fmla="*/ 122706 w 379"/>
                <a:gd name="T73" fmla="*/ 106929 h 437"/>
                <a:gd name="T74" fmla="*/ 108193 w 379"/>
                <a:gd name="T75" fmla="*/ 101135 h 437"/>
                <a:gd name="T76" fmla="*/ 95878 w 379"/>
                <a:gd name="T77" fmla="*/ 97448 h 437"/>
                <a:gd name="T78" fmla="*/ 84443 w 379"/>
                <a:gd name="T79" fmla="*/ 102715 h 437"/>
                <a:gd name="T80" fmla="*/ 81804 w 379"/>
                <a:gd name="T81" fmla="*/ 110090 h 437"/>
                <a:gd name="T82" fmla="*/ 84443 w 379"/>
                <a:gd name="T83" fmla="*/ 122732 h 437"/>
                <a:gd name="T84" fmla="*/ 96758 w 379"/>
                <a:gd name="T85" fmla="*/ 143275 h 437"/>
                <a:gd name="T86" fmla="*/ 98957 w 379"/>
                <a:gd name="T87" fmla="*/ 155917 h 437"/>
                <a:gd name="T88" fmla="*/ 94559 w 379"/>
                <a:gd name="T89" fmla="*/ 169612 h 437"/>
                <a:gd name="T90" fmla="*/ 90161 w 379"/>
                <a:gd name="T91" fmla="*/ 181727 h 437"/>
                <a:gd name="T92" fmla="*/ 92360 w 379"/>
                <a:gd name="T93" fmla="*/ 187522 h 437"/>
                <a:gd name="T94" fmla="*/ 103795 w 379"/>
                <a:gd name="T95" fmla="*/ 193843 h 437"/>
                <a:gd name="T96" fmla="*/ 110831 w 379"/>
                <a:gd name="T97" fmla="*/ 210698 h 437"/>
                <a:gd name="T98" fmla="*/ 105114 w 379"/>
                <a:gd name="T99" fmla="*/ 225974 h 437"/>
                <a:gd name="T100" fmla="*/ 97197 w 379"/>
                <a:gd name="T101" fmla="*/ 221760 h 437"/>
                <a:gd name="T102" fmla="*/ 88841 w 379"/>
                <a:gd name="T103" fmla="*/ 219653 h 437"/>
                <a:gd name="T104" fmla="*/ 77846 w 379"/>
                <a:gd name="T105" fmla="*/ 210698 h 437"/>
                <a:gd name="T106" fmla="*/ 67291 w 379"/>
                <a:gd name="T107" fmla="*/ 187522 h 437"/>
                <a:gd name="T108" fmla="*/ 60254 w 379"/>
                <a:gd name="T109" fmla="*/ 160131 h 437"/>
                <a:gd name="T110" fmla="*/ 50138 w 379"/>
                <a:gd name="T111" fmla="*/ 138534 h 437"/>
                <a:gd name="T112" fmla="*/ 42661 w 379"/>
                <a:gd name="T113" fmla="*/ 136427 h 437"/>
                <a:gd name="T114" fmla="*/ 46180 w 379"/>
                <a:gd name="T115" fmla="*/ 200690 h 437"/>
                <a:gd name="T116" fmla="*/ 40902 w 379"/>
                <a:gd name="T117" fmla="*/ 212805 h 437"/>
                <a:gd name="T118" fmla="*/ 25069 w 379"/>
                <a:gd name="T119" fmla="*/ 224394 h 437"/>
                <a:gd name="T120" fmla="*/ 25949 w 379"/>
                <a:gd name="T121" fmla="*/ 230188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7" name="Freeform 339">
              <a:extLst>
                <a:ext uri="{FF2B5EF4-FFF2-40B4-BE49-F238E27FC236}">
                  <a16:creationId xmlns:a16="http://schemas.microsoft.com/office/drawing/2014/main" id="{D1A0ED65-1519-40C1-8010-4CC76F911CC5}"/>
                </a:ext>
              </a:extLst>
            </p:cNvPr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9049293" y="4089799"/>
              <a:ext cx="325284" cy="102205"/>
            </a:xfrm>
            <a:custGeom>
              <a:avLst/>
              <a:gdLst>
                <a:gd name="T0" fmla="*/ 4773 w 578"/>
                <a:gd name="T1" fmla="*/ 25883 h 184"/>
                <a:gd name="T2" fmla="*/ 10415 w 578"/>
                <a:gd name="T3" fmla="*/ 16565 h 184"/>
                <a:gd name="T4" fmla="*/ 17792 w 578"/>
                <a:gd name="T5" fmla="*/ 3624 h 184"/>
                <a:gd name="T6" fmla="*/ 23433 w 578"/>
                <a:gd name="T7" fmla="*/ 0 h 184"/>
                <a:gd name="T8" fmla="*/ 34282 w 578"/>
                <a:gd name="T9" fmla="*/ 1035 h 184"/>
                <a:gd name="T10" fmla="*/ 41226 w 578"/>
                <a:gd name="T11" fmla="*/ 1035 h 184"/>
                <a:gd name="T12" fmla="*/ 43829 w 578"/>
                <a:gd name="T13" fmla="*/ 2588 h 184"/>
                <a:gd name="T14" fmla="*/ 49905 w 578"/>
                <a:gd name="T15" fmla="*/ 7765 h 184"/>
                <a:gd name="T16" fmla="*/ 63791 w 578"/>
                <a:gd name="T17" fmla="*/ 13977 h 184"/>
                <a:gd name="T18" fmla="*/ 72904 w 578"/>
                <a:gd name="T19" fmla="*/ 19154 h 184"/>
                <a:gd name="T20" fmla="*/ 77244 w 578"/>
                <a:gd name="T21" fmla="*/ 27436 h 184"/>
                <a:gd name="T22" fmla="*/ 83319 w 578"/>
                <a:gd name="T23" fmla="*/ 31577 h 184"/>
                <a:gd name="T24" fmla="*/ 100243 w 578"/>
                <a:gd name="T25" fmla="*/ 31060 h 184"/>
                <a:gd name="T26" fmla="*/ 120205 w 578"/>
                <a:gd name="T27" fmla="*/ 26401 h 184"/>
                <a:gd name="T28" fmla="*/ 129752 w 578"/>
                <a:gd name="T29" fmla="*/ 20189 h 184"/>
                <a:gd name="T30" fmla="*/ 136261 w 578"/>
                <a:gd name="T31" fmla="*/ 17601 h 184"/>
                <a:gd name="T32" fmla="*/ 141903 w 578"/>
                <a:gd name="T33" fmla="*/ 18118 h 184"/>
                <a:gd name="T34" fmla="*/ 147110 w 578"/>
                <a:gd name="T35" fmla="*/ 16048 h 184"/>
                <a:gd name="T36" fmla="*/ 158827 w 578"/>
                <a:gd name="T37" fmla="*/ 17601 h 184"/>
                <a:gd name="T38" fmla="*/ 173147 w 578"/>
                <a:gd name="T39" fmla="*/ 30542 h 184"/>
                <a:gd name="T40" fmla="*/ 185732 w 578"/>
                <a:gd name="T41" fmla="*/ 46072 h 184"/>
                <a:gd name="T42" fmla="*/ 197883 w 578"/>
                <a:gd name="T43" fmla="*/ 54355 h 184"/>
                <a:gd name="T44" fmla="*/ 207864 w 578"/>
                <a:gd name="T45" fmla="*/ 55390 h 184"/>
                <a:gd name="T46" fmla="*/ 213939 w 578"/>
                <a:gd name="T47" fmla="*/ 55908 h 184"/>
                <a:gd name="T48" fmla="*/ 219146 w 578"/>
                <a:gd name="T49" fmla="*/ 64708 h 184"/>
                <a:gd name="T50" fmla="*/ 226524 w 578"/>
                <a:gd name="T51" fmla="*/ 72473 h 184"/>
                <a:gd name="T52" fmla="*/ 231731 w 578"/>
                <a:gd name="T53" fmla="*/ 71955 h 184"/>
                <a:gd name="T54" fmla="*/ 236938 w 578"/>
                <a:gd name="T55" fmla="*/ 66261 h 184"/>
                <a:gd name="T56" fmla="*/ 242146 w 578"/>
                <a:gd name="T57" fmla="*/ 69367 h 184"/>
                <a:gd name="T58" fmla="*/ 247787 w 578"/>
                <a:gd name="T59" fmla="*/ 75061 h 184"/>
                <a:gd name="T60" fmla="*/ 250825 w 578"/>
                <a:gd name="T61" fmla="*/ 82826 h 184"/>
                <a:gd name="T62" fmla="*/ 249523 w 578"/>
                <a:gd name="T63" fmla="*/ 89556 h 184"/>
                <a:gd name="T64" fmla="*/ 246052 w 578"/>
                <a:gd name="T65" fmla="*/ 94215 h 184"/>
                <a:gd name="T66" fmla="*/ 239108 w 578"/>
                <a:gd name="T67" fmla="*/ 92144 h 184"/>
                <a:gd name="T68" fmla="*/ 228259 w 578"/>
                <a:gd name="T69" fmla="*/ 88003 h 184"/>
                <a:gd name="T70" fmla="*/ 213071 w 578"/>
                <a:gd name="T71" fmla="*/ 89038 h 184"/>
                <a:gd name="T72" fmla="*/ 200486 w 578"/>
                <a:gd name="T73" fmla="*/ 88003 h 184"/>
                <a:gd name="T74" fmla="*/ 195713 w 578"/>
                <a:gd name="T75" fmla="*/ 82826 h 184"/>
                <a:gd name="T76" fmla="*/ 190072 w 578"/>
                <a:gd name="T77" fmla="*/ 79720 h 184"/>
                <a:gd name="T78" fmla="*/ 184864 w 578"/>
                <a:gd name="T79" fmla="*/ 82826 h 184"/>
                <a:gd name="T80" fmla="*/ 180525 w 578"/>
                <a:gd name="T81" fmla="*/ 88003 h 184"/>
                <a:gd name="T82" fmla="*/ 172713 w 578"/>
                <a:gd name="T83" fmla="*/ 88520 h 184"/>
                <a:gd name="T84" fmla="*/ 142337 w 578"/>
                <a:gd name="T85" fmla="*/ 79202 h 184"/>
                <a:gd name="T86" fmla="*/ 120205 w 578"/>
                <a:gd name="T87" fmla="*/ 68332 h 184"/>
                <a:gd name="T88" fmla="*/ 115432 w 578"/>
                <a:gd name="T89" fmla="*/ 63673 h 184"/>
                <a:gd name="T90" fmla="*/ 99809 w 578"/>
                <a:gd name="T91" fmla="*/ 61602 h 184"/>
                <a:gd name="T92" fmla="*/ 87225 w 578"/>
                <a:gd name="T93" fmla="*/ 58496 h 184"/>
                <a:gd name="T94" fmla="*/ 72904 w 578"/>
                <a:gd name="T95" fmla="*/ 57461 h 184"/>
                <a:gd name="T96" fmla="*/ 63357 w 578"/>
                <a:gd name="T97" fmla="*/ 57461 h 184"/>
                <a:gd name="T98" fmla="*/ 53810 w 578"/>
                <a:gd name="T99" fmla="*/ 54355 h 184"/>
                <a:gd name="T100" fmla="*/ 52074 w 578"/>
                <a:gd name="T101" fmla="*/ 51249 h 184"/>
                <a:gd name="T102" fmla="*/ 29943 w 578"/>
                <a:gd name="T103" fmla="*/ 50213 h 184"/>
                <a:gd name="T104" fmla="*/ 19962 w 578"/>
                <a:gd name="T105" fmla="*/ 45554 h 184"/>
                <a:gd name="T106" fmla="*/ 0 w 578"/>
                <a:gd name="T107" fmla="*/ 28471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8" name="Freeform 340">
              <a:extLst>
                <a:ext uri="{FF2B5EF4-FFF2-40B4-BE49-F238E27FC236}">
                  <a16:creationId xmlns:a16="http://schemas.microsoft.com/office/drawing/2014/main" id="{70EF70B3-6D92-42CF-8103-83FDDB5F6B7C}"/>
                </a:ext>
              </a:extLst>
            </p:cNvPr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9932503" y="3936490"/>
              <a:ext cx="277933" cy="270846"/>
            </a:xfrm>
            <a:custGeom>
              <a:avLst/>
              <a:gdLst>
                <a:gd name="T0" fmla="*/ 210384 w 491"/>
                <a:gd name="T1" fmla="*/ 251363 h 481"/>
                <a:gd name="T2" fmla="*/ 199472 w 491"/>
                <a:gd name="T3" fmla="*/ 244017 h 481"/>
                <a:gd name="T4" fmla="*/ 184195 w 491"/>
                <a:gd name="T5" fmla="*/ 227749 h 481"/>
                <a:gd name="T6" fmla="*/ 179830 w 491"/>
                <a:gd name="T7" fmla="*/ 218828 h 481"/>
                <a:gd name="T8" fmla="*/ 164117 w 491"/>
                <a:gd name="T9" fmla="*/ 215155 h 481"/>
                <a:gd name="T10" fmla="*/ 157133 w 491"/>
                <a:gd name="T11" fmla="*/ 213055 h 481"/>
                <a:gd name="T12" fmla="*/ 152768 w 491"/>
                <a:gd name="T13" fmla="*/ 207808 h 481"/>
                <a:gd name="T14" fmla="*/ 151022 w 491"/>
                <a:gd name="T15" fmla="*/ 196263 h 481"/>
                <a:gd name="T16" fmla="*/ 149276 w 491"/>
                <a:gd name="T17" fmla="*/ 174223 h 481"/>
                <a:gd name="T18" fmla="*/ 142729 w 491"/>
                <a:gd name="T19" fmla="*/ 159004 h 481"/>
                <a:gd name="T20" fmla="*/ 139237 w 491"/>
                <a:gd name="T21" fmla="*/ 145361 h 481"/>
                <a:gd name="T22" fmla="*/ 137055 w 491"/>
                <a:gd name="T23" fmla="*/ 128043 h 481"/>
                <a:gd name="T24" fmla="*/ 127452 w 491"/>
                <a:gd name="T25" fmla="*/ 117023 h 481"/>
                <a:gd name="T26" fmla="*/ 113485 w 491"/>
                <a:gd name="T27" fmla="*/ 107577 h 481"/>
                <a:gd name="T28" fmla="*/ 96462 w 491"/>
                <a:gd name="T29" fmla="*/ 99706 h 481"/>
                <a:gd name="T30" fmla="*/ 77694 w 491"/>
                <a:gd name="T31" fmla="*/ 94983 h 481"/>
                <a:gd name="T32" fmla="*/ 58052 w 491"/>
                <a:gd name="T33" fmla="*/ 93409 h 481"/>
                <a:gd name="T34" fmla="*/ 58052 w 491"/>
                <a:gd name="T35" fmla="*/ 81864 h 481"/>
                <a:gd name="T36" fmla="*/ 48013 w 491"/>
                <a:gd name="T37" fmla="*/ 76091 h 481"/>
                <a:gd name="T38" fmla="*/ 37101 w 491"/>
                <a:gd name="T39" fmla="*/ 68220 h 481"/>
                <a:gd name="T40" fmla="*/ 28808 w 491"/>
                <a:gd name="T41" fmla="*/ 58249 h 481"/>
                <a:gd name="T42" fmla="*/ 31863 w 491"/>
                <a:gd name="T43" fmla="*/ 69794 h 481"/>
                <a:gd name="T44" fmla="*/ 23570 w 491"/>
                <a:gd name="T45" fmla="*/ 77141 h 481"/>
                <a:gd name="T46" fmla="*/ 17459 w 491"/>
                <a:gd name="T47" fmla="*/ 93409 h 481"/>
                <a:gd name="T48" fmla="*/ 10476 w 491"/>
                <a:gd name="T49" fmla="*/ 115449 h 481"/>
                <a:gd name="T50" fmla="*/ 5674 w 491"/>
                <a:gd name="T51" fmla="*/ 139063 h 481"/>
                <a:gd name="T52" fmla="*/ 6111 w 491"/>
                <a:gd name="T53" fmla="*/ 124370 h 481"/>
                <a:gd name="T54" fmla="*/ 10039 w 491"/>
                <a:gd name="T55" fmla="*/ 109676 h 481"/>
                <a:gd name="T56" fmla="*/ 13967 w 491"/>
                <a:gd name="T57" fmla="*/ 94983 h 481"/>
                <a:gd name="T58" fmla="*/ 13094 w 491"/>
                <a:gd name="T59" fmla="*/ 75042 h 481"/>
                <a:gd name="T60" fmla="*/ 7420 w 491"/>
                <a:gd name="T61" fmla="*/ 58249 h 481"/>
                <a:gd name="T62" fmla="*/ 0 w 491"/>
                <a:gd name="T63" fmla="*/ 38308 h 481"/>
                <a:gd name="T64" fmla="*/ 14840 w 491"/>
                <a:gd name="T65" fmla="*/ 30961 h 481"/>
                <a:gd name="T66" fmla="*/ 25752 w 491"/>
                <a:gd name="T67" fmla="*/ 28862 h 481"/>
                <a:gd name="T68" fmla="*/ 36664 w 491"/>
                <a:gd name="T69" fmla="*/ 30436 h 481"/>
                <a:gd name="T70" fmla="*/ 44521 w 491"/>
                <a:gd name="T71" fmla="*/ 34635 h 481"/>
                <a:gd name="T72" fmla="*/ 52814 w 491"/>
                <a:gd name="T73" fmla="*/ 43031 h 481"/>
                <a:gd name="T74" fmla="*/ 61107 w 491"/>
                <a:gd name="T75" fmla="*/ 58249 h 481"/>
                <a:gd name="T76" fmla="*/ 79876 w 491"/>
                <a:gd name="T77" fmla="*/ 54051 h 481"/>
                <a:gd name="T78" fmla="*/ 85550 w 491"/>
                <a:gd name="T79" fmla="*/ 50378 h 481"/>
                <a:gd name="T80" fmla="*/ 87296 w 491"/>
                <a:gd name="T81" fmla="*/ 47229 h 481"/>
                <a:gd name="T82" fmla="*/ 90351 w 491"/>
                <a:gd name="T83" fmla="*/ 38308 h 481"/>
                <a:gd name="T84" fmla="*/ 101264 w 491"/>
                <a:gd name="T85" fmla="*/ 28337 h 481"/>
                <a:gd name="T86" fmla="*/ 110866 w 491"/>
                <a:gd name="T87" fmla="*/ 25714 h 481"/>
                <a:gd name="T88" fmla="*/ 114794 w 491"/>
                <a:gd name="T89" fmla="*/ 15743 h 481"/>
                <a:gd name="T90" fmla="*/ 122215 w 491"/>
                <a:gd name="T91" fmla="*/ 4723 h 481"/>
                <a:gd name="T92" fmla="*/ 130944 w 491"/>
                <a:gd name="T93" fmla="*/ 525 h 481"/>
                <a:gd name="T94" fmla="*/ 140983 w 491"/>
                <a:gd name="T95" fmla="*/ 0 h 481"/>
                <a:gd name="T96" fmla="*/ 153205 w 491"/>
                <a:gd name="T97" fmla="*/ 4198 h 481"/>
                <a:gd name="T98" fmla="*/ 174156 w 491"/>
                <a:gd name="T99" fmla="*/ 19941 h 481"/>
                <a:gd name="T100" fmla="*/ 186814 w 491"/>
                <a:gd name="T101" fmla="*/ 27813 h 481"/>
                <a:gd name="T102" fmla="*/ 200345 w 491"/>
                <a:gd name="T103" fmla="*/ 31486 h 481"/>
                <a:gd name="T104" fmla="*/ 214312 w 491"/>
                <a:gd name="T105" fmla="*/ 35159 h 481"/>
                <a:gd name="T106" fmla="*/ 214312 w 491"/>
                <a:gd name="T107" fmla="*/ 171074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9" name="Freeform 341">
              <a:extLst>
                <a:ext uri="{FF2B5EF4-FFF2-40B4-BE49-F238E27FC236}">
                  <a16:creationId xmlns:a16="http://schemas.microsoft.com/office/drawing/2014/main" id="{03C1C0B1-EEBF-48B0-964A-DEF0D5FFF55C}"/>
                </a:ext>
              </a:extLst>
            </p:cNvPr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8028146" y="2682767"/>
              <a:ext cx="69998" cy="64731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0" name="Freeform 342">
              <a:extLst>
                <a:ext uri="{FF2B5EF4-FFF2-40B4-BE49-F238E27FC236}">
                  <a16:creationId xmlns:a16="http://schemas.microsoft.com/office/drawing/2014/main" id="{DA105232-065C-4060-9942-7C820CAB67B2}"/>
                </a:ext>
              </a:extLst>
            </p:cNvPr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6027028" y="2043982"/>
              <a:ext cx="286169" cy="190784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0185C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1" name="Freeform 343">
              <a:extLst>
                <a:ext uri="{FF2B5EF4-FFF2-40B4-BE49-F238E27FC236}">
                  <a16:creationId xmlns:a16="http://schemas.microsoft.com/office/drawing/2014/main" id="{81CC6D36-F5C4-4F00-978C-A3B5BB003924}"/>
                </a:ext>
              </a:extLst>
            </p:cNvPr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6109379" y="2263724"/>
              <a:ext cx="189407" cy="76654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0185C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2" name="Freeform 344">
              <a:extLst>
                <a:ext uri="{FF2B5EF4-FFF2-40B4-BE49-F238E27FC236}">
                  <a16:creationId xmlns:a16="http://schemas.microsoft.com/office/drawing/2014/main" id="{6CE53121-ACF2-4DB4-A3C2-34157A2FEB35}"/>
                </a:ext>
              </a:extLst>
            </p:cNvPr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6239082" y="1894081"/>
              <a:ext cx="144114" cy="69841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3" name="Freeform 345">
              <a:extLst>
                <a:ext uri="{FF2B5EF4-FFF2-40B4-BE49-F238E27FC236}">
                  <a16:creationId xmlns:a16="http://schemas.microsoft.com/office/drawing/2014/main" id="{A7A46683-3A03-4A7D-8428-1CB068ED0EE7}"/>
                </a:ext>
              </a:extLst>
            </p:cNvPr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6255550" y="2267131"/>
              <a:ext cx="232640" cy="153309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4" name="Freeform 346">
              <a:extLst>
                <a:ext uri="{FF2B5EF4-FFF2-40B4-BE49-F238E27FC236}">
                  <a16:creationId xmlns:a16="http://schemas.microsoft.com/office/drawing/2014/main" id="{3E857F7E-419B-435E-9867-CB3E796C73EC}"/>
                </a:ext>
              </a:extLst>
            </p:cNvPr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3661509" y="3381173"/>
              <a:ext cx="18528" cy="59620"/>
            </a:xfrm>
            <a:custGeom>
              <a:avLst/>
              <a:gdLst>
                <a:gd name="T0" fmla="*/ 5628 w 33"/>
                <a:gd name="T1" fmla="*/ 10754 h 31"/>
                <a:gd name="T2" fmla="*/ 0 w 33"/>
                <a:gd name="T3" fmla="*/ 34055 h 31"/>
                <a:gd name="T4" fmla="*/ 2165 w 33"/>
                <a:gd name="T5" fmla="*/ 37639 h 31"/>
                <a:gd name="T6" fmla="*/ 6061 w 33"/>
                <a:gd name="T7" fmla="*/ 44809 h 31"/>
                <a:gd name="T8" fmla="*/ 8226 w 33"/>
                <a:gd name="T9" fmla="*/ 48394 h 31"/>
                <a:gd name="T10" fmla="*/ 9958 w 33"/>
                <a:gd name="T11" fmla="*/ 51978 h 31"/>
                <a:gd name="T12" fmla="*/ 11689 w 33"/>
                <a:gd name="T13" fmla="*/ 53771 h 31"/>
                <a:gd name="T14" fmla="*/ 14287 w 33"/>
                <a:gd name="T15" fmla="*/ 55563 h 31"/>
                <a:gd name="T16" fmla="*/ 14287 w 33"/>
                <a:gd name="T17" fmla="*/ 0 h 31"/>
                <a:gd name="T18" fmla="*/ 8659 w 33"/>
                <a:gd name="T19" fmla="*/ 0 h 31"/>
                <a:gd name="T20" fmla="*/ 5628 w 33"/>
                <a:gd name="T21" fmla="*/ 1075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5" name="Freeform 347">
              <a:extLst>
                <a:ext uri="{FF2B5EF4-FFF2-40B4-BE49-F238E27FC236}">
                  <a16:creationId xmlns:a16="http://schemas.microsoft.com/office/drawing/2014/main" id="{4BE33BA9-44E5-4F18-B36E-A08693DED2F8}"/>
                </a:ext>
              </a:extLst>
            </p:cNvPr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6391429" y="2258615"/>
              <a:ext cx="111173" cy="85172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6" name="Freeform 348">
              <a:extLst>
                <a:ext uri="{FF2B5EF4-FFF2-40B4-BE49-F238E27FC236}">
                  <a16:creationId xmlns:a16="http://schemas.microsoft.com/office/drawing/2014/main" id="{13F4C63E-C01A-4264-8E0E-21A84E3CBCCC}"/>
                </a:ext>
              </a:extLst>
            </p:cNvPr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6284373" y="2132560"/>
              <a:ext cx="494104" cy="265735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7" name="Freeform 349">
              <a:extLst>
                <a:ext uri="{FF2B5EF4-FFF2-40B4-BE49-F238E27FC236}">
                  <a16:creationId xmlns:a16="http://schemas.microsoft.com/office/drawing/2014/main" id="{94EB31F8-2E9B-49F6-B357-83B642252A74}"/>
                </a:ext>
              </a:extLst>
            </p:cNvPr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6947296" y="2500500"/>
              <a:ext cx="61763" cy="68137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8" name="Freeform 350">
              <a:extLst>
                <a:ext uri="{FF2B5EF4-FFF2-40B4-BE49-F238E27FC236}">
                  <a16:creationId xmlns:a16="http://schemas.microsoft.com/office/drawing/2014/main" id="{1F3E5C23-BC91-4313-AC53-99346F044D96}"/>
                </a:ext>
              </a:extLst>
            </p:cNvPr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7651393" y="2515831"/>
              <a:ext cx="269698" cy="131164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9" name="Freeform 351">
              <a:extLst>
                <a:ext uri="{FF2B5EF4-FFF2-40B4-BE49-F238E27FC236}">
                  <a16:creationId xmlns:a16="http://schemas.microsoft.com/office/drawing/2014/main" id="{9C876779-E560-4E92-A57D-163BBB3B78DB}"/>
                </a:ext>
              </a:extLst>
            </p:cNvPr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7715214" y="2439178"/>
              <a:ext cx="292345" cy="134570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0" name="Freeform 352">
              <a:extLst>
                <a:ext uri="{FF2B5EF4-FFF2-40B4-BE49-F238E27FC236}">
                  <a16:creationId xmlns:a16="http://schemas.microsoft.com/office/drawing/2014/main" id="{47019AA6-D23F-494E-9957-77D5AC4DB09C}"/>
                </a:ext>
              </a:extLst>
            </p:cNvPr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7204641" y="2456212"/>
              <a:ext cx="444694" cy="243589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1" name="Freeform 353">
              <a:extLst>
                <a:ext uri="{FF2B5EF4-FFF2-40B4-BE49-F238E27FC236}">
                  <a16:creationId xmlns:a16="http://schemas.microsoft.com/office/drawing/2014/main" id="{F4A0F013-FA50-4223-9146-66386549BF36}"/>
                </a:ext>
              </a:extLst>
            </p:cNvPr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6179377" y="2335268"/>
              <a:ext cx="139996" cy="160122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2" name="Freeform 354">
              <a:extLst>
                <a:ext uri="{FF2B5EF4-FFF2-40B4-BE49-F238E27FC236}">
                  <a16:creationId xmlns:a16="http://schemas.microsoft.com/office/drawing/2014/main" id="{9BAA65E3-2B60-4F04-ADE3-71B1B8AC1D37}"/>
                </a:ext>
              </a:extLst>
            </p:cNvPr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6241140" y="2451101"/>
              <a:ext cx="88528" cy="64731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3" name="Freeform 355">
              <a:extLst>
                <a:ext uri="{FF2B5EF4-FFF2-40B4-BE49-F238E27FC236}">
                  <a16:creationId xmlns:a16="http://schemas.microsoft.com/office/drawing/2014/main" id="{C8E7F06B-B760-4582-8081-7CB876AC4594}"/>
                </a:ext>
              </a:extLst>
            </p:cNvPr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6350255" y="3120549"/>
              <a:ext cx="533220" cy="655819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4" name="Freeform 356">
              <a:extLst>
                <a:ext uri="{FF2B5EF4-FFF2-40B4-BE49-F238E27FC236}">
                  <a16:creationId xmlns:a16="http://schemas.microsoft.com/office/drawing/2014/main" id="{413AEBBA-FC22-4231-88CB-67BF3973C146}"/>
                </a:ext>
              </a:extLst>
            </p:cNvPr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6978177" y="3485082"/>
              <a:ext cx="317049" cy="463332"/>
            </a:xfrm>
            <a:custGeom>
              <a:avLst/>
              <a:gdLst>
                <a:gd name="T0" fmla="*/ 43091 w 556"/>
                <a:gd name="T1" fmla="*/ 32688 h 819"/>
                <a:gd name="T2" fmla="*/ 49247 w 556"/>
                <a:gd name="T3" fmla="*/ 29525 h 819"/>
                <a:gd name="T4" fmla="*/ 56722 w 556"/>
                <a:gd name="T5" fmla="*/ 36379 h 819"/>
                <a:gd name="T6" fmla="*/ 65516 w 556"/>
                <a:gd name="T7" fmla="*/ 44814 h 819"/>
                <a:gd name="T8" fmla="*/ 75189 w 556"/>
                <a:gd name="T9" fmla="*/ 48505 h 819"/>
                <a:gd name="T10" fmla="*/ 94536 w 556"/>
                <a:gd name="T11" fmla="*/ 46396 h 819"/>
                <a:gd name="T12" fmla="*/ 113004 w 556"/>
                <a:gd name="T13" fmla="*/ 43233 h 819"/>
                <a:gd name="T14" fmla="*/ 127954 w 556"/>
                <a:gd name="T15" fmla="*/ 41651 h 819"/>
                <a:gd name="T16" fmla="*/ 132351 w 556"/>
                <a:gd name="T17" fmla="*/ 39015 h 819"/>
                <a:gd name="T18" fmla="*/ 132351 w 556"/>
                <a:gd name="T19" fmla="*/ 35852 h 819"/>
                <a:gd name="T20" fmla="*/ 156095 w 556"/>
                <a:gd name="T21" fmla="*/ 33215 h 819"/>
                <a:gd name="T22" fmla="*/ 190831 w 556"/>
                <a:gd name="T23" fmla="*/ 23725 h 819"/>
                <a:gd name="T24" fmla="*/ 210618 w 556"/>
                <a:gd name="T25" fmla="*/ 14762 h 819"/>
                <a:gd name="T26" fmla="*/ 226007 w 556"/>
                <a:gd name="T27" fmla="*/ 4218 h 819"/>
                <a:gd name="T28" fmla="*/ 240518 w 556"/>
                <a:gd name="T29" fmla="*/ 16344 h 819"/>
                <a:gd name="T30" fmla="*/ 244035 w 556"/>
                <a:gd name="T31" fmla="*/ 30052 h 819"/>
                <a:gd name="T32" fmla="*/ 242716 w 556"/>
                <a:gd name="T33" fmla="*/ 59577 h 819"/>
                <a:gd name="T34" fmla="*/ 233922 w 556"/>
                <a:gd name="T35" fmla="*/ 91738 h 819"/>
                <a:gd name="T36" fmla="*/ 220731 w 556"/>
                <a:gd name="T37" fmla="*/ 121790 h 819"/>
                <a:gd name="T38" fmla="*/ 196547 w 556"/>
                <a:gd name="T39" fmla="*/ 169240 h 819"/>
                <a:gd name="T40" fmla="*/ 185994 w 556"/>
                <a:gd name="T41" fmla="*/ 197711 h 819"/>
                <a:gd name="T42" fmla="*/ 180278 w 556"/>
                <a:gd name="T43" fmla="*/ 218800 h 819"/>
                <a:gd name="T44" fmla="*/ 166648 w 556"/>
                <a:gd name="T45" fmla="*/ 249379 h 819"/>
                <a:gd name="T46" fmla="*/ 145102 w 556"/>
                <a:gd name="T47" fmla="*/ 279958 h 819"/>
                <a:gd name="T48" fmla="*/ 126635 w 556"/>
                <a:gd name="T49" fmla="*/ 298411 h 819"/>
                <a:gd name="T50" fmla="*/ 105089 w 556"/>
                <a:gd name="T51" fmla="*/ 316337 h 819"/>
                <a:gd name="T52" fmla="*/ 73870 w 556"/>
                <a:gd name="T53" fmla="*/ 343226 h 819"/>
                <a:gd name="T54" fmla="*/ 62878 w 556"/>
                <a:gd name="T55" fmla="*/ 358515 h 819"/>
                <a:gd name="T56" fmla="*/ 57601 w 556"/>
                <a:gd name="T57" fmla="*/ 369060 h 819"/>
                <a:gd name="T58" fmla="*/ 51006 w 556"/>
                <a:gd name="T59" fmla="*/ 378023 h 819"/>
                <a:gd name="T60" fmla="*/ 31219 w 556"/>
                <a:gd name="T61" fmla="*/ 392785 h 819"/>
                <a:gd name="T62" fmla="*/ 8354 w 556"/>
                <a:gd name="T63" fmla="*/ 422310 h 819"/>
                <a:gd name="T64" fmla="*/ 879 w 556"/>
                <a:gd name="T65" fmla="*/ 297357 h 819"/>
                <a:gd name="T66" fmla="*/ 1319 w 556"/>
                <a:gd name="T67" fmla="*/ 292084 h 819"/>
                <a:gd name="T68" fmla="*/ 11872 w 556"/>
                <a:gd name="T69" fmla="*/ 281013 h 819"/>
                <a:gd name="T70" fmla="*/ 18468 w 556"/>
                <a:gd name="T71" fmla="*/ 272050 h 819"/>
                <a:gd name="T72" fmla="*/ 26382 w 556"/>
                <a:gd name="T73" fmla="*/ 262032 h 819"/>
                <a:gd name="T74" fmla="*/ 48807 w 556"/>
                <a:gd name="T75" fmla="*/ 253070 h 819"/>
                <a:gd name="T76" fmla="*/ 52325 w 556"/>
                <a:gd name="T77" fmla="*/ 247797 h 819"/>
                <a:gd name="T78" fmla="*/ 56722 w 556"/>
                <a:gd name="T79" fmla="*/ 238307 h 819"/>
                <a:gd name="T80" fmla="*/ 66835 w 556"/>
                <a:gd name="T81" fmla="*/ 231980 h 819"/>
                <a:gd name="T82" fmla="*/ 76508 w 556"/>
                <a:gd name="T83" fmla="*/ 231453 h 819"/>
                <a:gd name="T84" fmla="*/ 86182 w 556"/>
                <a:gd name="T85" fmla="*/ 231453 h 819"/>
                <a:gd name="T86" fmla="*/ 100252 w 556"/>
                <a:gd name="T87" fmla="*/ 226181 h 819"/>
                <a:gd name="T88" fmla="*/ 110366 w 556"/>
                <a:gd name="T89" fmla="*/ 213527 h 819"/>
                <a:gd name="T90" fmla="*/ 116521 w 556"/>
                <a:gd name="T91" fmla="*/ 199820 h 819"/>
                <a:gd name="T92" fmla="*/ 130152 w 556"/>
                <a:gd name="T93" fmla="*/ 182948 h 819"/>
                <a:gd name="T94" fmla="*/ 155655 w 556"/>
                <a:gd name="T95" fmla="*/ 154478 h 819"/>
                <a:gd name="T96" fmla="*/ 165768 w 556"/>
                <a:gd name="T97" fmla="*/ 140243 h 819"/>
                <a:gd name="T98" fmla="*/ 142464 w 556"/>
                <a:gd name="T99" fmla="*/ 129698 h 819"/>
                <a:gd name="T100" fmla="*/ 113004 w 556"/>
                <a:gd name="T101" fmla="*/ 120208 h 819"/>
                <a:gd name="T102" fmla="*/ 80905 w 556"/>
                <a:gd name="T103" fmla="*/ 110191 h 819"/>
                <a:gd name="T104" fmla="*/ 65516 w 556"/>
                <a:gd name="T105" fmla="*/ 98592 h 819"/>
                <a:gd name="T106" fmla="*/ 49247 w 556"/>
                <a:gd name="T107" fmla="*/ 81193 h 819"/>
                <a:gd name="T108" fmla="*/ 39134 w 556"/>
                <a:gd name="T109" fmla="*/ 63795 h 819"/>
                <a:gd name="T110" fmla="*/ 33857 w 556"/>
                <a:gd name="T111" fmla="*/ 42178 h 819"/>
                <a:gd name="T112" fmla="*/ 28581 w 556"/>
                <a:gd name="T113" fmla="*/ 45869 h 819"/>
                <a:gd name="T114" fmla="*/ 36935 w 556"/>
                <a:gd name="T115" fmla="*/ 35852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5" name="Freeform 357">
              <a:extLst>
                <a:ext uri="{FF2B5EF4-FFF2-40B4-BE49-F238E27FC236}">
                  <a16:creationId xmlns:a16="http://schemas.microsoft.com/office/drawing/2014/main" id="{B39E5B74-4304-44F2-A9B2-01E186045448}"/>
                </a:ext>
              </a:extLst>
            </p:cNvPr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6988471" y="3471454"/>
              <a:ext cx="49410" cy="63027"/>
            </a:xfrm>
            <a:custGeom>
              <a:avLst/>
              <a:gdLst>
                <a:gd name="T0" fmla="*/ 26138 w 86"/>
                <a:gd name="T1" fmla="*/ 0 h 97"/>
                <a:gd name="T2" fmla="*/ 24809 w 86"/>
                <a:gd name="T3" fmla="*/ 1211 h 97"/>
                <a:gd name="T4" fmla="*/ 23037 w 86"/>
                <a:gd name="T5" fmla="*/ 1817 h 97"/>
                <a:gd name="T6" fmla="*/ 20379 w 86"/>
                <a:gd name="T7" fmla="*/ 1817 h 97"/>
                <a:gd name="T8" fmla="*/ 17721 w 86"/>
                <a:gd name="T9" fmla="*/ 1817 h 97"/>
                <a:gd name="T10" fmla="*/ 14620 w 86"/>
                <a:gd name="T11" fmla="*/ 1817 h 97"/>
                <a:gd name="T12" fmla="*/ 11962 w 86"/>
                <a:gd name="T13" fmla="*/ 1817 h 97"/>
                <a:gd name="T14" fmla="*/ 10190 w 86"/>
                <a:gd name="T15" fmla="*/ 2422 h 97"/>
                <a:gd name="T16" fmla="*/ 8860 w 86"/>
                <a:gd name="T17" fmla="*/ 3633 h 97"/>
                <a:gd name="T18" fmla="*/ 7088 w 86"/>
                <a:gd name="T19" fmla="*/ 5450 h 97"/>
                <a:gd name="T20" fmla="*/ 5759 w 86"/>
                <a:gd name="T21" fmla="*/ 7266 h 97"/>
                <a:gd name="T22" fmla="*/ 4873 w 86"/>
                <a:gd name="T23" fmla="*/ 9083 h 97"/>
                <a:gd name="T24" fmla="*/ 3544 w 86"/>
                <a:gd name="T25" fmla="*/ 12111 h 97"/>
                <a:gd name="T26" fmla="*/ 1772 w 86"/>
                <a:gd name="T27" fmla="*/ 17561 h 97"/>
                <a:gd name="T28" fmla="*/ 886 w 86"/>
                <a:gd name="T29" fmla="*/ 23010 h 97"/>
                <a:gd name="T30" fmla="*/ 0 w 86"/>
                <a:gd name="T31" fmla="*/ 34516 h 97"/>
                <a:gd name="T32" fmla="*/ 0 w 86"/>
                <a:gd name="T33" fmla="*/ 45415 h 97"/>
                <a:gd name="T34" fmla="*/ 0 w 86"/>
                <a:gd name="T35" fmla="*/ 49048 h 97"/>
                <a:gd name="T36" fmla="*/ 443 w 86"/>
                <a:gd name="T37" fmla="*/ 52076 h 97"/>
                <a:gd name="T38" fmla="*/ 1329 w 86"/>
                <a:gd name="T39" fmla="*/ 54498 h 97"/>
                <a:gd name="T40" fmla="*/ 3101 w 86"/>
                <a:gd name="T41" fmla="*/ 56315 h 97"/>
                <a:gd name="T42" fmla="*/ 4430 w 86"/>
                <a:gd name="T43" fmla="*/ 57526 h 97"/>
                <a:gd name="T44" fmla="*/ 5759 w 86"/>
                <a:gd name="T45" fmla="*/ 58131 h 97"/>
                <a:gd name="T46" fmla="*/ 7974 w 86"/>
                <a:gd name="T47" fmla="*/ 58737 h 97"/>
                <a:gd name="T48" fmla="*/ 9303 w 86"/>
                <a:gd name="T49" fmla="*/ 58737 h 97"/>
                <a:gd name="T50" fmla="*/ 17721 w 86"/>
                <a:gd name="T51" fmla="*/ 57526 h 97"/>
                <a:gd name="T52" fmla="*/ 23480 w 86"/>
                <a:gd name="T53" fmla="*/ 56315 h 97"/>
                <a:gd name="T54" fmla="*/ 38100 w 86"/>
                <a:gd name="T55" fmla="*/ 41176 h 97"/>
                <a:gd name="T56" fmla="*/ 26138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6" name="Freeform 358">
              <a:extLst>
                <a:ext uri="{FF2B5EF4-FFF2-40B4-BE49-F238E27FC236}">
                  <a16:creationId xmlns:a16="http://schemas.microsoft.com/office/drawing/2014/main" id="{C96EE86B-879D-45F3-A753-A96305882B62}"/>
                </a:ext>
              </a:extLst>
            </p:cNvPr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6727007" y="3376063"/>
              <a:ext cx="471457" cy="403712"/>
            </a:xfrm>
            <a:custGeom>
              <a:avLst/>
              <a:gdLst>
                <a:gd name="T0" fmla="*/ 78300 w 845"/>
                <a:gd name="T1" fmla="*/ 18812 h 720"/>
                <a:gd name="T2" fmla="*/ 88196 w 845"/>
                <a:gd name="T3" fmla="*/ 14631 h 720"/>
                <a:gd name="T4" fmla="*/ 106265 w 845"/>
                <a:gd name="T5" fmla="*/ 0 h 720"/>
                <a:gd name="T6" fmla="*/ 117451 w 845"/>
                <a:gd name="T7" fmla="*/ 6271 h 720"/>
                <a:gd name="T8" fmla="*/ 140683 w 845"/>
                <a:gd name="T9" fmla="*/ 19334 h 720"/>
                <a:gd name="T10" fmla="*/ 163485 w 845"/>
                <a:gd name="T11" fmla="*/ 35011 h 720"/>
                <a:gd name="T12" fmla="*/ 183275 w 845"/>
                <a:gd name="T13" fmla="*/ 51210 h 720"/>
                <a:gd name="T14" fmla="*/ 190158 w 845"/>
                <a:gd name="T15" fmla="*/ 65319 h 720"/>
                <a:gd name="T16" fmla="*/ 190589 w 845"/>
                <a:gd name="T17" fmla="*/ 73157 h 720"/>
                <a:gd name="T18" fmla="*/ 197042 w 845"/>
                <a:gd name="T19" fmla="*/ 76815 h 720"/>
                <a:gd name="T20" fmla="*/ 214681 w 845"/>
                <a:gd name="T21" fmla="*/ 93014 h 720"/>
                <a:gd name="T22" fmla="*/ 217693 w 845"/>
                <a:gd name="T23" fmla="*/ 89879 h 720"/>
                <a:gd name="T24" fmla="*/ 209949 w 845"/>
                <a:gd name="T25" fmla="*/ 96149 h 720"/>
                <a:gd name="T26" fmla="*/ 206937 w 845"/>
                <a:gd name="T27" fmla="*/ 105555 h 720"/>
                <a:gd name="T28" fmla="*/ 206937 w 845"/>
                <a:gd name="T29" fmla="*/ 131683 h 720"/>
                <a:gd name="T30" fmla="*/ 212100 w 845"/>
                <a:gd name="T31" fmla="*/ 137954 h 720"/>
                <a:gd name="T32" fmla="*/ 226297 w 845"/>
                <a:gd name="T33" fmla="*/ 138476 h 720"/>
                <a:gd name="T34" fmla="*/ 234471 w 845"/>
                <a:gd name="T35" fmla="*/ 166694 h 720"/>
                <a:gd name="T36" fmla="*/ 250820 w 845"/>
                <a:gd name="T37" fmla="*/ 188641 h 720"/>
                <a:gd name="T38" fmla="*/ 277494 w 845"/>
                <a:gd name="T39" fmla="*/ 209021 h 720"/>
                <a:gd name="T40" fmla="*/ 317504 w 845"/>
                <a:gd name="T41" fmla="*/ 224697 h 720"/>
                <a:gd name="T42" fmla="*/ 363538 w 845"/>
                <a:gd name="T43" fmla="*/ 234626 h 720"/>
                <a:gd name="T44" fmla="*/ 348910 w 845"/>
                <a:gd name="T45" fmla="*/ 251870 h 720"/>
                <a:gd name="T46" fmla="*/ 314493 w 845"/>
                <a:gd name="T47" fmla="*/ 285836 h 720"/>
                <a:gd name="T48" fmla="*/ 306318 w 845"/>
                <a:gd name="T49" fmla="*/ 302557 h 720"/>
                <a:gd name="T50" fmla="*/ 299865 w 845"/>
                <a:gd name="T51" fmla="*/ 322414 h 720"/>
                <a:gd name="T52" fmla="*/ 289970 w 845"/>
                <a:gd name="T53" fmla="*/ 328685 h 720"/>
                <a:gd name="T54" fmla="*/ 249529 w 845"/>
                <a:gd name="T55" fmla="*/ 342271 h 720"/>
                <a:gd name="T56" fmla="*/ 240494 w 845"/>
                <a:gd name="T57" fmla="*/ 350632 h 720"/>
                <a:gd name="T58" fmla="*/ 225867 w 845"/>
                <a:gd name="T59" fmla="*/ 355857 h 720"/>
                <a:gd name="T60" fmla="*/ 207367 w 845"/>
                <a:gd name="T61" fmla="*/ 362128 h 720"/>
                <a:gd name="T62" fmla="*/ 198333 w 845"/>
                <a:gd name="T63" fmla="*/ 355335 h 720"/>
                <a:gd name="T64" fmla="*/ 183705 w 845"/>
                <a:gd name="T65" fmla="*/ 354812 h 720"/>
                <a:gd name="T66" fmla="*/ 174240 w 845"/>
                <a:gd name="T67" fmla="*/ 365263 h 720"/>
                <a:gd name="T68" fmla="*/ 167787 w 845"/>
                <a:gd name="T69" fmla="*/ 373102 h 720"/>
                <a:gd name="T70" fmla="*/ 154880 w 845"/>
                <a:gd name="T71" fmla="*/ 376237 h 720"/>
                <a:gd name="T72" fmla="*/ 136811 w 845"/>
                <a:gd name="T73" fmla="*/ 373102 h 720"/>
                <a:gd name="T74" fmla="*/ 124334 w 845"/>
                <a:gd name="T75" fmla="*/ 364741 h 720"/>
                <a:gd name="T76" fmla="*/ 105835 w 845"/>
                <a:gd name="T77" fmla="*/ 350632 h 720"/>
                <a:gd name="T78" fmla="*/ 77870 w 845"/>
                <a:gd name="T79" fmla="*/ 345406 h 720"/>
                <a:gd name="T80" fmla="*/ 60231 w 845"/>
                <a:gd name="T81" fmla="*/ 341226 h 720"/>
                <a:gd name="T82" fmla="*/ 64964 w 845"/>
                <a:gd name="T83" fmla="*/ 320847 h 720"/>
                <a:gd name="T84" fmla="*/ 54638 w 845"/>
                <a:gd name="T85" fmla="*/ 311441 h 720"/>
                <a:gd name="T86" fmla="*/ 46464 w 845"/>
                <a:gd name="T87" fmla="*/ 304647 h 720"/>
                <a:gd name="T88" fmla="*/ 40011 w 845"/>
                <a:gd name="T89" fmla="*/ 287926 h 720"/>
                <a:gd name="T90" fmla="*/ 33127 w 845"/>
                <a:gd name="T91" fmla="*/ 267024 h 720"/>
                <a:gd name="T92" fmla="*/ 21081 w 845"/>
                <a:gd name="T93" fmla="*/ 255528 h 720"/>
                <a:gd name="T94" fmla="*/ 6884 w 845"/>
                <a:gd name="T95" fmla="*/ 249257 h 720"/>
                <a:gd name="T96" fmla="*/ 2151 w 845"/>
                <a:gd name="T97" fmla="*/ 246644 h 720"/>
                <a:gd name="T98" fmla="*/ 860 w 845"/>
                <a:gd name="T99" fmla="*/ 234103 h 720"/>
                <a:gd name="T100" fmla="*/ 9035 w 845"/>
                <a:gd name="T101" fmla="*/ 220517 h 720"/>
                <a:gd name="T102" fmla="*/ 23662 w 845"/>
                <a:gd name="T103" fmla="*/ 215814 h 720"/>
                <a:gd name="T104" fmla="*/ 28825 w 845"/>
                <a:gd name="T105" fmla="*/ 167739 h 720"/>
                <a:gd name="T106" fmla="*/ 35278 w 845"/>
                <a:gd name="T107" fmla="*/ 143702 h 720"/>
                <a:gd name="T108" fmla="*/ 40871 w 845"/>
                <a:gd name="T109" fmla="*/ 135863 h 720"/>
                <a:gd name="T110" fmla="*/ 44313 w 845"/>
                <a:gd name="T111" fmla="*/ 123322 h 720"/>
                <a:gd name="T112" fmla="*/ 49906 w 845"/>
                <a:gd name="T113" fmla="*/ 107646 h 720"/>
                <a:gd name="T114" fmla="*/ 63673 w 845"/>
                <a:gd name="T115" fmla="*/ 93014 h 720"/>
                <a:gd name="T116" fmla="*/ 71847 w 845"/>
                <a:gd name="T117" fmla="*/ 83608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7" name="Line 359">
              <a:extLst>
                <a:ext uri="{FF2B5EF4-FFF2-40B4-BE49-F238E27FC236}">
                  <a16:creationId xmlns:a16="http://schemas.microsoft.com/office/drawing/2014/main" id="{2CD20139-03F4-424F-83CE-91E47AC09DA8}"/>
                </a:ext>
              </a:extLst>
            </p:cNvPr>
            <p:cNvSpPr>
              <a:spLocks noChangeShapeType="1"/>
            </p:cNvSpPr>
            <p:nvPr>
              <p:custDataLst>
                <p:tags r:id="rId261"/>
              </p:custDataLst>
            </p:nvPr>
          </p:nvSpPr>
          <p:spPr bwMode="auto">
            <a:xfrm flipH="1">
              <a:off x="2654772" y="3933083"/>
              <a:ext cx="6177" cy="851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8" name="Freeform 360">
              <a:extLst>
                <a:ext uri="{FF2B5EF4-FFF2-40B4-BE49-F238E27FC236}">
                  <a16:creationId xmlns:a16="http://schemas.microsoft.com/office/drawing/2014/main" id="{6AC808EB-7442-4CB7-A152-8576B9B4FA11}"/>
                </a:ext>
              </a:extLst>
            </p:cNvPr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2654772" y="3941601"/>
              <a:ext cx="16470" cy="63027"/>
            </a:xfrm>
            <a:custGeom>
              <a:avLst/>
              <a:gdLst>
                <a:gd name="T0" fmla="*/ 0 w 33"/>
                <a:gd name="T1" fmla="*/ 0 h 6"/>
                <a:gd name="T2" fmla="*/ 2694 w 33"/>
                <a:gd name="T3" fmla="*/ 9790 h 6"/>
                <a:gd name="T4" fmla="*/ 5773 w 33"/>
                <a:gd name="T5" fmla="*/ 29369 h 6"/>
                <a:gd name="T6" fmla="*/ 8852 w 33"/>
                <a:gd name="T7" fmla="*/ 48948 h 6"/>
                <a:gd name="T8" fmla="*/ 12700 w 33"/>
                <a:gd name="T9" fmla="*/ 5873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9" name="Freeform 361">
              <a:extLst>
                <a:ext uri="{FF2B5EF4-FFF2-40B4-BE49-F238E27FC236}">
                  <a16:creationId xmlns:a16="http://schemas.microsoft.com/office/drawing/2014/main" id="{9EE77413-EC53-4F94-AFF6-8C07049C7CDA}"/>
                </a:ext>
              </a:extLst>
            </p:cNvPr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2665067" y="3927973"/>
              <a:ext cx="6176" cy="61324"/>
            </a:xfrm>
            <a:custGeom>
              <a:avLst/>
              <a:gdLst>
                <a:gd name="T0" fmla="*/ 4762 w 13"/>
                <a:gd name="T1" fmla="*/ 57150 h 30"/>
                <a:gd name="T2" fmla="*/ 476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270" name="Group 362">
              <a:extLst>
                <a:ext uri="{FF2B5EF4-FFF2-40B4-BE49-F238E27FC236}">
                  <a16:creationId xmlns:a16="http://schemas.microsoft.com/office/drawing/2014/main" id="{FD76CDA3-378D-426B-884D-66C54A579CCA}"/>
                </a:ext>
              </a:extLst>
            </p:cNvPr>
            <p:cNvGrpSpPr>
              <a:grpSpLocks/>
            </p:cNvGrpSpPr>
            <p:nvPr>
              <p:custDataLst>
                <p:tags r:id="rId264"/>
              </p:custDataLst>
            </p:nvPr>
          </p:nvGrpSpPr>
          <p:grpSpPr bwMode="auto">
            <a:xfrm>
              <a:off x="2654772" y="3858132"/>
              <a:ext cx="541455" cy="216337"/>
              <a:chOff x="912" y="2626"/>
              <a:chExt cx="311" cy="127"/>
            </a:xfrm>
          </p:grpSpPr>
          <p:sp>
            <p:nvSpPr>
              <p:cNvPr id="455" name="Freeform 363">
                <a:extLst>
                  <a:ext uri="{FF2B5EF4-FFF2-40B4-BE49-F238E27FC236}">
                    <a16:creationId xmlns:a16="http://schemas.microsoft.com/office/drawing/2014/main" id="{91100422-3F0E-4F65-B610-622379633A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56" name="Freeform 364">
                <a:extLst>
                  <a:ext uri="{FF2B5EF4-FFF2-40B4-BE49-F238E27FC236}">
                    <a16:creationId xmlns:a16="http://schemas.microsoft.com/office/drawing/2014/main" id="{67E15068-56B7-4912-84FA-8BCABC6C1F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57" name="Freeform 365">
                <a:extLst>
                  <a:ext uri="{FF2B5EF4-FFF2-40B4-BE49-F238E27FC236}">
                    <a16:creationId xmlns:a16="http://schemas.microsoft.com/office/drawing/2014/main" id="{53D99AB3-BE09-4C88-97F6-27E2B6A1D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271" name="Freeform 366">
              <a:extLst>
                <a:ext uri="{FF2B5EF4-FFF2-40B4-BE49-F238E27FC236}">
                  <a16:creationId xmlns:a16="http://schemas.microsoft.com/office/drawing/2014/main" id="{0EC48369-4D90-4E7D-8669-AD514693416E}"/>
                </a:ext>
              </a:extLst>
            </p:cNvPr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7385811" y="4628081"/>
              <a:ext cx="24705" cy="63028"/>
            </a:xfrm>
            <a:custGeom>
              <a:avLst/>
              <a:gdLst>
                <a:gd name="T0" fmla="*/ 5269 w 47"/>
                <a:gd name="T1" fmla="*/ 0 h 28"/>
                <a:gd name="T2" fmla="*/ 10133 w 47"/>
                <a:gd name="T3" fmla="*/ 0 h 28"/>
                <a:gd name="T4" fmla="*/ 12565 w 47"/>
                <a:gd name="T5" fmla="*/ 4196 h 28"/>
                <a:gd name="T6" fmla="*/ 13376 w 47"/>
                <a:gd name="T7" fmla="*/ 8391 h 28"/>
                <a:gd name="T8" fmla="*/ 13376 w 47"/>
                <a:gd name="T9" fmla="*/ 12587 h 28"/>
                <a:gd name="T10" fmla="*/ 12970 w 47"/>
                <a:gd name="T11" fmla="*/ 16782 h 28"/>
                <a:gd name="T12" fmla="*/ 13376 w 47"/>
                <a:gd name="T13" fmla="*/ 20978 h 28"/>
                <a:gd name="T14" fmla="*/ 14997 w 47"/>
                <a:gd name="T15" fmla="*/ 25173 h 28"/>
                <a:gd name="T16" fmla="*/ 19050 w 47"/>
                <a:gd name="T17" fmla="*/ 25173 h 28"/>
                <a:gd name="T18" fmla="*/ 17023 w 47"/>
                <a:gd name="T19" fmla="*/ 39858 h 28"/>
                <a:gd name="T20" fmla="*/ 14997 w 47"/>
                <a:gd name="T21" fmla="*/ 52445 h 28"/>
                <a:gd name="T22" fmla="*/ 13376 w 47"/>
                <a:gd name="T23" fmla="*/ 56640 h 28"/>
                <a:gd name="T24" fmla="*/ 11349 w 47"/>
                <a:gd name="T25" fmla="*/ 58738 h 28"/>
                <a:gd name="T26" fmla="*/ 6485 w 47"/>
                <a:gd name="T27" fmla="*/ 56640 h 28"/>
                <a:gd name="T28" fmla="*/ 0 w 47"/>
                <a:gd name="T29" fmla="*/ 52445 h 28"/>
                <a:gd name="T30" fmla="*/ 405 w 47"/>
                <a:gd name="T31" fmla="*/ 39858 h 28"/>
                <a:gd name="T32" fmla="*/ 811 w 47"/>
                <a:gd name="T33" fmla="*/ 31467 h 28"/>
                <a:gd name="T34" fmla="*/ 1621 w 47"/>
                <a:gd name="T35" fmla="*/ 27271 h 28"/>
                <a:gd name="T36" fmla="*/ 2432 w 47"/>
                <a:gd name="T37" fmla="*/ 25173 h 28"/>
                <a:gd name="T38" fmla="*/ 3648 w 47"/>
                <a:gd name="T39" fmla="*/ 23076 h 28"/>
                <a:gd name="T40" fmla="*/ 4459 w 47"/>
                <a:gd name="T41" fmla="*/ 18880 h 28"/>
                <a:gd name="T42" fmla="*/ 5269 w 47"/>
                <a:gd name="T43" fmla="*/ 10489 h 28"/>
                <a:gd name="T44" fmla="*/ 5269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72" name="Freeform 367">
              <a:extLst>
                <a:ext uri="{FF2B5EF4-FFF2-40B4-BE49-F238E27FC236}">
                  <a16:creationId xmlns:a16="http://schemas.microsoft.com/office/drawing/2014/main" id="{0ED18ED6-27B4-4EF7-B74C-B5EEB162EFFC}"/>
                </a:ext>
              </a:extLst>
            </p:cNvPr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7348753" y="4657040"/>
              <a:ext cx="30882" cy="61324"/>
            </a:xfrm>
            <a:custGeom>
              <a:avLst/>
              <a:gdLst>
                <a:gd name="T0" fmla="*/ 5841 w 53"/>
                <a:gd name="T1" fmla="*/ 0 h 33"/>
                <a:gd name="T2" fmla="*/ 11682 w 53"/>
                <a:gd name="T3" fmla="*/ 1732 h 33"/>
                <a:gd name="T4" fmla="*/ 15276 w 53"/>
                <a:gd name="T5" fmla="*/ 1732 h 33"/>
                <a:gd name="T6" fmla="*/ 16624 w 53"/>
                <a:gd name="T7" fmla="*/ 5195 h 33"/>
                <a:gd name="T8" fmla="*/ 16624 w 53"/>
                <a:gd name="T9" fmla="*/ 6927 h 33"/>
                <a:gd name="T10" fmla="*/ 16624 w 53"/>
                <a:gd name="T11" fmla="*/ 10391 h 33"/>
                <a:gd name="T12" fmla="*/ 17523 w 53"/>
                <a:gd name="T13" fmla="*/ 13855 h 33"/>
                <a:gd name="T14" fmla="*/ 19769 w 53"/>
                <a:gd name="T15" fmla="*/ 17318 h 33"/>
                <a:gd name="T16" fmla="*/ 23813 w 53"/>
                <a:gd name="T17" fmla="*/ 20782 h 33"/>
                <a:gd name="T18" fmla="*/ 21566 w 53"/>
                <a:gd name="T19" fmla="*/ 38100 h 33"/>
                <a:gd name="T20" fmla="*/ 19769 w 53"/>
                <a:gd name="T21" fmla="*/ 48491 h 33"/>
                <a:gd name="T22" fmla="*/ 18871 w 53"/>
                <a:gd name="T23" fmla="*/ 53686 h 33"/>
                <a:gd name="T24" fmla="*/ 17073 w 53"/>
                <a:gd name="T25" fmla="*/ 55418 h 33"/>
                <a:gd name="T26" fmla="*/ 16175 w 53"/>
                <a:gd name="T27" fmla="*/ 57150 h 33"/>
                <a:gd name="T28" fmla="*/ 15276 w 53"/>
                <a:gd name="T29" fmla="*/ 57150 h 33"/>
                <a:gd name="T30" fmla="*/ 8986 w 53"/>
                <a:gd name="T31" fmla="*/ 51955 h 33"/>
                <a:gd name="T32" fmla="*/ 0 w 53"/>
                <a:gd name="T33" fmla="*/ 41564 h 33"/>
                <a:gd name="T34" fmla="*/ 0 w 53"/>
                <a:gd name="T35" fmla="*/ 32905 h 33"/>
                <a:gd name="T36" fmla="*/ 899 w 53"/>
                <a:gd name="T37" fmla="*/ 27709 h 33"/>
                <a:gd name="T38" fmla="*/ 1797 w 53"/>
                <a:gd name="T39" fmla="*/ 24245 h 33"/>
                <a:gd name="T40" fmla="*/ 3145 w 53"/>
                <a:gd name="T41" fmla="*/ 20782 h 33"/>
                <a:gd name="T42" fmla="*/ 4044 w 53"/>
                <a:gd name="T43" fmla="*/ 19050 h 33"/>
                <a:gd name="T44" fmla="*/ 4942 w 53"/>
                <a:gd name="T45" fmla="*/ 15586 h 33"/>
                <a:gd name="T46" fmla="*/ 5392 w 53"/>
                <a:gd name="T47" fmla="*/ 10391 h 33"/>
                <a:gd name="T48" fmla="*/ 5841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273" name="Group 368">
              <a:extLst>
                <a:ext uri="{FF2B5EF4-FFF2-40B4-BE49-F238E27FC236}">
                  <a16:creationId xmlns:a16="http://schemas.microsoft.com/office/drawing/2014/main" id="{482206BE-9B3D-441A-8C9B-0E3EC00B44FD}"/>
                </a:ext>
              </a:extLst>
            </p:cNvPr>
            <p:cNvGrpSpPr>
              <a:grpSpLocks/>
            </p:cNvGrpSpPr>
            <p:nvPr>
              <p:custDataLst>
                <p:tags r:id="rId267"/>
              </p:custDataLst>
            </p:nvPr>
          </p:nvGrpSpPr>
          <p:grpSpPr bwMode="auto">
            <a:xfrm>
              <a:off x="7142878" y="4111943"/>
              <a:ext cx="218229" cy="110722"/>
              <a:chOff x="3481" y="2773"/>
              <a:chExt cx="125" cy="65"/>
            </a:xfrm>
          </p:grpSpPr>
          <p:sp>
            <p:nvSpPr>
              <p:cNvPr id="444" name="Freeform 369">
                <a:extLst>
                  <a:ext uri="{FF2B5EF4-FFF2-40B4-BE49-F238E27FC236}">
                    <a16:creationId xmlns:a16="http://schemas.microsoft.com/office/drawing/2014/main" id="{336688F4-412F-4C40-B790-EF5C1AF43A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45" name="Line 370">
                <a:extLst>
                  <a:ext uri="{FF2B5EF4-FFF2-40B4-BE49-F238E27FC236}">
                    <a16:creationId xmlns:a16="http://schemas.microsoft.com/office/drawing/2014/main" id="{70DA6224-3DE0-4D93-8276-80FC5C0629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46" name="Freeform 371">
                <a:extLst>
                  <a:ext uri="{FF2B5EF4-FFF2-40B4-BE49-F238E27FC236}">
                    <a16:creationId xmlns:a16="http://schemas.microsoft.com/office/drawing/2014/main" id="{2BCEAE09-EEC3-4F5D-9867-0ACE1280B6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47" name="Freeform 372">
                <a:extLst>
                  <a:ext uri="{FF2B5EF4-FFF2-40B4-BE49-F238E27FC236}">
                    <a16:creationId xmlns:a16="http://schemas.microsoft.com/office/drawing/2014/main" id="{35619167-6701-470B-B825-2FD96EF3D1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48" name="Freeform 373">
                <a:extLst>
                  <a:ext uri="{FF2B5EF4-FFF2-40B4-BE49-F238E27FC236}">
                    <a16:creationId xmlns:a16="http://schemas.microsoft.com/office/drawing/2014/main" id="{E8839C8A-2D70-42B8-BE9A-72A11CDBC0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49" name="Line 374">
                <a:extLst>
                  <a:ext uri="{FF2B5EF4-FFF2-40B4-BE49-F238E27FC236}">
                    <a16:creationId xmlns:a16="http://schemas.microsoft.com/office/drawing/2014/main" id="{455F1555-7124-42FF-AE96-072D33352CB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50" name="Freeform 375">
                <a:extLst>
                  <a:ext uri="{FF2B5EF4-FFF2-40B4-BE49-F238E27FC236}">
                    <a16:creationId xmlns:a16="http://schemas.microsoft.com/office/drawing/2014/main" id="{7BB4BBCE-19C6-45A9-9F22-AE1F046A01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51" name="Freeform 376">
                <a:extLst>
                  <a:ext uri="{FF2B5EF4-FFF2-40B4-BE49-F238E27FC236}">
                    <a16:creationId xmlns:a16="http://schemas.microsoft.com/office/drawing/2014/main" id="{16F33D0E-EAF8-4480-B2D7-2AE3705509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52" name="Freeform 377">
                <a:extLst>
                  <a:ext uri="{FF2B5EF4-FFF2-40B4-BE49-F238E27FC236}">
                    <a16:creationId xmlns:a16="http://schemas.microsoft.com/office/drawing/2014/main" id="{13CAF4FD-2D25-47D2-BD57-8CD2518422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53" name="Freeform 378">
                <a:extLst>
                  <a:ext uri="{FF2B5EF4-FFF2-40B4-BE49-F238E27FC236}">
                    <a16:creationId xmlns:a16="http://schemas.microsoft.com/office/drawing/2014/main" id="{E6543338-84EC-4E79-B4F0-276AA62B1F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54" name="Freeform 379">
                <a:extLst>
                  <a:ext uri="{FF2B5EF4-FFF2-40B4-BE49-F238E27FC236}">
                    <a16:creationId xmlns:a16="http://schemas.microsoft.com/office/drawing/2014/main" id="{4C5387E7-7507-42FC-8026-6061EFA2F9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274" name="Freeform 380">
              <a:extLst>
                <a:ext uri="{FF2B5EF4-FFF2-40B4-BE49-F238E27FC236}">
                  <a16:creationId xmlns:a16="http://schemas.microsoft.com/office/drawing/2014/main" id="{FF0DD71F-85E9-42D5-9248-B0045233F280}"/>
                </a:ext>
              </a:extLst>
            </p:cNvPr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6012617" y="4103425"/>
              <a:ext cx="413811" cy="407120"/>
            </a:xfrm>
            <a:custGeom>
              <a:avLst/>
              <a:gdLst>
                <a:gd name="T0" fmla="*/ 26013 w 736"/>
                <a:gd name="T1" fmla="*/ 360469 h 721"/>
                <a:gd name="T2" fmla="*/ 39452 w 736"/>
                <a:gd name="T3" fmla="*/ 351523 h 721"/>
                <a:gd name="T4" fmla="*/ 54626 w 736"/>
                <a:gd name="T5" fmla="*/ 351523 h 721"/>
                <a:gd name="T6" fmla="*/ 84974 w 736"/>
                <a:gd name="T7" fmla="*/ 364152 h 721"/>
                <a:gd name="T8" fmla="*/ 106218 w 736"/>
                <a:gd name="T9" fmla="*/ 370993 h 721"/>
                <a:gd name="T10" fmla="*/ 126594 w 736"/>
                <a:gd name="T11" fmla="*/ 369941 h 721"/>
                <a:gd name="T12" fmla="*/ 264894 w 736"/>
                <a:gd name="T13" fmla="*/ 377308 h 721"/>
                <a:gd name="T14" fmla="*/ 282236 w 736"/>
                <a:gd name="T15" fmla="*/ 372046 h 721"/>
                <a:gd name="T16" fmla="*/ 271831 w 736"/>
                <a:gd name="T17" fmla="*/ 345734 h 721"/>
                <a:gd name="T18" fmla="*/ 287872 w 736"/>
                <a:gd name="T19" fmla="*/ 227858 h 721"/>
                <a:gd name="T20" fmla="*/ 307381 w 736"/>
                <a:gd name="T21" fmla="*/ 225753 h 721"/>
                <a:gd name="T22" fmla="*/ 313451 w 736"/>
                <a:gd name="T23" fmla="*/ 218912 h 721"/>
                <a:gd name="T24" fmla="*/ 318220 w 736"/>
                <a:gd name="T25" fmla="*/ 189443 h 721"/>
                <a:gd name="T26" fmla="*/ 313017 w 736"/>
                <a:gd name="T27" fmla="*/ 158922 h 721"/>
                <a:gd name="T28" fmla="*/ 306948 w 736"/>
                <a:gd name="T29" fmla="*/ 159974 h 721"/>
                <a:gd name="T30" fmla="*/ 293074 w 736"/>
                <a:gd name="T31" fmla="*/ 157869 h 721"/>
                <a:gd name="T32" fmla="*/ 274866 w 736"/>
                <a:gd name="T33" fmla="*/ 157343 h 721"/>
                <a:gd name="T34" fmla="*/ 270097 w 736"/>
                <a:gd name="T35" fmla="*/ 152607 h 721"/>
                <a:gd name="T36" fmla="*/ 267495 w 736"/>
                <a:gd name="T37" fmla="*/ 133137 h 721"/>
                <a:gd name="T38" fmla="*/ 263160 w 736"/>
                <a:gd name="T39" fmla="*/ 115245 h 721"/>
                <a:gd name="T40" fmla="*/ 258825 w 736"/>
                <a:gd name="T41" fmla="*/ 97879 h 721"/>
                <a:gd name="T42" fmla="*/ 263160 w 736"/>
                <a:gd name="T43" fmla="*/ 87881 h 721"/>
                <a:gd name="T44" fmla="*/ 267495 w 736"/>
                <a:gd name="T45" fmla="*/ 77882 h 721"/>
                <a:gd name="T46" fmla="*/ 264894 w 736"/>
                <a:gd name="T47" fmla="*/ 52623 h 721"/>
                <a:gd name="T48" fmla="*/ 235847 w 736"/>
                <a:gd name="T49" fmla="*/ 36836 h 721"/>
                <a:gd name="T50" fmla="*/ 206800 w 736"/>
                <a:gd name="T51" fmla="*/ 34731 h 721"/>
                <a:gd name="T52" fmla="*/ 204198 w 736"/>
                <a:gd name="T53" fmla="*/ 42625 h 721"/>
                <a:gd name="T54" fmla="*/ 200730 w 736"/>
                <a:gd name="T55" fmla="*/ 53149 h 721"/>
                <a:gd name="T56" fmla="*/ 190759 w 736"/>
                <a:gd name="T57" fmla="*/ 64200 h 721"/>
                <a:gd name="T58" fmla="*/ 169949 w 736"/>
                <a:gd name="T59" fmla="*/ 68410 h 721"/>
                <a:gd name="T60" fmla="*/ 157809 w 736"/>
                <a:gd name="T61" fmla="*/ 60517 h 721"/>
                <a:gd name="T62" fmla="*/ 146971 w 736"/>
                <a:gd name="T63" fmla="*/ 43151 h 721"/>
                <a:gd name="T64" fmla="*/ 138300 w 736"/>
                <a:gd name="T65" fmla="*/ 20523 h 721"/>
                <a:gd name="T66" fmla="*/ 135265 w 736"/>
                <a:gd name="T67" fmla="*/ 0 h 721"/>
                <a:gd name="T68" fmla="*/ 13006 w 736"/>
                <a:gd name="T69" fmla="*/ 7893 h 721"/>
                <a:gd name="T70" fmla="*/ 20376 w 736"/>
                <a:gd name="T71" fmla="*/ 15261 h 721"/>
                <a:gd name="T72" fmla="*/ 32516 w 736"/>
                <a:gd name="T73" fmla="*/ 39467 h 721"/>
                <a:gd name="T74" fmla="*/ 44221 w 736"/>
                <a:gd name="T75" fmla="*/ 68410 h 721"/>
                <a:gd name="T76" fmla="*/ 44655 w 736"/>
                <a:gd name="T77" fmla="*/ 89986 h 721"/>
                <a:gd name="T78" fmla="*/ 40319 w 736"/>
                <a:gd name="T79" fmla="*/ 106825 h 721"/>
                <a:gd name="T80" fmla="*/ 41620 w 736"/>
                <a:gd name="T81" fmla="*/ 120507 h 721"/>
                <a:gd name="T82" fmla="*/ 51592 w 736"/>
                <a:gd name="T83" fmla="*/ 143135 h 721"/>
                <a:gd name="T84" fmla="*/ 56794 w 736"/>
                <a:gd name="T85" fmla="*/ 161553 h 721"/>
                <a:gd name="T86" fmla="*/ 55060 w 736"/>
                <a:gd name="T87" fmla="*/ 185234 h 721"/>
                <a:gd name="T88" fmla="*/ 45955 w 736"/>
                <a:gd name="T89" fmla="*/ 212071 h 721"/>
                <a:gd name="T90" fmla="*/ 33383 w 736"/>
                <a:gd name="T91" fmla="*/ 234699 h 721"/>
                <a:gd name="T92" fmla="*/ 17775 w 736"/>
                <a:gd name="T93" fmla="*/ 251012 h 721"/>
                <a:gd name="T94" fmla="*/ 10839 w 736"/>
                <a:gd name="T95" fmla="*/ 311003 h 721"/>
                <a:gd name="T96" fmla="*/ 4769 w 736"/>
                <a:gd name="T97" fmla="*/ 3299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75" name="Freeform 381">
              <a:extLst>
                <a:ext uri="{FF2B5EF4-FFF2-40B4-BE49-F238E27FC236}">
                  <a16:creationId xmlns:a16="http://schemas.microsoft.com/office/drawing/2014/main" id="{AEEBB16D-ED49-4863-8AB7-ED3D5CE6EFB6}"/>
                </a:ext>
              </a:extLst>
            </p:cNvPr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6027028" y="4074468"/>
              <a:ext cx="20588" cy="64731"/>
            </a:xfrm>
            <a:custGeom>
              <a:avLst/>
              <a:gdLst>
                <a:gd name="T0" fmla="*/ 0 w 39"/>
                <a:gd name="T1" fmla="*/ 60325 h 31"/>
                <a:gd name="T2" fmla="*/ 4885 w 39"/>
                <a:gd name="T3" fmla="*/ 54487 h 31"/>
                <a:gd name="T4" fmla="*/ 8955 w 39"/>
                <a:gd name="T5" fmla="*/ 54487 h 31"/>
                <a:gd name="T6" fmla="*/ 10583 w 39"/>
                <a:gd name="T7" fmla="*/ 54487 h 31"/>
                <a:gd name="T8" fmla="*/ 12212 w 39"/>
                <a:gd name="T9" fmla="*/ 54487 h 31"/>
                <a:gd name="T10" fmla="*/ 14247 w 39"/>
                <a:gd name="T11" fmla="*/ 52541 h 31"/>
                <a:gd name="T12" fmla="*/ 15875 w 39"/>
                <a:gd name="T13" fmla="*/ 48649 h 31"/>
                <a:gd name="T14" fmla="*/ 15875 w 39"/>
                <a:gd name="T15" fmla="*/ 0 h 31"/>
                <a:gd name="T16" fmla="*/ 10583 w 39"/>
                <a:gd name="T17" fmla="*/ 0 h 31"/>
                <a:gd name="T18" fmla="*/ 6920 w 39"/>
                <a:gd name="T19" fmla="*/ 0 h 31"/>
                <a:gd name="T20" fmla="*/ 3256 w 39"/>
                <a:gd name="T21" fmla="*/ 0 h 31"/>
                <a:gd name="T22" fmla="*/ 0 w 39"/>
                <a:gd name="T23" fmla="*/ 0 h 31"/>
                <a:gd name="T24" fmla="*/ 0 w 39"/>
                <a:gd name="T25" fmla="*/ 60325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76" name="Freeform 382">
              <a:extLst>
                <a:ext uri="{FF2B5EF4-FFF2-40B4-BE49-F238E27FC236}">
                  <a16:creationId xmlns:a16="http://schemas.microsoft.com/office/drawing/2014/main" id="{0D15A697-BF59-4CCF-886B-86A32356DE31}"/>
                </a:ext>
              </a:extLst>
            </p:cNvPr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6158789" y="4657040"/>
              <a:ext cx="514692" cy="427560"/>
            </a:xfrm>
            <a:custGeom>
              <a:avLst/>
              <a:gdLst>
                <a:gd name="T0" fmla="*/ 395117 w 903"/>
                <a:gd name="T1" fmla="*/ 152770 h 759"/>
                <a:gd name="T2" fmla="*/ 379295 w 903"/>
                <a:gd name="T3" fmla="*/ 203693 h 759"/>
                <a:gd name="T4" fmla="*/ 365670 w 903"/>
                <a:gd name="T5" fmla="*/ 217343 h 759"/>
                <a:gd name="T6" fmla="*/ 334465 w 903"/>
                <a:gd name="T7" fmla="*/ 266166 h 759"/>
                <a:gd name="T8" fmla="*/ 316445 w 903"/>
                <a:gd name="T9" fmla="*/ 294515 h 759"/>
                <a:gd name="T10" fmla="*/ 284361 w 903"/>
                <a:gd name="T11" fmla="*/ 321815 h 759"/>
                <a:gd name="T12" fmla="*/ 256233 w 903"/>
                <a:gd name="T13" fmla="*/ 349639 h 759"/>
                <a:gd name="T14" fmla="*/ 244806 w 903"/>
                <a:gd name="T15" fmla="*/ 366438 h 759"/>
                <a:gd name="T16" fmla="*/ 228544 w 903"/>
                <a:gd name="T17" fmla="*/ 370113 h 759"/>
                <a:gd name="T18" fmla="*/ 217996 w 903"/>
                <a:gd name="T19" fmla="*/ 372738 h 759"/>
                <a:gd name="T20" fmla="*/ 213161 w 903"/>
                <a:gd name="T21" fmla="*/ 381663 h 759"/>
                <a:gd name="T22" fmla="*/ 163497 w 903"/>
                <a:gd name="T23" fmla="*/ 381663 h 759"/>
                <a:gd name="T24" fmla="*/ 148993 w 903"/>
                <a:gd name="T25" fmla="*/ 384287 h 759"/>
                <a:gd name="T26" fmla="*/ 138884 w 903"/>
                <a:gd name="T27" fmla="*/ 384287 h 759"/>
                <a:gd name="T28" fmla="*/ 125699 w 903"/>
                <a:gd name="T29" fmla="*/ 381663 h 759"/>
                <a:gd name="T30" fmla="*/ 115590 w 903"/>
                <a:gd name="T31" fmla="*/ 386912 h 759"/>
                <a:gd name="T32" fmla="*/ 64168 w 903"/>
                <a:gd name="T33" fmla="*/ 398462 h 759"/>
                <a:gd name="T34" fmla="*/ 50983 w 903"/>
                <a:gd name="T35" fmla="*/ 395312 h 759"/>
                <a:gd name="T36" fmla="*/ 39556 w 903"/>
                <a:gd name="T37" fmla="*/ 387962 h 759"/>
                <a:gd name="T38" fmla="*/ 33403 w 903"/>
                <a:gd name="T39" fmla="*/ 377463 h 759"/>
                <a:gd name="T40" fmla="*/ 34721 w 903"/>
                <a:gd name="T41" fmla="*/ 365913 h 759"/>
                <a:gd name="T42" fmla="*/ 32963 w 903"/>
                <a:gd name="T43" fmla="*/ 329689 h 759"/>
                <a:gd name="T44" fmla="*/ 34721 w 903"/>
                <a:gd name="T45" fmla="*/ 319190 h 759"/>
                <a:gd name="T46" fmla="*/ 29886 w 903"/>
                <a:gd name="T47" fmla="*/ 300290 h 759"/>
                <a:gd name="T48" fmla="*/ 9669 w 903"/>
                <a:gd name="T49" fmla="*/ 270891 h 759"/>
                <a:gd name="T50" fmla="*/ 5274 w 903"/>
                <a:gd name="T51" fmla="*/ 254092 h 759"/>
                <a:gd name="T52" fmla="*/ 4395 w 903"/>
                <a:gd name="T53" fmla="*/ 230467 h 759"/>
                <a:gd name="T54" fmla="*/ 0 w 903"/>
                <a:gd name="T55" fmla="*/ 197919 h 759"/>
                <a:gd name="T56" fmla="*/ 17141 w 903"/>
                <a:gd name="T57" fmla="*/ 197919 h 759"/>
                <a:gd name="T58" fmla="*/ 25052 w 903"/>
                <a:gd name="T59" fmla="*/ 207893 h 759"/>
                <a:gd name="T60" fmla="*/ 41314 w 903"/>
                <a:gd name="T61" fmla="*/ 215243 h 759"/>
                <a:gd name="T62" fmla="*/ 59333 w 903"/>
                <a:gd name="T63" fmla="*/ 215768 h 759"/>
                <a:gd name="T64" fmla="*/ 70321 w 903"/>
                <a:gd name="T65" fmla="*/ 209993 h 759"/>
                <a:gd name="T66" fmla="*/ 79990 w 903"/>
                <a:gd name="T67" fmla="*/ 195294 h 759"/>
                <a:gd name="T68" fmla="*/ 86583 w 903"/>
                <a:gd name="T69" fmla="*/ 120221 h 759"/>
                <a:gd name="T70" fmla="*/ 89659 w 903"/>
                <a:gd name="T71" fmla="*/ 96597 h 759"/>
                <a:gd name="T72" fmla="*/ 92297 w 903"/>
                <a:gd name="T73" fmla="*/ 88197 h 759"/>
                <a:gd name="T74" fmla="*/ 105042 w 903"/>
                <a:gd name="T75" fmla="*/ 93447 h 759"/>
                <a:gd name="T76" fmla="*/ 107679 w 903"/>
                <a:gd name="T77" fmla="*/ 124946 h 759"/>
                <a:gd name="T78" fmla="*/ 108558 w 903"/>
                <a:gd name="T79" fmla="*/ 143845 h 759"/>
                <a:gd name="T80" fmla="*/ 112514 w 903"/>
                <a:gd name="T81" fmla="*/ 150670 h 759"/>
                <a:gd name="T82" fmla="*/ 126139 w 903"/>
                <a:gd name="T83" fmla="*/ 154870 h 759"/>
                <a:gd name="T84" fmla="*/ 137126 w 903"/>
                <a:gd name="T85" fmla="*/ 153820 h 759"/>
                <a:gd name="T86" fmla="*/ 146356 w 903"/>
                <a:gd name="T87" fmla="*/ 142795 h 759"/>
                <a:gd name="T88" fmla="*/ 153828 w 903"/>
                <a:gd name="T89" fmla="*/ 122846 h 759"/>
                <a:gd name="T90" fmla="*/ 161739 w 903"/>
                <a:gd name="T91" fmla="*/ 105522 h 759"/>
                <a:gd name="T92" fmla="*/ 170089 w 903"/>
                <a:gd name="T93" fmla="*/ 100272 h 759"/>
                <a:gd name="T94" fmla="*/ 181956 w 903"/>
                <a:gd name="T95" fmla="*/ 101322 h 759"/>
                <a:gd name="T96" fmla="*/ 198218 w 903"/>
                <a:gd name="T97" fmla="*/ 109196 h 759"/>
                <a:gd name="T98" fmla="*/ 210084 w 903"/>
                <a:gd name="T99" fmla="*/ 113396 h 759"/>
                <a:gd name="T100" fmla="*/ 225028 w 903"/>
                <a:gd name="T101" fmla="*/ 111821 h 759"/>
                <a:gd name="T102" fmla="*/ 233378 w 903"/>
                <a:gd name="T103" fmla="*/ 104997 h 759"/>
                <a:gd name="T104" fmla="*/ 247882 w 903"/>
                <a:gd name="T105" fmla="*/ 66673 h 759"/>
                <a:gd name="T106" fmla="*/ 272494 w 903"/>
                <a:gd name="T107" fmla="*/ 41999 h 759"/>
                <a:gd name="T108" fmla="*/ 321719 w 903"/>
                <a:gd name="T109" fmla="*/ 5775 h 759"/>
                <a:gd name="T110" fmla="*/ 354243 w 903"/>
                <a:gd name="T111" fmla="*/ 1575 h 759"/>
                <a:gd name="T112" fmla="*/ 364791 w 903"/>
                <a:gd name="T113" fmla="*/ 3150 h 759"/>
                <a:gd name="T114" fmla="*/ 375339 w 903"/>
                <a:gd name="T115" fmla="*/ 18374 h 759"/>
                <a:gd name="T116" fmla="*/ 383690 w 903"/>
                <a:gd name="T117" fmla="*/ 37274 h 759"/>
                <a:gd name="T118" fmla="*/ 388085 w 903"/>
                <a:gd name="T119" fmla="*/ 56173 h 759"/>
                <a:gd name="T120" fmla="*/ 381492 w 903"/>
                <a:gd name="T121" fmla="*/ 108671 h 759"/>
                <a:gd name="T122" fmla="*/ 364791 w 903"/>
                <a:gd name="T123" fmla="*/ 107097 h 759"/>
                <a:gd name="T124" fmla="*/ 363033 w 903"/>
                <a:gd name="T125" fmla="*/ 14752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77" name="Freeform 383">
              <a:extLst>
                <a:ext uri="{FF2B5EF4-FFF2-40B4-BE49-F238E27FC236}">
                  <a16:creationId xmlns:a16="http://schemas.microsoft.com/office/drawing/2014/main" id="{58F50403-1BC8-42E5-8D7A-82582249A37F}"/>
                </a:ext>
              </a:extLst>
            </p:cNvPr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6350255" y="3120549"/>
              <a:ext cx="533220" cy="655819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278" name="Group 384">
              <a:extLst>
                <a:ext uri="{FF2B5EF4-FFF2-40B4-BE49-F238E27FC236}">
                  <a16:creationId xmlns:a16="http://schemas.microsoft.com/office/drawing/2014/main" id="{BAD3CFE0-F50B-4778-90AF-9BDA10627569}"/>
                </a:ext>
              </a:extLst>
            </p:cNvPr>
            <p:cNvGrpSpPr>
              <a:grpSpLocks/>
            </p:cNvGrpSpPr>
            <p:nvPr>
              <p:custDataLst>
                <p:tags r:id="rId272"/>
              </p:custDataLst>
            </p:nvPr>
          </p:nvGrpSpPr>
          <p:grpSpPr bwMode="auto">
            <a:xfrm>
              <a:off x="4773241" y="3336883"/>
              <a:ext cx="104996" cy="88578"/>
              <a:chOff x="2352" y="2343"/>
              <a:chExt cx="65" cy="53"/>
            </a:xfrm>
          </p:grpSpPr>
          <p:sp>
            <p:nvSpPr>
              <p:cNvPr id="438" name="Freeform 385">
                <a:extLst>
                  <a:ext uri="{FF2B5EF4-FFF2-40B4-BE49-F238E27FC236}">
                    <a16:creationId xmlns:a16="http://schemas.microsoft.com/office/drawing/2014/main" id="{F28137AF-19C0-4CA2-99D5-73F1F4935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4 w 51"/>
                  <a:gd name="T1" fmla="*/ 0 h 33"/>
                  <a:gd name="T2" fmla="*/ 0 w 51"/>
                  <a:gd name="T3" fmla="*/ 2 h 33"/>
                  <a:gd name="T4" fmla="*/ 1 w 51"/>
                  <a:gd name="T5" fmla="*/ 9 h 33"/>
                  <a:gd name="T6" fmla="*/ 3 w 51"/>
                  <a:gd name="T7" fmla="*/ 11 h 33"/>
                  <a:gd name="T8" fmla="*/ 11 w 51"/>
                  <a:gd name="T9" fmla="*/ 8 h 33"/>
                  <a:gd name="T10" fmla="*/ 15 w 51"/>
                  <a:gd name="T11" fmla="*/ 5 h 33"/>
                  <a:gd name="T12" fmla="*/ 16 w 51"/>
                  <a:gd name="T13" fmla="*/ 3 h 33"/>
                  <a:gd name="T14" fmla="*/ 1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39" name="Freeform 386">
                <a:extLst>
                  <a:ext uri="{FF2B5EF4-FFF2-40B4-BE49-F238E27FC236}">
                    <a16:creationId xmlns:a16="http://schemas.microsoft.com/office/drawing/2014/main" id="{E02F72D7-ED8D-420F-88F4-0B6D97A5F2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0 w 61"/>
                  <a:gd name="T1" fmla="*/ 2 h 20"/>
                  <a:gd name="T2" fmla="*/ 17 w 61"/>
                  <a:gd name="T3" fmla="*/ 1 h 20"/>
                  <a:gd name="T4" fmla="*/ 0 w 61"/>
                  <a:gd name="T5" fmla="*/ 0 h 20"/>
                  <a:gd name="T6" fmla="*/ 1 w 61"/>
                  <a:gd name="T7" fmla="*/ 5 h 20"/>
                  <a:gd name="T8" fmla="*/ 2 w 61"/>
                  <a:gd name="T9" fmla="*/ 7 h 20"/>
                  <a:gd name="T10" fmla="*/ 6 w 61"/>
                  <a:gd name="T11" fmla="*/ 5 h 20"/>
                  <a:gd name="T12" fmla="*/ 20 w 61"/>
                  <a:gd name="T13" fmla="*/ 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40" name="Freeform 387">
                <a:extLst>
                  <a:ext uri="{FF2B5EF4-FFF2-40B4-BE49-F238E27FC236}">
                    <a16:creationId xmlns:a16="http://schemas.microsoft.com/office/drawing/2014/main" id="{B292DFC6-8998-4FAC-935A-F5FA9C56CB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1 w 15"/>
                  <a:gd name="T1" fmla="*/ 0 h 36"/>
                  <a:gd name="T2" fmla="*/ 0 w 15"/>
                  <a:gd name="T3" fmla="*/ 7 h 36"/>
                  <a:gd name="T4" fmla="*/ 0 w 15"/>
                  <a:gd name="T5" fmla="*/ 12 h 36"/>
                  <a:gd name="T6" fmla="*/ 4 w 15"/>
                  <a:gd name="T7" fmla="*/ 12 h 36"/>
                  <a:gd name="T8" fmla="*/ 5 w 15"/>
                  <a:gd name="T9" fmla="*/ 5 h 36"/>
                  <a:gd name="T10" fmla="*/ 1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41" name="Freeform 388">
                <a:extLst>
                  <a:ext uri="{FF2B5EF4-FFF2-40B4-BE49-F238E27FC236}">
                    <a16:creationId xmlns:a16="http://schemas.microsoft.com/office/drawing/2014/main" id="{53C6B8A4-CA01-4BA8-A287-9F4A15329F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1 w 37"/>
                  <a:gd name="T1" fmla="*/ 1 h 33"/>
                  <a:gd name="T2" fmla="*/ 7 w 37"/>
                  <a:gd name="T3" fmla="*/ 0 h 33"/>
                  <a:gd name="T4" fmla="*/ 10 w 37"/>
                  <a:gd name="T5" fmla="*/ 2 h 33"/>
                  <a:gd name="T6" fmla="*/ 11 w 37"/>
                  <a:gd name="T7" fmla="*/ 7 h 33"/>
                  <a:gd name="T8" fmla="*/ 7 w 37"/>
                  <a:gd name="T9" fmla="*/ 11 h 33"/>
                  <a:gd name="T10" fmla="*/ 3 w 37"/>
                  <a:gd name="T11" fmla="*/ 11 h 33"/>
                  <a:gd name="T12" fmla="*/ 1 w 37"/>
                  <a:gd name="T13" fmla="*/ 8 h 33"/>
                  <a:gd name="T14" fmla="*/ 0 w 37"/>
                  <a:gd name="T15" fmla="*/ 5 h 33"/>
                  <a:gd name="T16" fmla="*/ 1 w 37"/>
                  <a:gd name="T17" fmla="*/ 1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42" name="Freeform 389">
                <a:extLst>
                  <a:ext uri="{FF2B5EF4-FFF2-40B4-BE49-F238E27FC236}">
                    <a16:creationId xmlns:a16="http://schemas.microsoft.com/office/drawing/2014/main" id="{76FB8D88-9A50-4D4A-AC9F-5A93EA313C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1 w 49"/>
                  <a:gd name="T1" fmla="*/ 0 h 54"/>
                  <a:gd name="T2" fmla="*/ 0 w 49"/>
                  <a:gd name="T3" fmla="*/ 0 h 54"/>
                  <a:gd name="T4" fmla="*/ 1 w 49"/>
                  <a:gd name="T5" fmla="*/ 17 h 54"/>
                  <a:gd name="T6" fmla="*/ 6 w 49"/>
                  <a:gd name="T7" fmla="*/ 18 h 54"/>
                  <a:gd name="T8" fmla="*/ 14 w 49"/>
                  <a:gd name="T9" fmla="*/ 15 h 54"/>
                  <a:gd name="T10" fmla="*/ 16 w 49"/>
                  <a:gd name="T11" fmla="*/ 10 h 54"/>
                  <a:gd name="T12" fmla="*/ 13 w 49"/>
                  <a:gd name="T13" fmla="*/ 7 h 54"/>
                  <a:gd name="T14" fmla="*/ 6 w 49"/>
                  <a:gd name="T15" fmla="*/ 3 h 54"/>
                  <a:gd name="T16" fmla="*/ 1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43" name="Freeform 390">
                <a:extLst>
                  <a:ext uri="{FF2B5EF4-FFF2-40B4-BE49-F238E27FC236}">
                    <a16:creationId xmlns:a16="http://schemas.microsoft.com/office/drawing/2014/main" id="{B90BFCA6-D04D-4DB4-8EFE-E47C530F7C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6 w 26"/>
                  <a:gd name="T1" fmla="*/ 0 h 22"/>
                  <a:gd name="T2" fmla="*/ 1 w 26"/>
                  <a:gd name="T3" fmla="*/ 1 h 22"/>
                  <a:gd name="T4" fmla="*/ 0 w 26"/>
                  <a:gd name="T5" fmla="*/ 5 h 22"/>
                  <a:gd name="T6" fmla="*/ 2 w 26"/>
                  <a:gd name="T7" fmla="*/ 7 h 22"/>
                  <a:gd name="T8" fmla="*/ 7 w 26"/>
                  <a:gd name="T9" fmla="*/ 7 h 22"/>
                  <a:gd name="T10" fmla="*/ 9 w 26"/>
                  <a:gd name="T11" fmla="*/ 4 h 22"/>
                  <a:gd name="T12" fmla="*/ 6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grpSp>
          <p:nvGrpSpPr>
            <p:cNvPr id="279" name="Group 391">
              <a:extLst>
                <a:ext uri="{FF2B5EF4-FFF2-40B4-BE49-F238E27FC236}">
                  <a16:creationId xmlns:a16="http://schemas.microsoft.com/office/drawing/2014/main" id="{FBBA3C86-EAE0-4CD9-92B1-E5EC42A06EF6}"/>
                </a:ext>
              </a:extLst>
            </p:cNvPr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1979498" y="1255295"/>
              <a:ext cx="2460224" cy="1216247"/>
              <a:chOff x="527" y="1110"/>
              <a:chExt cx="1410" cy="709"/>
            </a:xfrm>
          </p:grpSpPr>
          <p:sp>
            <p:nvSpPr>
              <p:cNvPr id="396" name="Freeform 392">
                <a:extLst>
                  <a:ext uri="{FF2B5EF4-FFF2-40B4-BE49-F238E27FC236}">
                    <a16:creationId xmlns:a16="http://schemas.microsoft.com/office/drawing/2014/main" id="{355E8395-A714-4C8E-8925-8E61ED00D4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13 h 54"/>
                  <a:gd name="T2" fmla="*/ 2 w 98"/>
                  <a:gd name="T3" fmla="*/ 14 h 54"/>
                  <a:gd name="T4" fmla="*/ 4 w 98"/>
                  <a:gd name="T5" fmla="*/ 16 h 54"/>
                  <a:gd name="T6" fmla="*/ 7 w 98"/>
                  <a:gd name="T7" fmla="*/ 17 h 54"/>
                  <a:gd name="T8" fmla="*/ 10 w 98"/>
                  <a:gd name="T9" fmla="*/ 17 h 54"/>
                  <a:gd name="T10" fmla="*/ 12 w 98"/>
                  <a:gd name="T11" fmla="*/ 17 h 54"/>
                  <a:gd name="T12" fmla="*/ 14 w 98"/>
                  <a:gd name="T13" fmla="*/ 17 h 54"/>
                  <a:gd name="T14" fmla="*/ 16 w 98"/>
                  <a:gd name="T15" fmla="*/ 16 h 54"/>
                  <a:gd name="T16" fmla="*/ 18 w 98"/>
                  <a:gd name="T17" fmla="*/ 15 h 54"/>
                  <a:gd name="T18" fmla="*/ 21 w 98"/>
                  <a:gd name="T19" fmla="*/ 13 h 54"/>
                  <a:gd name="T20" fmla="*/ 24 w 98"/>
                  <a:gd name="T21" fmla="*/ 11 h 54"/>
                  <a:gd name="T22" fmla="*/ 27 w 98"/>
                  <a:gd name="T23" fmla="*/ 9 h 54"/>
                  <a:gd name="T24" fmla="*/ 29 w 98"/>
                  <a:gd name="T25" fmla="*/ 6 h 54"/>
                  <a:gd name="T26" fmla="*/ 30 w 98"/>
                  <a:gd name="T27" fmla="*/ 4 h 54"/>
                  <a:gd name="T28" fmla="*/ 31 w 98"/>
                  <a:gd name="T29" fmla="*/ 1 h 54"/>
                  <a:gd name="T30" fmla="*/ 29 w 98"/>
                  <a:gd name="T31" fmla="*/ 1 h 54"/>
                  <a:gd name="T32" fmla="*/ 26 w 98"/>
                  <a:gd name="T33" fmla="*/ 0 h 54"/>
                  <a:gd name="T34" fmla="*/ 24 w 98"/>
                  <a:gd name="T35" fmla="*/ 0 h 54"/>
                  <a:gd name="T36" fmla="*/ 22 w 98"/>
                  <a:gd name="T37" fmla="*/ 0 h 54"/>
                  <a:gd name="T38" fmla="*/ 19 w 98"/>
                  <a:gd name="T39" fmla="*/ 0 h 54"/>
                  <a:gd name="T40" fmla="*/ 16 w 98"/>
                  <a:gd name="T41" fmla="*/ 1 h 54"/>
                  <a:gd name="T42" fmla="*/ 14 w 98"/>
                  <a:gd name="T43" fmla="*/ 2 h 54"/>
                  <a:gd name="T44" fmla="*/ 12 w 98"/>
                  <a:gd name="T45" fmla="*/ 3 h 54"/>
                  <a:gd name="T46" fmla="*/ 7 w 98"/>
                  <a:gd name="T47" fmla="*/ 5 h 54"/>
                  <a:gd name="T48" fmla="*/ 4 w 98"/>
                  <a:gd name="T49" fmla="*/ 8 h 54"/>
                  <a:gd name="T50" fmla="*/ 2 w 98"/>
                  <a:gd name="T51" fmla="*/ 9 h 54"/>
                  <a:gd name="T52" fmla="*/ 1 w 98"/>
                  <a:gd name="T53" fmla="*/ 10 h 54"/>
                  <a:gd name="T54" fmla="*/ 0 w 98"/>
                  <a:gd name="T55" fmla="*/ 12 h 54"/>
                  <a:gd name="T56" fmla="*/ 0 w 98"/>
                  <a:gd name="T57" fmla="*/ 13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97" name="Freeform 393">
                <a:extLst>
                  <a:ext uri="{FF2B5EF4-FFF2-40B4-BE49-F238E27FC236}">
                    <a16:creationId xmlns:a16="http://schemas.microsoft.com/office/drawing/2014/main" id="{0B8ECD57-E266-4220-8CEB-6FB14D40A2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98" name="Freeform 394">
                <a:extLst>
                  <a:ext uri="{FF2B5EF4-FFF2-40B4-BE49-F238E27FC236}">
                    <a16:creationId xmlns:a16="http://schemas.microsoft.com/office/drawing/2014/main" id="{951FD70B-9F91-4A76-A86F-3E89B1126F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99" name="Freeform 395">
                <a:extLst>
                  <a:ext uri="{FF2B5EF4-FFF2-40B4-BE49-F238E27FC236}">
                    <a16:creationId xmlns:a16="http://schemas.microsoft.com/office/drawing/2014/main" id="{4F785DEC-85AB-4A92-806B-59AB156B32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4 h 52"/>
                  <a:gd name="T2" fmla="*/ 3 w 146"/>
                  <a:gd name="T3" fmla="*/ 15 h 52"/>
                  <a:gd name="T4" fmla="*/ 7 w 146"/>
                  <a:gd name="T5" fmla="*/ 16 h 52"/>
                  <a:gd name="T6" fmla="*/ 10 w 146"/>
                  <a:gd name="T7" fmla="*/ 17 h 52"/>
                  <a:gd name="T8" fmla="*/ 14 w 146"/>
                  <a:gd name="T9" fmla="*/ 17 h 52"/>
                  <a:gd name="T10" fmla="*/ 20 w 146"/>
                  <a:gd name="T11" fmla="*/ 17 h 52"/>
                  <a:gd name="T12" fmla="*/ 26 w 146"/>
                  <a:gd name="T13" fmla="*/ 17 h 52"/>
                  <a:gd name="T14" fmla="*/ 37 w 146"/>
                  <a:gd name="T15" fmla="*/ 15 h 52"/>
                  <a:gd name="T16" fmla="*/ 46 w 146"/>
                  <a:gd name="T17" fmla="*/ 14 h 52"/>
                  <a:gd name="T18" fmla="*/ 45 w 146"/>
                  <a:gd name="T19" fmla="*/ 12 h 52"/>
                  <a:gd name="T20" fmla="*/ 45 w 146"/>
                  <a:gd name="T21" fmla="*/ 10 h 52"/>
                  <a:gd name="T22" fmla="*/ 44 w 146"/>
                  <a:gd name="T23" fmla="*/ 8 h 52"/>
                  <a:gd name="T24" fmla="*/ 43 w 146"/>
                  <a:gd name="T25" fmla="*/ 6 h 52"/>
                  <a:gd name="T26" fmla="*/ 42 w 146"/>
                  <a:gd name="T27" fmla="*/ 5 h 52"/>
                  <a:gd name="T28" fmla="*/ 41 w 146"/>
                  <a:gd name="T29" fmla="*/ 4 h 52"/>
                  <a:gd name="T30" fmla="*/ 39 w 146"/>
                  <a:gd name="T31" fmla="*/ 3 h 52"/>
                  <a:gd name="T32" fmla="*/ 38 w 146"/>
                  <a:gd name="T33" fmla="*/ 2 h 52"/>
                  <a:gd name="T34" fmla="*/ 35 w 146"/>
                  <a:gd name="T35" fmla="*/ 1 h 52"/>
                  <a:gd name="T36" fmla="*/ 32 w 146"/>
                  <a:gd name="T37" fmla="*/ 0 h 52"/>
                  <a:gd name="T38" fmla="*/ 28 w 146"/>
                  <a:gd name="T39" fmla="*/ 0 h 52"/>
                  <a:gd name="T40" fmla="*/ 25 w 146"/>
                  <a:gd name="T41" fmla="*/ 1 h 52"/>
                  <a:gd name="T42" fmla="*/ 21 w 146"/>
                  <a:gd name="T43" fmla="*/ 2 h 52"/>
                  <a:gd name="T44" fmla="*/ 17 w 146"/>
                  <a:gd name="T45" fmla="*/ 3 h 52"/>
                  <a:gd name="T46" fmla="*/ 14 w 146"/>
                  <a:gd name="T47" fmla="*/ 5 h 52"/>
                  <a:gd name="T48" fmla="*/ 10 w 146"/>
                  <a:gd name="T49" fmla="*/ 6 h 52"/>
                  <a:gd name="T50" fmla="*/ 7 w 146"/>
                  <a:gd name="T51" fmla="*/ 8 h 52"/>
                  <a:gd name="T52" fmla="*/ 4 w 146"/>
                  <a:gd name="T53" fmla="*/ 10 h 52"/>
                  <a:gd name="T54" fmla="*/ 2 w 146"/>
                  <a:gd name="T55" fmla="*/ 12 h 52"/>
                  <a:gd name="T56" fmla="*/ 0 w 146"/>
                  <a:gd name="T57" fmla="*/ 14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00" name="Freeform 396">
                <a:extLst>
                  <a:ext uri="{FF2B5EF4-FFF2-40B4-BE49-F238E27FC236}">
                    <a16:creationId xmlns:a16="http://schemas.microsoft.com/office/drawing/2014/main" id="{FD7B70B0-84F5-457D-86ED-70B8ADEF81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01" name="Freeform 397">
                <a:extLst>
                  <a:ext uri="{FF2B5EF4-FFF2-40B4-BE49-F238E27FC236}">
                    <a16:creationId xmlns:a16="http://schemas.microsoft.com/office/drawing/2014/main" id="{E9261798-4F21-48DE-AEF6-D745235F6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02" name="Freeform 398">
                <a:extLst>
                  <a:ext uri="{FF2B5EF4-FFF2-40B4-BE49-F238E27FC236}">
                    <a16:creationId xmlns:a16="http://schemas.microsoft.com/office/drawing/2014/main" id="{A72B8C37-E28B-45C1-9AFB-41F7CDAAD9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03" name="Freeform 399">
                <a:extLst>
                  <a:ext uri="{FF2B5EF4-FFF2-40B4-BE49-F238E27FC236}">
                    <a16:creationId xmlns:a16="http://schemas.microsoft.com/office/drawing/2014/main" id="{C59FD432-0912-4A93-B2A4-92D401DA51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04" name="Freeform 400">
                <a:extLst>
                  <a:ext uri="{FF2B5EF4-FFF2-40B4-BE49-F238E27FC236}">
                    <a16:creationId xmlns:a16="http://schemas.microsoft.com/office/drawing/2014/main" id="{A5F340DA-9D9D-42F2-9B64-FEDC8D3613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05" name="Freeform 401">
                <a:extLst>
                  <a:ext uri="{FF2B5EF4-FFF2-40B4-BE49-F238E27FC236}">
                    <a16:creationId xmlns:a16="http://schemas.microsoft.com/office/drawing/2014/main" id="{F1E69E89-C9A6-42C4-AD2E-70D4E02E80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06" name="Freeform 402">
                <a:extLst>
                  <a:ext uri="{FF2B5EF4-FFF2-40B4-BE49-F238E27FC236}">
                    <a16:creationId xmlns:a16="http://schemas.microsoft.com/office/drawing/2014/main" id="{27BCD334-43F4-4772-81B8-040DEFA6A6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8 h 25"/>
                  <a:gd name="T2" fmla="*/ 5 w 48"/>
                  <a:gd name="T3" fmla="*/ 8 h 25"/>
                  <a:gd name="T4" fmla="*/ 9 w 48"/>
                  <a:gd name="T5" fmla="*/ 8 h 25"/>
                  <a:gd name="T6" fmla="*/ 10 w 48"/>
                  <a:gd name="T7" fmla="*/ 8 h 25"/>
                  <a:gd name="T8" fmla="*/ 11 w 48"/>
                  <a:gd name="T9" fmla="*/ 7 h 25"/>
                  <a:gd name="T10" fmla="*/ 12 w 48"/>
                  <a:gd name="T11" fmla="*/ 6 h 25"/>
                  <a:gd name="T12" fmla="*/ 13 w 48"/>
                  <a:gd name="T13" fmla="*/ 5 h 25"/>
                  <a:gd name="T14" fmla="*/ 15 w 48"/>
                  <a:gd name="T15" fmla="*/ 2 h 25"/>
                  <a:gd name="T16" fmla="*/ 16 w 48"/>
                  <a:gd name="T17" fmla="*/ 0 h 25"/>
                  <a:gd name="T18" fmla="*/ 13 w 48"/>
                  <a:gd name="T19" fmla="*/ 0 h 25"/>
                  <a:gd name="T20" fmla="*/ 11 w 48"/>
                  <a:gd name="T21" fmla="*/ 1 h 25"/>
                  <a:gd name="T22" fmla="*/ 9 w 48"/>
                  <a:gd name="T23" fmla="*/ 2 h 25"/>
                  <a:gd name="T24" fmla="*/ 7 w 48"/>
                  <a:gd name="T25" fmla="*/ 3 h 25"/>
                  <a:gd name="T26" fmla="*/ 4 w 48"/>
                  <a:gd name="T27" fmla="*/ 5 h 25"/>
                  <a:gd name="T28" fmla="*/ 0 w 48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07" name="Freeform 403">
                <a:extLst>
                  <a:ext uri="{FF2B5EF4-FFF2-40B4-BE49-F238E27FC236}">
                    <a16:creationId xmlns:a16="http://schemas.microsoft.com/office/drawing/2014/main" id="{B77009C5-F26F-4A32-944C-F32A54B386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08" name="Freeform 404">
                <a:extLst>
                  <a:ext uri="{FF2B5EF4-FFF2-40B4-BE49-F238E27FC236}">
                    <a16:creationId xmlns:a16="http://schemas.microsoft.com/office/drawing/2014/main" id="{B6C2E503-90ED-4126-A515-AA6854E8EC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11 w 113"/>
                  <a:gd name="T1" fmla="*/ 1 h 46"/>
                  <a:gd name="T2" fmla="*/ 7 w 113"/>
                  <a:gd name="T3" fmla="*/ 1 h 46"/>
                  <a:gd name="T4" fmla="*/ 4 w 113"/>
                  <a:gd name="T5" fmla="*/ 2 h 46"/>
                  <a:gd name="T6" fmla="*/ 2 w 113"/>
                  <a:gd name="T7" fmla="*/ 2 h 46"/>
                  <a:gd name="T8" fmla="*/ 1 w 113"/>
                  <a:gd name="T9" fmla="*/ 4 h 46"/>
                  <a:gd name="T10" fmla="*/ 0 w 113"/>
                  <a:gd name="T11" fmla="*/ 5 h 46"/>
                  <a:gd name="T12" fmla="*/ 0 w 113"/>
                  <a:gd name="T13" fmla="*/ 7 h 46"/>
                  <a:gd name="T14" fmla="*/ 2 w 113"/>
                  <a:gd name="T15" fmla="*/ 9 h 46"/>
                  <a:gd name="T16" fmla="*/ 3 w 113"/>
                  <a:gd name="T17" fmla="*/ 11 h 46"/>
                  <a:gd name="T18" fmla="*/ 5 w 113"/>
                  <a:gd name="T19" fmla="*/ 13 h 46"/>
                  <a:gd name="T20" fmla="*/ 6 w 113"/>
                  <a:gd name="T21" fmla="*/ 14 h 46"/>
                  <a:gd name="T22" fmla="*/ 8 w 113"/>
                  <a:gd name="T23" fmla="*/ 15 h 46"/>
                  <a:gd name="T24" fmla="*/ 10 w 113"/>
                  <a:gd name="T25" fmla="*/ 16 h 46"/>
                  <a:gd name="T26" fmla="*/ 11 w 113"/>
                  <a:gd name="T27" fmla="*/ 16 h 46"/>
                  <a:gd name="T28" fmla="*/ 13 w 113"/>
                  <a:gd name="T29" fmla="*/ 16 h 46"/>
                  <a:gd name="T30" fmla="*/ 18 w 113"/>
                  <a:gd name="T31" fmla="*/ 16 h 46"/>
                  <a:gd name="T32" fmla="*/ 22 w 113"/>
                  <a:gd name="T33" fmla="*/ 15 h 46"/>
                  <a:gd name="T34" fmla="*/ 24 w 113"/>
                  <a:gd name="T35" fmla="*/ 14 h 46"/>
                  <a:gd name="T36" fmla="*/ 26 w 113"/>
                  <a:gd name="T37" fmla="*/ 13 h 46"/>
                  <a:gd name="T38" fmla="*/ 28 w 113"/>
                  <a:gd name="T39" fmla="*/ 13 h 46"/>
                  <a:gd name="T40" fmla="*/ 29 w 113"/>
                  <a:gd name="T41" fmla="*/ 11 h 46"/>
                  <a:gd name="T42" fmla="*/ 32 w 113"/>
                  <a:gd name="T43" fmla="*/ 9 h 46"/>
                  <a:gd name="T44" fmla="*/ 34 w 113"/>
                  <a:gd name="T45" fmla="*/ 7 h 46"/>
                  <a:gd name="T46" fmla="*/ 35 w 113"/>
                  <a:gd name="T47" fmla="*/ 4 h 46"/>
                  <a:gd name="T48" fmla="*/ 36 w 113"/>
                  <a:gd name="T49" fmla="*/ 1 h 46"/>
                  <a:gd name="T50" fmla="*/ 32 w 113"/>
                  <a:gd name="T51" fmla="*/ 0 h 46"/>
                  <a:gd name="T52" fmla="*/ 28 w 113"/>
                  <a:gd name="T53" fmla="*/ 0 h 46"/>
                  <a:gd name="T54" fmla="*/ 24 w 113"/>
                  <a:gd name="T55" fmla="*/ 0 h 46"/>
                  <a:gd name="T56" fmla="*/ 21 w 113"/>
                  <a:gd name="T57" fmla="*/ 0 h 46"/>
                  <a:gd name="T58" fmla="*/ 15 w 113"/>
                  <a:gd name="T59" fmla="*/ 1 h 46"/>
                  <a:gd name="T60" fmla="*/ 11 w 113"/>
                  <a:gd name="T61" fmla="*/ 1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09" name="Freeform 405">
                <a:extLst>
                  <a:ext uri="{FF2B5EF4-FFF2-40B4-BE49-F238E27FC236}">
                    <a16:creationId xmlns:a16="http://schemas.microsoft.com/office/drawing/2014/main" id="{2E6CE111-20D4-4A56-AF08-DB4549F4E5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27 h 82"/>
                  <a:gd name="T2" fmla="*/ 1 w 153"/>
                  <a:gd name="T3" fmla="*/ 28 h 82"/>
                  <a:gd name="T4" fmla="*/ 2 w 153"/>
                  <a:gd name="T5" fmla="*/ 28 h 82"/>
                  <a:gd name="T6" fmla="*/ 3 w 153"/>
                  <a:gd name="T7" fmla="*/ 28 h 82"/>
                  <a:gd name="T8" fmla="*/ 4 w 153"/>
                  <a:gd name="T9" fmla="*/ 28 h 82"/>
                  <a:gd name="T10" fmla="*/ 7 w 153"/>
                  <a:gd name="T11" fmla="*/ 27 h 82"/>
                  <a:gd name="T12" fmla="*/ 11 w 153"/>
                  <a:gd name="T13" fmla="*/ 27 h 82"/>
                  <a:gd name="T14" fmla="*/ 13 w 153"/>
                  <a:gd name="T15" fmla="*/ 27 h 82"/>
                  <a:gd name="T16" fmla="*/ 15 w 153"/>
                  <a:gd name="T17" fmla="*/ 27 h 82"/>
                  <a:gd name="T18" fmla="*/ 18 w 153"/>
                  <a:gd name="T19" fmla="*/ 26 h 82"/>
                  <a:gd name="T20" fmla="*/ 21 w 153"/>
                  <a:gd name="T21" fmla="*/ 25 h 82"/>
                  <a:gd name="T22" fmla="*/ 27 w 153"/>
                  <a:gd name="T23" fmla="*/ 23 h 82"/>
                  <a:gd name="T24" fmla="*/ 33 w 153"/>
                  <a:gd name="T25" fmla="*/ 20 h 82"/>
                  <a:gd name="T26" fmla="*/ 36 w 153"/>
                  <a:gd name="T27" fmla="*/ 18 h 82"/>
                  <a:gd name="T28" fmla="*/ 39 w 153"/>
                  <a:gd name="T29" fmla="*/ 17 h 82"/>
                  <a:gd name="T30" fmla="*/ 41 w 153"/>
                  <a:gd name="T31" fmla="*/ 15 h 82"/>
                  <a:gd name="T32" fmla="*/ 44 w 153"/>
                  <a:gd name="T33" fmla="*/ 13 h 82"/>
                  <a:gd name="T34" fmla="*/ 45 w 153"/>
                  <a:gd name="T35" fmla="*/ 11 h 82"/>
                  <a:gd name="T36" fmla="*/ 47 w 153"/>
                  <a:gd name="T37" fmla="*/ 9 h 82"/>
                  <a:gd name="T38" fmla="*/ 48 w 153"/>
                  <a:gd name="T39" fmla="*/ 6 h 82"/>
                  <a:gd name="T40" fmla="*/ 49 w 153"/>
                  <a:gd name="T41" fmla="*/ 4 h 82"/>
                  <a:gd name="T42" fmla="*/ 43 w 153"/>
                  <a:gd name="T43" fmla="*/ 3 h 82"/>
                  <a:gd name="T44" fmla="*/ 37 w 153"/>
                  <a:gd name="T45" fmla="*/ 1 h 82"/>
                  <a:gd name="T46" fmla="*/ 31 w 153"/>
                  <a:gd name="T47" fmla="*/ 0 h 82"/>
                  <a:gd name="T48" fmla="*/ 25 w 153"/>
                  <a:gd name="T49" fmla="*/ 0 h 82"/>
                  <a:gd name="T50" fmla="*/ 22 w 153"/>
                  <a:gd name="T51" fmla="*/ 0 h 82"/>
                  <a:gd name="T52" fmla="*/ 19 w 153"/>
                  <a:gd name="T53" fmla="*/ 0 h 82"/>
                  <a:gd name="T54" fmla="*/ 17 w 153"/>
                  <a:gd name="T55" fmla="*/ 1 h 82"/>
                  <a:gd name="T56" fmla="*/ 14 w 153"/>
                  <a:gd name="T57" fmla="*/ 1 h 82"/>
                  <a:gd name="T58" fmla="*/ 12 w 153"/>
                  <a:gd name="T59" fmla="*/ 2 h 82"/>
                  <a:gd name="T60" fmla="*/ 11 w 153"/>
                  <a:gd name="T61" fmla="*/ 3 h 82"/>
                  <a:gd name="T62" fmla="*/ 10 w 153"/>
                  <a:gd name="T63" fmla="*/ 5 h 82"/>
                  <a:gd name="T64" fmla="*/ 8 w 153"/>
                  <a:gd name="T65" fmla="*/ 6 h 82"/>
                  <a:gd name="T66" fmla="*/ 10 w 153"/>
                  <a:gd name="T67" fmla="*/ 8 h 82"/>
                  <a:gd name="T68" fmla="*/ 12 w 153"/>
                  <a:gd name="T69" fmla="*/ 10 h 82"/>
                  <a:gd name="T70" fmla="*/ 12 w 153"/>
                  <a:gd name="T71" fmla="*/ 11 h 82"/>
                  <a:gd name="T72" fmla="*/ 13 w 153"/>
                  <a:gd name="T73" fmla="*/ 12 h 82"/>
                  <a:gd name="T74" fmla="*/ 14 w 153"/>
                  <a:gd name="T75" fmla="*/ 12 h 82"/>
                  <a:gd name="T76" fmla="*/ 15 w 153"/>
                  <a:gd name="T77" fmla="*/ 12 h 82"/>
                  <a:gd name="T78" fmla="*/ 13 w 153"/>
                  <a:gd name="T79" fmla="*/ 14 h 82"/>
                  <a:gd name="T80" fmla="*/ 11 w 153"/>
                  <a:gd name="T81" fmla="*/ 16 h 82"/>
                  <a:gd name="T82" fmla="*/ 9 w 153"/>
                  <a:gd name="T83" fmla="*/ 18 h 82"/>
                  <a:gd name="T84" fmla="*/ 7 w 153"/>
                  <a:gd name="T85" fmla="*/ 19 h 82"/>
                  <a:gd name="T86" fmla="*/ 6 w 153"/>
                  <a:gd name="T87" fmla="*/ 22 h 82"/>
                  <a:gd name="T88" fmla="*/ 4 w 153"/>
                  <a:gd name="T89" fmla="*/ 24 h 82"/>
                  <a:gd name="T90" fmla="*/ 2 w 153"/>
                  <a:gd name="T91" fmla="*/ 26 h 82"/>
                  <a:gd name="T92" fmla="*/ 0 w 153"/>
                  <a:gd name="T93" fmla="*/ 27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3282BE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10" name="Freeform 406">
                <a:extLst>
                  <a:ext uri="{FF2B5EF4-FFF2-40B4-BE49-F238E27FC236}">
                    <a16:creationId xmlns:a16="http://schemas.microsoft.com/office/drawing/2014/main" id="{A34BF768-79F4-4C72-803F-A5699660A1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13 h 50"/>
                  <a:gd name="T2" fmla="*/ 2 w 86"/>
                  <a:gd name="T3" fmla="*/ 14 h 50"/>
                  <a:gd name="T4" fmla="*/ 4 w 86"/>
                  <a:gd name="T5" fmla="*/ 15 h 50"/>
                  <a:gd name="T6" fmla="*/ 5 w 86"/>
                  <a:gd name="T7" fmla="*/ 16 h 50"/>
                  <a:gd name="T8" fmla="*/ 8 w 86"/>
                  <a:gd name="T9" fmla="*/ 16 h 50"/>
                  <a:gd name="T10" fmla="*/ 12 w 86"/>
                  <a:gd name="T11" fmla="*/ 17 h 50"/>
                  <a:gd name="T12" fmla="*/ 16 w 86"/>
                  <a:gd name="T13" fmla="*/ 17 h 50"/>
                  <a:gd name="T14" fmla="*/ 20 w 86"/>
                  <a:gd name="T15" fmla="*/ 17 h 50"/>
                  <a:gd name="T16" fmla="*/ 23 w 86"/>
                  <a:gd name="T17" fmla="*/ 16 h 50"/>
                  <a:gd name="T18" fmla="*/ 25 w 86"/>
                  <a:gd name="T19" fmla="*/ 16 h 50"/>
                  <a:gd name="T20" fmla="*/ 27 w 86"/>
                  <a:gd name="T21" fmla="*/ 15 h 50"/>
                  <a:gd name="T22" fmla="*/ 28 w 86"/>
                  <a:gd name="T23" fmla="*/ 14 h 50"/>
                  <a:gd name="T24" fmla="*/ 28 w 86"/>
                  <a:gd name="T25" fmla="*/ 13 h 50"/>
                  <a:gd name="T26" fmla="*/ 29 w 86"/>
                  <a:gd name="T27" fmla="*/ 11 h 50"/>
                  <a:gd name="T28" fmla="*/ 29 w 86"/>
                  <a:gd name="T29" fmla="*/ 9 h 50"/>
                  <a:gd name="T30" fmla="*/ 29 w 86"/>
                  <a:gd name="T31" fmla="*/ 6 h 50"/>
                  <a:gd name="T32" fmla="*/ 28 w 86"/>
                  <a:gd name="T33" fmla="*/ 3 h 50"/>
                  <a:gd name="T34" fmla="*/ 28 w 86"/>
                  <a:gd name="T35" fmla="*/ 2 h 50"/>
                  <a:gd name="T36" fmla="*/ 27 w 86"/>
                  <a:gd name="T37" fmla="*/ 2 h 50"/>
                  <a:gd name="T38" fmla="*/ 26 w 86"/>
                  <a:gd name="T39" fmla="*/ 1 h 50"/>
                  <a:gd name="T40" fmla="*/ 25 w 86"/>
                  <a:gd name="T41" fmla="*/ 0 h 50"/>
                  <a:gd name="T42" fmla="*/ 0 w 86"/>
                  <a:gd name="T43" fmla="*/ 13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11" name="Freeform 407">
                <a:extLst>
                  <a:ext uri="{FF2B5EF4-FFF2-40B4-BE49-F238E27FC236}">
                    <a16:creationId xmlns:a16="http://schemas.microsoft.com/office/drawing/2014/main" id="{D35EDB4C-BA34-4F88-934A-DDDE957678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38 w 172"/>
                  <a:gd name="T1" fmla="*/ 21 h 74"/>
                  <a:gd name="T2" fmla="*/ 35 w 172"/>
                  <a:gd name="T3" fmla="*/ 21 h 74"/>
                  <a:gd name="T4" fmla="*/ 32 w 172"/>
                  <a:gd name="T5" fmla="*/ 21 h 74"/>
                  <a:gd name="T6" fmla="*/ 29 w 172"/>
                  <a:gd name="T7" fmla="*/ 21 h 74"/>
                  <a:gd name="T8" fmla="*/ 26 w 172"/>
                  <a:gd name="T9" fmla="*/ 21 h 74"/>
                  <a:gd name="T10" fmla="*/ 19 w 172"/>
                  <a:gd name="T11" fmla="*/ 25 h 74"/>
                  <a:gd name="T12" fmla="*/ 11 w 172"/>
                  <a:gd name="T13" fmla="*/ 25 h 74"/>
                  <a:gd name="T14" fmla="*/ 12 w 172"/>
                  <a:gd name="T15" fmla="*/ 21 h 74"/>
                  <a:gd name="T16" fmla="*/ 12 w 172"/>
                  <a:gd name="T17" fmla="*/ 17 h 74"/>
                  <a:gd name="T18" fmla="*/ 10 w 172"/>
                  <a:gd name="T19" fmla="*/ 17 h 74"/>
                  <a:gd name="T20" fmla="*/ 7 w 172"/>
                  <a:gd name="T21" fmla="*/ 16 h 74"/>
                  <a:gd name="T22" fmla="*/ 5 w 172"/>
                  <a:gd name="T23" fmla="*/ 16 h 74"/>
                  <a:gd name="T24" fmla="*/ 3 w 172"/>
                  <a:gd name="T25" fmla="*/ 15 h 74"/>
                  <a:gd name="T26" fmla="*/ 2 w 172"/>
                  <a:gd name="T27" fmla="*/ 14 h 74"/>
                  <a:gd name="T28" fmla="*/ 1 w 172"/>
                  <a:gd name="T29" fmla="*/ 13 h 74"/>
                  <a:gd name="T30" fmla="*/ 0 w 172"/>
                  <a:gd name="T31" fmla="*/ 12 h 74"/>
                  <a:gd name="T32" fmla="*/ 0 w 172"/>
                  <a:gd name="T33" fmla="*/ 10 h 74"/>
                  <a:gd name="T34" fmla="*/ 0 w 172"/>
                  <a:gd name="T35" fmla="*/ 9 h 74"/>
                  <a:gd name="T36" fmla="*/ 1 w 172"/>
                  <a:gd name="T37" fmla="*/ 7 h 74"/>
                  <a:gd name="T38" fmla="*/ 2 w 172"/>
                  <a:gd name="T39" fmla="*/ 6 h 74"/>
                  <a:gd name="T40" fmla="*/ 3 w 172"/>
                  <a:gd name="T41" fmla="*/ 5 h 74"/>
                  <a:gd name="T42" fmla="*/ 4 w 172"/>
                  <a:gd name="T43" fmla="*/ 3 h 74"/>
                  <a:gd name="T44" fmla="*/ 6 w 172"/>
                  <a:gd name="T45" fmla="*/ 2 h 74"/>
                  <a:gd name="T46" fmla="*/ 8 w 172"/>
                  <a:gd name="T47" fmla="*/ 2 h 74"/>
                  <a:gd name="T48" fmla="*/ 9 w 172"/>
                  <a:gd name="T49" fmla="*/ 1 h 74"/>
                  <a:gd name="T50" fmla="*/ 13 w 172"/>
                  <a:gd name="T51" fmla="*/ 0 h 74"/>
                  <a:gd name="T52" fmla="*/ 18 w 172"/>
                  <a:gd name="T53" fmla="*/ 0 h 74"/>
                  <a:gd name="T54" fmla="*/ 22 w 172"/>
                  <a:gd name="T55" fmla="*/ 0 h 74"/>
                  <a:gd name="T56" fmla="*/ 26 w 172"/>
                  <a:gd name="T57" fmla="*/ 0 h 74"/>
                  <a:gd name="T58" fmla="*/ 30 w 172"/>
                  <a:gd name="T59" fmla="*/ 0 h 74"/>
                  <a:gd name="T60" fmla="*/ 34 w 172"/>
                  <a:gd name="T61" fmla="*/ 1 h 74"/>
                  <a:gd name="T62" fmla="*/ 37 w 172"/>
                  <a:gd name="T63" fmla="*/ 2 h 74"/>
                  <a:gd name="T64" fmla="*/ 41 w 172"/>
                  <a:gd name="T65" fmla="*/ 4 h 74"/>
                  <a:gd name="T66" fmla="*/ 44 w 172"/>
                  <a:gd name="T67" fmla="*/ 6 h 74"/>
                  <a:gd name="T68" fmla="*/ 48 w 172"/>
                  <a:gd name="T69" fmla="*/ 7 h 74"/>
                  <a:gd name="T70" fmla="*/ 51 w 172"/>
                  <a:gd name="T71" fmla="*/ 8 h 74"/>
                  <a:gd name="T72" fmla="*/ 55 w 172"/>
                  <a:gd name="T73" fmla="*/ 8 h 74"/>
                  <a:gd name="T74" fmla="*/ 55 w 172"/>
                  <a:gd name="T75" fmla="*/ 15 h 74"/>
                  <a:gd name="T76" fmla="*/ 54 w 172"/>
                  <a:gd name="T77" fmla="*/ 16 h 74"/>
                  <a:gd name="T78" fmla="*/ 53 w 172"/>
                  <a:gd name="T79" fmla="*/ 18 h 74"/>
                  <a:gd name="T80" fmla="*/ 51 w 172"/>
                  <a:gd name="T81" fmla="*/ 19 h 74"/>
                  <a:gd name="T82" fmla="*/ 51 w 172"/>
                  <a:gd name="T83" fmla="*/ 20 h 74"/>
                  <a:gd name="T84" fmla="*/ 49 w 172"/>
                  <a:gd name="T85" fmla="*/ 21 h 74"/>
                  <a:gd name="T86" fmla="*/ 48 w 172"/>
                  <a:gd name="T87" fmla="*/ 21 h 74"/>
                  <a:gd name="T88" fmla="*/ 47 w 172"/>
                  <a:gd name="T89" fmla="*/ 22 h 74"/>
                  <a:gd name="T90" fmla="*/ 45 w 172"/>
                  <a:gd name="T91" fmla="*/ 22 h 74"/>
                  <a:gd name="T92" fmla="*/ 42 w 172"/>
                  <a:gd name="T93" fmla="*/ 22 h 74"/>
                  <a:gd name="T94" fmla="*/ 39 w 172"/>
                  <a:gd name="T95" fmla="*/ 21 h 74"/>
                  <a:gd name="T96" fmla="*/ 36 w 172"/>
                  <a:gd name="T97" fmla="*/ 20 h 74"/>
                  <a:gd name="T98" fmla="*/ 32 w 172"/>
                  <a:gd name="T99" fmla="*/ 19 h 74"/>
                  <a:gd name="T100" fmla="*/ 34 w 172"/>
                  <a:gd name="T101" fmla="*/ 19 h 74"/>
                  <a:gd name="T102" fmla="*/ 38 w 172"/>
                  <a:gd name="T103" fmla="*/ 2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3282BE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12" name="Freeform 408">
                <a:extLst>
                  <a:ext uri="{FF2B5EF4-FFF2-40B4-BE49-F238E27FC236}">
                    <a16:creationId xmlns:a16="http://schemas.microsoft.com/office/drawing/2014/main" id="{835B3A10-6ACA-4163-896C-4154C0680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9 w 120"/>
                  <a:gd name="T1" fmla="*/ 17 h 49"/>
                  <a:gd name="T2" fmla="*/ 15 w 120"/>
                  <a:gd name="T3" fmla="*/ 17 h 49"/>
                  <a:gd name="T4" fmla="*/ 20 w 120"/>
                  <a:gd name="T5" fmla="*/ 17 h 49"/>
                  <a:gd name="T6" fmla="*/ 25 w 120"/>
                  <a:gd name="T7" fmla="*/ 16 h 49"/>
                  <a:gd name="T8" fmla="*/ 29 w 120"/>
                  <a:gd name="T9" fmla="*/ 15 h 49"/>
                  <a:gd name="T10" fmla="*/ 30 w 120"/>
                  <a:gd name="T11" fmla="*/ 14 h 49"/>
                  <a:gd name="T12" fmla="*/ 32 w 120"/>
                  <a:gd name="T13" fmla="*/ 13 h 49"/>
                  <a:gd name="T14" fmla="*/ 33 w 120"/>
                  <a:gd name="T15" fmla="*/ 12 h 49"/>
                  <a:gd name="T16" fmla="*/ 34 w 120"/>
                  <a:gd name="T17" fmla="*/ 11 h 49"/>
                  <a:gd name="T18" fmla="*/ 36 w 120"/>
                  <a:gd name="T19" fmla="*/ 8 h 49"/>
                  <a:gd name="T20" fmla="*/ 38 w 120"/>
                  <a:gd name="T21" fmla="*/ 4 h 49"/>
                  <a:gd name="T22" fmla="*/ 32 w 120"/>
                  <a:gd name="T23" fmla="*/ 2 h 49"/>
                  <a:gd name="T24" fmla="*/ 27 w 120"/>
                  <a:gd name="T25" fmla="*/ 1 h 49"/>
                  <a:gd name="T26" fmla="*/ 21 w 120"/>
                  <a:gd name="T27" fmla="*/ 0 h 49"/>
                  <a:gd name="T28" fmla="*/ 16 w 120"/>
                  <a:gd name="T29" fmla="*/ 0 h 49"/>
                  <a:gd name="T30" fmla="*/ 11 w 120"/>
                  <a:gd name="T31" fmla="*/ 0 h 49"/>
                  <a:gd name="T32" fmla="*/ 6 w 120"/>
                  <a:gd name="T33" fmla="*/ 1 h 49"/>
                  <a:gd name="T34" fmla="*/ 3 w 120"/>
                  <a:gd name="T35" fmla="*/ 1 h 49"/>
                  <a:gd name="T36" fmla="*/ 0 w 120"/>
                  <a:gd name="T37" fmla="*/ 2 h 49"/>
                  <a:gd name="T38" fmla="*/ 0 w 120"/>
                  <a:gd name="T39" fmla="*/ 10 h 49"/>
                  <a:gd name="T40" fmla="*/ 1 w 120"/>
                  <a:gd name="T41" fmla="*/ 12 h 49"/>
                  <a:gd name="T42" fmla="*/ 2 w 120"/>
                  <a:gd name="T43" fmla="*/ 13 h 49"/>
                  <a:gd name="T44" fmla="*/ 3 w 120"/>
                  <a:gd name="T45" fmla="*/ 14 h 49"/>
                  <a:gd name="T46" fmla="*/ 4 w 120"/>
                  <a:gd name="T47" fmla="*/ 16 h 49"/>
                  <a:gd name="T48" fmla="*/ 6 w 120"/>
                  <a:gd name="T49" fmla="*/ 17 h 49"/>
                  <a:gd name="T50" fmla="*/ 9 w 120"/>
                  <a:gd name="T51" fmla="*/ 17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13" name="Freeform 409">
                <a:extLst>
                  <a:ext uri="{FF2B5EF4-FFF2-40B4-BE49-F238E27FC236}">
                    <a16:creationId xmlns:a16="http://schemas.microsoft.com/office/drawing/2014/main" id="{39B9821E-52B2-49BE-BE2B-2291E833F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10 w 85"/>
                  <a:gd name="T1" fmla="*/ 0 h 61"/>
                  <a:gd name="T2" fmla="*/ 7 w 85"/>
                  <a:gd name="T3" fmla="*/ 2 h 61"/>
                  <a:gd name="T4" fmla="*/ 3 w 85"/>
                  <a:gd name="T5" fmla="*/ 4 h 61"/>
                  <a:gd name="T6" fmla="*/ 2 w 85"/>
                  <a:gd name="T7" fmla="*/ 5 h 61"/>
                  <a:gd name="T8" fmla="*/ 1 w 85"/>
                  <a:gd name="T9" fmla="*/ 7 h 61"/>
                  <a:gd name="T10" fmla="*/ 0 w 85"/>
                  <a:gd name="T11" fmla="*/ 8 h 61"/>
                  <a:gd name="T12" fmla="*/ 0 w 85"/>
                  <a:gd name="T13" fmla="*/ 10 h 61"/>
                  <a:gd name="T14" fmla="*/ 0 w 85"/>
                  <a:gd name="T15" fmla="*/ 11 h 61"/>
                  <a:gd name="T16" fmla="*/ 0 w 85"/>
                  <a:gd name="T17" fmla="*/ 12 h 61"/>
                  <a:gd name="T18" fmla="*/ 1 w 85"/>
                  <a:gd name="T19" fmla="*/ 12 h 61"/>
                  <a:gd name="T20" fmla="*/ 2 w 85"/>
                  <a:gd name="T21" fmla="*/ 13 h 61"/>
                  <a:gd name="T22" fmla="*/ 3 w 85"/>
                  <a:gd name="T23" fmla="*/ 15 h 61"/>
                  <a:gd name="T24" fmla="*/ 6 w 85"/>
                  <a:gd name="T25" fmla="*/ 17 h 61"/>
                  <a:gd name="T26" fmla="*/ 8 w 85"/>
                  <a:gd name="T27" fmla="*/ 17 h 61"/>
                  <a:gd name="T28" fmla="*/ 11 w 85"/>
                  <a:gd name="T29" fmla="*/ 18 h 61"/>
                  <a:gd name="T30" fmla="*/ 14 w 85"/>
                  <a:gd name="T31" fmla="*/ 19 h 61"/>
                  <a:gd name="T32" fmla="*/ 16 w 85"/>
                  <a:gd name="T33" fmla="*/ 19 h 61"/>
                  <a:gd name="T34" fmla="*/ 17 w 85"/>
                  <a:gd name="T35" fmla="*/ 19 h 61"/>
                  <a:gd name="T36" fmla="*/ 18 w 85"/>
                  <a:gd name="T37" fmla="*/ 19 h 61"/>
                  <a:gd name="T38" fmla="*/ 19 w 85"/>
                  <a:gd name="T39" fmla="*/ 18 h 61"/>
                  <a:gd name="T40" fmla="*/ 20 w 85"/>
                  <a:gd name="T41" fmla="*/ 18 h 61"/>
                  <a:gd name="T42" fmla="*/ 22 w 85"/>
                  <a:gd name="T43" fmla="*/ 16 h 61"/>
                  <a:gd name="T44" fmla="*/ 24 w 85"/>
                  <a:gd name="T45" fmla="*/ 15 h 61"/>
                  <a:gd name="T46" fmla="*/ 24 w 85"/>
                  <a:gd name="T47" fmla="*/ 12 h 61"/>
                  <a:gd name="T48" fmla="*/ 25 w 85"/>
                  <a:gd name="T49" fmla="*/ 10 h 61"/>
                  <a:gd name="T50" fmla="*/ 26 w 85"/>
                  <a:gd name="T51" fmla="*/ 8 h 61"/>
                  <a:gd name="T52" fmla="*/ 26 w 85"/>
                  <a:gd name="T53" fmla="*/ 6 h 61"/>
                  <a:gd name="T54" fmla="*/ 1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14" name="Freeform 410">
                <a:extLst>
                  <a:ext uri="{FF2B5EF4-FFF2-40B4-BE49-F238E27FC236}">
                    <a16:creationId xmlns:a16="http://schemas.microsoft.com/office/drawing/2014/main" id="{75AC8A1F-8D5B-442B-9CCA-7E9091904C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2 h 19"/>
                  <a:gd name="T2" fmla="*/ 2 w 100"/>
                  <a:gd name="T3" fmla="*/ 3 h 19"/>
                  <a:gd name="T4" fmla="*/ 4 w 100"/>
                  <a:gd name="T5" fmla="*/ 5 h 19"/>
                  <a:gd name="T6" fmla="*/ 7 w 100"/>
                  <a:gd name="T7" fmla="*/ 6 h 19"/>
                  <a:gd name="T8" fmla="*/ 8 w 100"/>
                  <a:gd name="T9" fmla="*/ 6 h 19"/>
                  <a:gd name="T10" fmla="*/ 31 w 100"/>
                  <a:gd name="T11" fmla="*/ 2 h 19"/>
                  <a:gd name="T12" fmla="*/ 23 w 100"/>
                  <a:gd name="T13" fmla="*/ 1 h 19"/>
                  <a:gd name="T14" fmla="*/ 15 w 100"/>
                  <a:gd name="T15" fmla="*/ 0 h 19"/>
                  <a:gd name="T16" fmla="*/ 11 w 100"/>
                  <a:gd name="T17" fmla="*/ 0 h 19"/>
                  <a:gd name="T18" fmla="*/ 7 w 100"/>
                  <a:gd name="T19" fmla="*/ 0 h 19"/>
                  <a:gd name="T20" fmla="*/ 4 w 100"/>
                  <a:gd name="T21" fmla="*/ 1 h 19"/>
                  <a:gd name="T22" fmla="*/ 0 w 100"/>
                  <a:gd name="T23" fmla="*/ 2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15" name="Freeform 411">
                <a:extLst>
                  <a:ext uri="{FF2B5EF4-FFF2-40B4-BE49-F238E27FC236}">
                    <a16:creationId xmlns:a16="http://schemas.microsoft.com/office/drawing/2014/main" id="{7279F381-5671-4585-A8A9-DD1D236CCE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9 h 45"/>
                  <a:gd name="T2" fmla="*/ 0 w 166"/>
                  <a:gd name="T3" fmla="*/ 10 h 45"/>
                  <a:gd name="T4" fmla="*/ 1 w 166"/>
                  <a:gd name="T5" fmla="*/ 10 h 45"/>
                  <a:gd name="T6" fmla="*/ 3 w 166"/>
                  <a:gd name="T7" fmla="*/ 11 h 45"/>
                  <a:gd name="T8" fmla="*/ 4 w 166"/>
                  <a:gd name="T9" fmla="*/ 12 h 45"/>
                  <a:gd name="T10" fmla="*/ 9 w 166"/>
                  <a:gd name="T11" fmla="*/ 13 h 45"/>
                  <a:gd name="T12" fmla="*/ 14 w 166"/>
                  <a:gd name="T13" fmla="*/ 14 h 45"/>
                  <a:gd name="T14" fmla="*/ 24 w 166"/>
                  <a:gd name="T15" fmla="*/ 15 h 45"/>
                  <a:gd name="T16" fmla="*/ 29 w 166"/>
                  <a:gd name="T17" fmla="*/ 15 h 45"/>
                  <a:gd name="T18" fmla="*/ 53 w 166"/>
                  <a:gd name="T19" fmla="*/ 9 h 45"/>
                  <a:gd name="T20" fmla="*/ 50 w 166"/>
                  <a:gd name="T21" fmla="*/ 8 h 45"/>
                  <a:gd name="T22" fmla="*/ 44 w 166"/>
                  <a:gd name="T23" fmla="*/ 6 h 45"/>
                  <a:gd name="T24" fmla="*/ 35 w 166"/>
                  <a:gd name="T25" fmla="*/ 4 h 45"/>
                  <a:gd name="T26" fmla="*/ 26 w 166"/>
                  <a:gd name="T27" fmla="*/ 1 h 45"/>
                  <a:gd name="T28" fmla="*/ 21 w 166"/>
                  <a:gd name="T29" fmla="*/ 1 h 45"/>
                  <a:gd name="T30" fmla="*/ 16 w 166"/>
                  <a:gd name="T31" fmla="*/ 0 h 45"/>
                  <a:gd name="T32" fmla="*/ 11 w 166"/>
                  <a:gd name="T33" fmla="*/ 0 h 45"/>
                  <a:gd name="T34" fmla="*/ 8 w 166"/>
                  <a:gd name="T35" fmla="*/ 1 h 45"/>
                  <a:gd name="T36" fmla="*/ 6 w 166"/>
                  <a:gd name="T37" fmla="*/ 1 h 45"/>
                  <a:gd name="T38" fmla="*/ 4 w 166"/>
                  <a:gd name="T39" fmla="*/ 2 h 45"/>
                  <a:gd name="T40" fmla="*/ 3 w 166"/>
                  <a:gd name="T41" fmla="*/ 2 h 45"/>
                  <a:gd name="T42" fmla="*/ 2 w 166"/>
                  <a:gd name="T43" fmla="*/ 3 h 45"/>
                  <a:gd name="T44" fmla="*/ 1 w 166"/>
                  <a:gd name="T45" fmla="*/ 4 h 45"/>
                  <a:gd name="T46" fmla="*/ 0 w 166"/>
                  <a:gd name="T47" fmla="*/ 6 h 45"/>
                  <a:gd name="T48" fmla="*/ 0 w 166"/>
                  <a:gd name="T49" fmla="*/ 7 h 45"/>
                  <a:gd name="T50" fmla="*/ 0 w 166"/>
                  <a:gd name="T51" fmla="*/ 9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3282BE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16" name="Freeform 412">
                <a:extLst>
                  <a:ext uri="{FF2B5EF4-FFF2-40B4-BE49-F238E27FC236}">
                    <a16:creationId xmlns:a16="http://schemas.microsoft.com/office/drawing/2014/main" id="{B5B1E22C-9984-4EE5-BCBD-0738AEE3CB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17" name="Freeform 413">
                <a:extLst>
                  <a:ext uri="{FF2B5EF4-FFF2-40B4-BE49-F238E27FC236}">
                    <a16:creationId xmlns:a16="http://schemas.microsoft.com/office/drawing/2014/main" id="{AAA79144-98B2-4424-8393-7037A11FFF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18" name="Freeform 414">
                <a:extLst>
                  <a:ext uri="{FF2B5EF4-FFF2-40B4-BE49-F238E27FC236}">
                    <a16:creationId xmlns:a16="http://schemas.microsoft.com/office/drawing/2014/main" id="{F8632F85-4DB3-4C59-8F41-CC592C4084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19" name="Freeform 415">
                <a:extLst>
                  <a:ext uri="{FF2B5EF4-FFF2-40B4-BE49-F238E27FC236}">
                    <a16:creationId xmlns:a16="http://schemas.microsoft.com/office/drawing/2014/main" id="{AEA63237-C5E5-40D4-8C63-9EF84AA94B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20" name="Freeform 416">
                <a:extLst>
                  <a:ext uri="{FF2B5EF4-FFF2-40B4-BE49-F238E27FC236}">
                    <a16:creationId xmlns:a16="http://schemas.microsoft.com/office/drawing/2014/main" id="{C834236F-72F8-4DEA-AEA7-E9A5887C24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0185CF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21" name="Freeform 417">
                <a:extLst>
                  <a:ext uri="{FF2B5EF4-FFF2-40B4-BE49-F238E27FC236}">
                    <a16:creationId xmlns:a16="http://schemas.microsoft.com/office/drawing/2014/main" id="{3C2C395C-8CB8-430A-999B-3FBBD6BD62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257 w 1268"/>
                  <a:gd name="T1" fmla="*/ 12 h 321"/>
                  <a:gd name="T2" fmla="*/ 262 w 1268"/>
                  <a:gd name="T3" fmla="*/ 5 h 321"/>
                  <a:gd name="T4" fmla="*/ 273 w 1268"/>
                  <a:gd name="T5" fmla="*/ 3 h 321"/>
                  <a:gd name="T6" fmla="*/ 279 w 1268"/>
                  <a:gd name="T7" fmla="*/ 8 h 321"/>
                  <a:gd name="T8" fmla="*/ 303 w 1268"/>
                  <a:gd name="T9" fmla="*/ 5 h 321"/>
                  <a:gd name="T10" fmla="*/ 329 w 1268"/>
                  <a:gd name="T11" fmla="*/ 0 h 321"/>
                  <a:gd name="T12" fmla="*/ 350 w 1268"/>
                  <a:gd name="T13" fmla="*/ 6 h 321"/>
                  <a:gd name="T14" fmla="*/ 365 w 1268"/>
                  <a:gd name="T15" fmla="*/ 7 h 321"/>
                  <a:gd name="T16" fmla="*/ 409 w 1268"/>
                  <a:gd name="T17" fmla="*/ 10 h 321"/>
                  <a:gd name="T18" fmla="*/ 401 w 1268"/>
                  <a:gd name="T19" fmla="*/ 16 h 321"/>
                  <a:gd name="T20" fmla="*/ 375 w 1268"/>
                  <a:gd name="T21" fmla="*/ 21 h 321"/>
                  <a:gd name="T22" fmla="*/ 340 w 1268"/>
                  <a:gd name="T23" fmla="*/ 25 h 321"/>
                  <a:gd name="T24" fmla="*/ 332 w 1268"/>
                  <a:gd name="T25" fmla="*/ 31 h 321"/>
                  <a:gd name="T26" fmla="*/ 322 w 1268"/>
                  <a:gd name="T27" fmla="*/ 34 h 321"/>
                  <a:gd name="T28" fmla="*/ 304 w 1268"/>
                  <a:gd name="T29" fmla="*/ 33 h 321"/>
                  <a:gd name="T30" fmla="*/ 300 w 1268"/>
                  <a:gd name="T31" fmla="*/ 39 h 321"/>
                  <a:gd name="T32" fmla="*/ 241 w 1268"/>
                  <a:gd name="T33" fmla="*/ 44 h 321"/>
                  <a:gd name="T34" fmla="*/ 215 w 1268"/>
                  <a:gd name="T35" fmla="*/ 51 h 321"/>
                  <a:gd name="T36" fmla="*/ 205 w 1268"/>
                  <a:gd name="T37" fmla="*/ 59 h 321"/>
                  <a:gd name="T38" fmla="*/ 191 w 1268"/>
                  <a:gd name="T39" fmla="*/ 55 h 321"/>
                  <a:gd name="T40" fmla="*/ 184 w 1268"/>
                  <a:gd name="T41" fmla="*/ 59 h 321"/>
                  <a:gd name="T42" fmla="*/ 190 w 1268"/>
                  <a:gd name="T43" fmla="*/ 68 h 321"/>
                  <a:gd name="T44" fmla="*/ 176 w 1268"/>
                  <a:gd name="T45" fmla="*/ 78 h 321"/>
                  <a:gd name="T46" fmla="*/ 156 w 1268"/>
                  <a:gd name="T47" fmla="*/ 77 h 321"/>
                  <a:gd name="T48" fmla="*/ 130 w 1268"/>
                  <a:gd name="T49" fmla="*/ 79 h 321"/>
                  <a:gd name="T50" fmla="*/ 131 w 1268"/>
                  <a:gd name="T51" fmla="*/ 84 h 321"/>
                  <a:gd name="T52" fmla="*/ 126 w 1268"/>
                  <a:gd name="T53" fmla="*/ 96 h 321"/>
                  <a:gd name="T54" fmla="*/ 107 w 1268"/>
                  <a:gd name="T55" fmla="*/ 105 h 321"/>
                  <a:gd name="T56" fmla="*/ 94 w 1268"/>
                  <a:gd name="T57" fmla="*/ 97 h 321"/>
                  <a:gd name="T58" fmla="*/ 82 w 1268"/>
                  <a:gd name="T59" fmla="*/ 93 h 321"/>
                  <a:gd name="T60" fmla="*/ 31 w 1268"/>
                  <a:gd name="T61" fmla="*/ 90 h 321"/>
                  <a:gd name="T62" fmla="*/ 0 w 1268"/>
                  <a:gd name="T63" fmla="*/ 93 h 321"/>
                  <a:gd name="T64" fmla="*/ 3 w 1268"/>
                  <a:gd name="T65" fmla="*/ 87 h 321"/>
                  <a:gd name="T66" fmla="*/ 18 w 1268"/>
                  <a:gd name="T67" fmla="*/ 80 h 321"/>
                  <a:gd name="T68" fmla="*/ 46 w 1268"/>
                  <a:gd name="T69" fmla="*/ 77 h 321"/>
                  <a:gd name="T70" fmla="*/ 55 w 1268"/>
                  <a:gd name="T71" fmla="*/ 74 h 321"/>
                  <a:gd name="T72" fmla="*/ 61 w 1268"/>
                  <a:gd name="T73" fmla="*/ 71 h 321"/>
                  <a:gd name="T74" fmla="*/ 71 w 1268"/>
                  <a:gd name="T75" fmla="*/ 76 h 321"/>
                  <a:gd name="T76" fmla="*/ 80 w 1268"/>
                  <a:gd name="T77" fmla="*/ 81 h 321"/>
                  <a:gd name="T78" fmla="*/ 67 w 1268"/>
                  <a:gd name="T79" fmla="*/ 68 h 321"/>
                  <a:gd name="T80" fmla="*/ 62 w 1268"/>
                  <a:gd name="T81" fmla="*/ 65 h 321"/>
                  <a:gd name="T82" fmla="*/ 64 w 1268"/>
                  <a:gd name="T83" fmla="*/ 59 h 321"/>
                  <a:gd name="T84" fmla="*/ 79 w 1268"/>
                  <a:gd name="T85" fmla="*/ 57 h 321"/>
                  <a:gd name="T86" fmla="*/ 118 w 1268"/>
                  <a:gd name="T87" fmla="*/ 61 h 321"/>
                  <a:gd name="T88" fmla="*/ 135 w 1268"/>
                  <a:gd name="T89" fmla="*/ 57 h 321"/>
                  <a:gd name="T90" fmla="*/ 104 w 1268"/>
                  <a:gd name="T91" fmla="*/ 55 h 321"/>
                  <a:gd name="T92" fmla="*/ 96 w 1268"/>
                  <a:gd name="T93" fmla="*/ 49 h 321"/>
                  <a:gd name="T94" fmla="*/ 122 w 1268"/>
                  <a:gd name="T95" fmla="*/ 45 h 321"/>
                  <a:gd name="T96" fmla="*/ 141 w 1268"/>
                  <a:gd name="T97" fmla="*/ 51 h 321"/>
                  <a:gd name="T98" fmla="*/ 154 w 1268"/>
                  <a:gd name="T99" fmla="*/ 41 h 321"/>
                  <a:gd name="T100" fmla="*/ 214 w 1268"/>
                  <a:gd name="T101" fmla="*/ 28 h 321"/>
                  <a:gd name="T102" fmla="*/ 190 w 1268"/>
                  <a:gd name="T103" fmla="*/ 36 h 321"/>
                  <a:gd name="T104" fmla="*/ 145 w 1268"/>
                  <a:gd name="T105" fmla="*/ 36 h 321"/>
                  <a:gd name="T106" fmla="*/ 101 w 1268"/>
                  <a:gd name="T107" fmla="*/ 38 h 321"/>
                  <a:gd name="T108" fmla="*/ 82 w 1268"/>
                  <a:gd name="T109" fmla="*/ 33 h 321"/>
                  <a:gd name="T110" fmla="*/ 71 w 1268"/>
                  <a:gd name="T111" fmla="*/ 26 h 321"/>
                  <a:gd name="T112" fmla="*/ 82 w 1268"/>
                  <a:gd name="T113" fmla="*/ 23 h 321"/>
                  <a:gd name="T114" fmla="*/ 144 w 1268"/>
                  <a:gd name="T115" fmla="*/ 15 h 321"/>
                  <a:gd name="T116" fmla="*/ 199 w 1268"/>
                  <a:gd name="T117" fmla="*/ 10 h 321"/>
                  <a:gd name="T118" fmla="*/ 217 w 1268"/>
                  <a:gd name="T119" fmla="*/ 7 h 321"/>
                  <a:gd name="T120" fmla="*/ 244 w 1268"/>
                  <a:gd name="T121" fmla="*/ 9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0185CF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22" name="Freeform 418">
                <a:extLst>
                  <a:ext uri="{FF2B5EF4-FFF2-40B4-BE49-F238E27FC236}">
                    <a16:creationId xmlns:a16="http://schemas.microsoft.com/office/drawing/2014/main" id="{5DC963F5-9A1B-40B4-B7C6-68E8B9AF2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3282BE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23" name="Freeform 419">
                <a:extLst>
                  <a:ext uri="{FF2B5EF4-FFF2-40B4-BE49-F238E27FC236}">
                    <a16:creationId xmlns:a16="http://schemas.microsoft.com/office/drawing/2014/main" id="{A66AA0EB-3593-4BC7-B509-A7AC0F9772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3282BE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24" name="Freeform 420">
                <a:extLst>
                  <a:ext uri="{FF2B5EF4-FFF2-40B4-BE49-F238E27FC236}">
                    <a16:creationId xmlns:a16="http://schemas.microsoft.com/office/drawing/2014/main" id="{571CB392-E336-460C-A525-D6C987B9E4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31 h 124"/>
                  <a:gd name="T2" fmla="*/ 0 w 259"/>
                  <a:gd name="T3" fmla="*/ 32 h 124"/>
                  <a:gd name="T4" fmla="*/ 1 w 259"/>
                  <a:gd name="T5" fmla="*/ 33 h 124"/>
                  <a:gd name="T6" fmla="*/ 1 w 259"/>
                  <a:gd name="T7" fmla="*/ 34 h 124"/>
                  <a:gd name="T8" fmla="*/ 2 w 259"/>
                  <a:gd name="T9" fmla="*/ 35 h 124"/>
                  <a:gd name="T10" fmla="*/ 4 w 259"/>
                  <a:gd name="T11" fmla="*/ 37 h 124"/>
                  <a:gd name="T12" fmla="*/ 7 w 259"/>
                  <a:gd name="T13" fmla="*/ 38 h 124"/>
                  <a:gd name="T14" fmla="*/ 10 w 259"/>
                  <a:gd name="T15" fmla="*/ 40 h 124"/>
                  <a:gd name="T16" fmla="*/ 13 w 259"/>
                  <a:gd name="T17" fmla="*/ 40 h 124"/>
                  <a:gd name="T18" fmla="*/ 16 w 259"/>
                  <a:gd name="T19" fmla="*/ 41 h 124"/>
                  <a:gd name="T20" fmla="*/ 19 w 259"/>
                  <a:gd name="T21" fmla="*/ 41 h 124"/>
                  <a:gd name="T22" fmla="*/ 22 w 259"/>
                  <a:gd name="T23" fmla="*/ 41 h 124"/>
                  <a:gd name="T24" fmla="*/ 24 w 259"/>
                  <a:gd name="T25" fmla="*/ 41 h 124"/>
                  <a:gd name="T26" fmla="*/ 26 w 259"/>
                  <a:gd name="T27" fmla="*/ 40 h 124"/>
                  <a:gd name="T28" fmla="*/ 28 w 259"/>
                  <a:gd name="T29" fmla="*/ 40 h 124"/>
                  <a:gd name="T30" fmla="*/ 31 w 259"/>
                  <a:gd name="T31" fmla="*/ 38 h 124"/>
                  <a:gd name="T32" fmla="*/ 34 w 259"/>
                  <a:gd name="T33" fmla="*/ 36 h 124"/>
                  <a:gd name="T34" fmla="*/ 37 w 259"/>
                  <a:gd name="T35" fmla="*/ 34 h 124"/>
                  <a:gd name="T36" fmla="*/ 40 w 259"/>
                  <a:gd name="T37" fmla="*/ 32 h 124"/>
                  <a:gd name="T38" fmla="*/ 42 w 259"/>
                  <a:gd name="T39" fmla="*/ 32 h 124"/>
                  <a:gd name="T40" fmla="*/ 44 w 259"/>
                  <a:gd name="T41" fmla="*/ 31 h 124"/>
                  <a:gd name="T42" fmla="*/ 46 w 259"/>
                  <a:gd name="T43" fmla="*/ 31 h 124"/>
                  <a:gd name="T44" fmla="*/ 49 w 259"/>
                  <a:gd name="T45" fmla="*/ 31 h 124"/>
                  <a:gd name="T46" fmla="*/ 52 w 259"/>
                  <a:gd name="T47" fmla="*/ 31 h 124"/>
                  <a:gd name="T48" fmla="*/ 55 w 259"/>
                  <a:gd name="T49" fmla="*/ 32 h 124"/>
                  <a:gd name="T50" fmla="*/ 58 w 259"/>
                  <a:gd name="T51" fmla="*/ 33 h 124"/>
                  <a:gd name="T52" fmla="*/ 60 w 259"/>
                  <a:gd name="T53" fmla="*/ 34 h 124"/>
                  <a:gd name="T54" fmla="*/ 65 w 259"/>
                  <a:gd name="T55" fmla="*/ 37 h 124"/>
                  <a:gd name="T56" fmla="*/ 70 w 259"/>
                  <a:gd name="T57" fmla="*/ 39 h 124"/>
                  <a:gd name="T58" fmla="*/ 83 w 259"/>
                  <a:gd name="T59" fmla="*/ 39 h 124"/>
                  <a:gd name="T60" fmla="*/ 83 w 259"/>
                  <a:gd name="T61" fmla="*/ 33 h 124"/>
                  <a:gd name="T62" fmla="*/ 81 w 259"/>
                  <a:gd name="T63" fmla="*/ 32 h 124"/>
                  <a:gd name="T64" fmla="*/ 78 w 259"/>
                  <a:gd name="T65" fmla="*/ 32 h 124"/>
                  <a:gd name="T66" fmla="*/ 76 w 259"/>
                  <a:gd name="T67" fmla="*/ 31 h 124"/>
                  <a:gd name="T68" fmla="*/ 72 w 259"/>
                  <a:gd name="T69" fmla="*/ 31 h 124"/>
                  <a:gd name="T70" fmla="*/ 74 w 259"/>
                  <a:gd name="T71" fmla="*/ 28 h 124"/>
                  <a:gd name="T72" fmla="*/ 76 w 259"/>
                  <a:gd name="T73" fmla="*/ 26 h 124"/>
                  <a:gd name="T74" fmla="*/ 77 w 259"/>
                  <a:gd name="T75" fmla="*/ 24 h 124"/>
                  <a:gd name="T76" fmla="*/ 79 w 259"/>
                  <a:gd name="T77" fmla="*/ 23 h 124"/>
                  <a:gd name="T78" fmla="*/ 76 w 259"/>
                  <a:gd name="T79" fmla="*/ 20 h 124"/>
                  <a:gd name="T80" fmla="*/ 74 w 259"/>
                  <a:gd name="T81" fmla="*/ 19 h 124"/>
                  <a:gd name="T82" fmla="*/ 71 w 259"/>
                  <a:gd name="T83" fmla="*/ 17 h 124"/>
                  <a:gd name="T84" fmla="*/ 69 w 259"/>
                  <a:gd name="T85" fmla="*/ 15 h 124"/>
                  <a:gd name="T86" fmla="*/ 63 w 259"/>
                  <a:gd name="T87" fmla="*/ 12 h 124"/>
                  <a:gd name="T88" fmla="*/ 58 w 259"/>
                  <a:gd name="T89" fmla="*/ 10 h 124"/>
                  <a:gd name="T90" fmla="*/ 53 w 259"/>
                  <a:gd name="T91" fmla="*/ 8 h 124"/>
                  <a:gd name="T92" fmla="*/ 49 w 259"/>
                  <a:gd name="T93" fmla="*/ 6 h 124"/>
                  <a:gd name="T94" fmla="*/ 47 w 259"/>
                  <a:gd name="T95" fmla="*/ 4 h 124"/>
                  <a:gd name="T96" fmla="*/ 45 w 259"/>
                  <a:gd name="T97" fmla="*/ 3 h 124"/>
                  <a:gd name="T98" fmla="*/ 44 w 259"/>
                  <a:gd name="T99" fmla="*/ 2 h 124"/>
                  <a:gd name="T100" fmla="*/ 42 w 259"/>
                  <a:gd name="T101" fmla="*/ 0 h 124"/>
                  <a:gd name="T102" fmla="*/ 40 w 259"/>
                  <a:gd name="T103" fmla="*/ 1 h 124"/>
                  <a:gd name="T104" fmla="*/ 37 w 259"/>
                  <a:gd name="T105" fmla="*/ 2 h 124"/>
                  <a:gd name="T106" fmla="*/ 34 w 259"/>
                  <a:gd name="T107" fmla="*/ 4 h 124"/>
                  <a:gd name="T108" fmla="*/ 30 w 259"/>
                  <a:gd name="T109" fmla="*/ 6 h 124"/>
                  <a:gd name="T110" fmla="*/ 24 w 259"/>
                  <a:gd name="T111" fmla="*/ 10 h 124"/>
                  <a:gd name="T112" fmla="*/ 18 w 259"/>
                  <a:gd name="T113" fmla="*/ 14 h 124"/>
                  <a:gd name="T114" fmla="*/ 12 w 259"/>
                  <a:gd name="T115" fmla="*/ 19 h 124"/>
                  <a:gd name="T116" fmla="*/ 7 w 259"/>
                  <a:gd name="T117" fmla="*/ 23 h 124"/>
                  <a:gd name="T118" fmla="*/ 3 w 259"/>
                  <a:gd name="T119" fmla="*/ 27 h 124"/>
                  <a:gd name="T120" fmla="*/ 0 w 259"/>
                  <a:gd name="T121" fmla="*/ 3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3282BE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25" name="Freeform 421">
                <a:extLst>
                  <a:ext uri="{FF2B5EF4-FFF2-40B4-BE49-F238E27FC236}">
                    <a16:creationId xmlns:a16="http://schemas.microsoft.com/office/drawing/2014/main" id="{9049E8DA-23CD-4FEC-89AB-88F9CA1FB3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11 h 57"/>
                  <a:gd name="T2" fmla="*/ 2 w 119"/>
                  <a:gd name="T3" fmla="*/ 12 h 57"/>
                  <a:gd name="T4" fmla="*/ 4 w 119"/>
                  <a:gd name="T5" fmla="*/ 13 h 57"/>
                  <a:gd name="T6" fmla="*/ 6 w 119"/>
                  <a:gd name="T7" fmla="*/ 14 h 57"/>
                  <a:gd name="T8" fmla="*/ 8 w 119"/>
                  <a:gd name="T9" fmla="*/ 16 h 57"/>
                  <a:gd name="T10" fmla="*/ 10 w 119"/>
                  <a:gd name="T11" fmla="*/ 17 h 57"/>
                  <a:gd name="T12" fmla="*/ 11 w 119"/>
                  <a:gd name="T13" fmla="*/ 18 h 57"/>
                  <a:gd name="T14" fmla="*/ 13 w 119"/>
                  <a:gd name="T15" fmla="*/ 19 h 57"/>
                  <a:gd name="T16" fmla="*/ 15 w 119"/>
                  <a:gd name="T17" fmla="*/ 19 h 57"/>
                  <a:gd name="T18" fmla="*/ 18 w 119"/>
                  <a:gd name="T19" fmla="*/ 19 h 57"/>
                  <a:gd name="T20" fmla="*/ 20 w 119"/>
                  <a:gd name="T21" fmla="*/ 19 h 57"/>
                  <a:gd name="T22" fmla="*/ 22 w 119"/>
                  <a:gd name="T23" fmla="*/ 18 h 57"/>
                  <a:gd name="T24" fmla="*/ 25 w 119"/>
                  <a:gd name="T25" fmla="*/ 18 h 57"/>
                  <a:gd name="T26" fmla="*/ 27 w 119"/>
                  <a:gd name="T27" fmla="*/ 17 h 57"/>
                  <a:gd name="T28" fmla="*/ 28 w 119"/>
                  <a:gd name="T29" fmla="*/ 16 h 57"/>
                  <a:gd name="T30" fmla="*/ 30 w 119"/>
                  <a:gd name="T31" fmla="*/ 15 h 57"/>
                  <a:gd name="T32" fmla="*/ 31 w 119"/>
                  <a:gd name="T33" fmla="*/ 13 h 57"/>
                  <a:gd name="T34" fmla="*/ 34 w 119"/>
                  <a:gd name="T35" fmla="*/ 11 h 57"/>
                  <a:gd name="T36" fmla="*/ 36 w 119"/>
                  <a:gd name="T37" fmla="*/ 8 h 57"/>
                  <a:gd name="T38" fmla="*/ 37 w 119"/>
                  <a:gd name="T39" fmla="*/ 4 h 57"/>
                  <a:gd name="T40" fmla="*/ 38 w 119"/>
                  <a:gd name="T41" fmla="*/ 0 h 57"/>
                  <a:gd name="T42" fmla="*/ 32 w 119"/>
                  <a:gd name="T43" fmla="*/ 0 h 57"/>
                  <a:gd name="T44" fmla="*/ 26 w 119"/>
                  <a:gd name="T45" fmla="*/ 0 h 57"/>
                  <a:gd name="T46" fmla="*/ 20 w 119"/>
                  <a:gd name="T47" fmla="*/ 1 h 57"/>
                  <a:gd name="T48" fmla="*/ 14 w 119"/>
                  <a:gd name="T49" fmla="*/ 2 h 57"/>
                  <a:gd name="T50" fmla="*/ 11 w 119"/>
                  <a:gd name="T51" fmla="*/ 2 h 57"/>
                  <a:gd name="T52" fmla="*/ 9 w 119"/>
                  <a:gd name="T53" fmla="*/ 3 h 57"/>
                  <a:gd name="T54" fmla="*/ 7 w 119"/>
                  <a:gd name="T55" fmla="*/ 4 h 57"/>
                  <a:gd name="T56" fmla="*/ 5 w 119"/>
                  <a:gd name="T57" fmla="*/ 5 h 57"/>
                  <a:gd name="T58" fmla="*/ 3 w 119"/>
                  <a:gd name="T59" fmla="*/ 6 h 57"/>
                  <a:gd name="T60" fmla="*/ 2 w 119"/>
                  <a:gd name="T61" fmla="*/ 8 h 57"/>
                  <a:gd name="T62" fmla="*/ 1 w 119"/>
                  <a:gd name="T63" fmla="*/ 9 h 57"/>
                  <a:gd name="T64" fmla="*/ 0 w 119"/>
                  <a:gd name="T65" fmla="*/ 11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26" name="Freeform 422">
                <a:extLst>
                  <a:ext uri="{FF2B5EF4-FFF2-40B4-BE49-F238E27FC236}">
                    <a16:creationId xmlns:a16="http://schemas.microsoft.com/office/drawing/2014/main" id="{AD2A8812-E932-451C-8BCE-00DA98584C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27" name="Freeform 423">
                <a:extLst>
                  <a:ext uri="{FF2B5EF4-FFF2-40B4-BE49-F238E27FC236}">
                    <a16:creationId xmlns:a16="http://schemas.microsoft.com/office/drawing/2014/main" id="{255ABD37-9DEF-49FE-A83A-41D4C83B6A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9 w 246"/>
                  <a:gd name="T1" fmla="*/ 32 h 99"/>
                  <a:gd name="T2" fmla="*/ 7 w 246"/>
                  <a:gd name="T3" fmla="*/ 31 h 99"/>
                  <a:gd name="T4" fmla="*/ 5 w 246"/>
                  <a:gd name="T5" fmla="*/ 31 h 99"/>
                  <a:gd name="T6" fmla="*/ 4 w 246"/>
                  <a:gd name="T7" fmla="*/ 30 h 99"/>
                  <a:gd name="T8" fmla="*/ 3 w 246"/>
                  <a:gd name="T9" fmla="*/ 29 h 99"/>
                  <a:gd name="T10" fmla="*/ 2 w 246"/>
                  <a:gd name="T11" fmla="*/ 28 h 99"/>
                  <a:gd name="T12" fmla="*/ 1 w 246"/>
                  <a:gd name="T13" fmla="*/ 27 h 99"/>
                  <a:gd name="T14" fmla="*/ 0 w 246"/>
                  <a:gd name="T15" fmla="*/ 25 h 99"/>
                  <a:gd name="T16" fmla="*/ 0 w 246"/>
                  <a:gd name="T17" fmla="*/ 24 h 99"/>
                  <a:gd name="T18" fmla="*/ 0 w 246"/>
                  <a:gd name="T19" fmla="*/ 22 h 99"/>
                  <a:gd name="T20" fmla="*/ 0 w 246"/>
                  <a:gd name="T21" fmla="*/ 21 h 99"/>
                  <a:gd name="T22" fmla="*/ 1 w 246"/>
                  <a:gd name="T23" fmla="*/ 19 h 99"/>
                  <a:gd name="T24" fmla="*/ 2 w 246"/>
                  <a:gd name="T25" fmla="*/ 18 h 99"/>
                  <a:gd name="T26" fmla="*/ 3 w 246"/>
                  <a:gd name="T27" fmla="*/ 16 h 99"/>
                  <a:gd name="T28" fmla="*/ 6 w 246"/>
                  <a:gd name="T29" fmla="*/ 13 h 99"/>
                  <a:gd name="T30" fmla="*/ 8 w 246"/>
                  <a:gd name="T31" fmla="*/ 11 h 99"/>
                  <a:gd name="T32" fmla="*/ 11 w 246"/>
                  <a:gd name="T33" fmla="*/ 9 h 99"/>
                  <a:gd name="T34" fmla="*/ 15 w 246"/>
                  <a:gd name="T35" fmla="*/ 7 h 99"/>
                  <a:gd name="T36" fmla="*/ 18 w 246"/>
                  <a:gd name="T37" fmla="*/ 6 h 99"/>
                  <a:gd name="T38" fmla="*/ 22 w 246"/>
                  <a:gd name="T39" fmla="*/ 5 h 99"/>
                  <a:gd name="T40" fmla="*/ 26 w 246"/>
                  <a:gd name="T41" fmla="*/ 3 h 99"/>
                  <a:gd name="T42" fmla="*/ 30 w 246"/>
                  <a:gd name="T43" fmla="*/ 2 h 99"/>
                  <a:gd name="T44" fmla="*/ 33 w 246"/>
                  <a:gd name="T45" fmla="*/ 1 h 99"/>
                  <a:gd name="T46" fmla="*/ 40 w 246"/>
                  <a:gd name="T47" fmla="*/ 0 h 99"/>
                  <a:gd name="T48" fmla="*/ 45 w 246"/>
                  <a:gd name="T49" fmla="*/ 0 h 99"/>
                  <a:gd name="T50" fmla="*/ 54 w 246"/>
                  <a:gd name="T51" fmla="*/ 0 h 99"/>
                  <a:gd name="T52" fmla="*/ 62 w 246"/>
                  <a:gd name="T53" fmla="*/ 0 h 99"/>
                  <a:gd name="T54" fmla="*/ 70 w 246"/>
                  <a:gd name="T55" fmla="*/ 1 h 99"/>
                  <a:gd name="T56" fmla="*/ 79 w 246"/>
                  <a:gd name="T57" fmla="*/ 2 h 99"/>
                  <a:gd name="T58" fmla="*/ 78 w 246"/>
                  <a:gd name="T59" fmla="*/ 4 h 99"/>
                  <a:gd name="T60" fmla="*/ 77 w 246"/>
                  <a:gd name="T61" fmla="*/ 5 h 99"/>
                  <a:gd name="T62" fmla="*/ 76 w 246"/>
                  <a:gd name="T63" fmla="*/ 6 h 99"/>
                  <a:gd name="T64" fmla="*/ 74 w 246"/>
                  <a:gd name="T65" fmla="*/ 8 h 99"/>
                  <a:gd name="T66" fmla="*/ 69 w 246"/>
                  <a:gd name="T67" fmla="*/ 12 h 99"/>
                  <a:gd name="T68" fmla="*/ 64 w 246"/>
                  <a:gd name="T69" fmla="*/ 15 h 99"/>
                  <a:gd name="T70" fmla="*/ 58 w 246"/>
                  <a:gd name="T71" fmla="*/ 18 h 99"/>
                  <a:gd name="T72" fmla="*/ 52 w 246"/>
                  <a:gd name="T73" fmla="*/ 20 h 99"/>
                  <a:gd name="T74" fmla="*/ 49 w 246"/>
                  <a:gd name="T75" fmla="*/ 21 h 99"/>
                  <a:gd name="T76" fmla="*/ 46 w 246"/>
                  <a:gd name="T77" fmla="*/ 21 h 99"/>
                  <a:gd name="T78" fmla="*/ 43 w 246"/>
                  <a:gd name="T79" fmla="*/ 22 h 99"/>
                  <a:gd name="T80" fmla="*/ 40 w 246"/>
                  <a:gd name="T81" fmla="*/ 22 h 99"/>
                  <a:gd name="T82" fmla="*/ 39 w 246"/>
                  <a:gd name="T83" fmla="*/ 22 h 99"/>
                  <a:gd name="T84" fmla="*/ 35 w 246"/>
                  <a:gd name="T85" fmla="*/ 22 h 99"/>
                  <a:gd name="T86" fmla="*/ 32 w 246"/>
                  <a:gd name="T87" fmla="*/ 22 h 99"/>
                  <a:gd name="T88" fmla="*/ 30 w 246"/>
                  <a:gd name="T89" fmla="*/ 22 h 99"/>
                  <a:gd name="T90" fmla="*/ 28 w 246"/>
                  <a:gd name="T91" fmla="*/ 22 h 99"/>
                  <a:gd name="T92" fmla="*/ 26 w 246"/>
                  <a:gd name="T93" fmla="*/ 23 h 99"/>
                  <a:gd name="T94" fmla="*/ 23 w 246"/>
                  <a:gd name="T95" fmla="*/ 25 h 99"/>
                  <a:gd name="T96" fmla="*/ 20 w 246"/>
                  <a:gd name="T97" fmla="*/ 27 h 99"/>
                  <a:gd name="T98" fmla="*/ 17 w 246"/>
                  <a:gd name="T99" fmla="*/ 28 h 99"/>
                  <a:gd name="T100" fmla="*/ 14 w 246"/>
                  <a:gd name="T101" fmla="*/ 30 h 99"/>
                  <a:gd name="T102" fmla="*/ 11 w 246"/>
                  <a:gd name="T103" fmla="*/ 31 h 99"/>
                  <a:gd name="T104" fmla="*/ 9 w 246"/>
                  <a:gd name="T105" fmla="*/ 32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3282BE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28" name="Freeform 424">
                <a:extLst>
                  <a:ext uri="{FF2B5EF4-FFF2-40B4-BE49-F238E27FC236}">
                    <a16:creationId xmlns:a16="http://schemas.microsoft.com/office/drawing/2014/main" id="{EBECE4CC-01FD-4474-8AFE-0DFCD4A437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11 w 233"/>
                  <a:gd name="T1" fmla="*/ 29 h 123"/>
                  <a:gd name="T2" fmla="*/ 3 w 233"/>
                  <a:gd name="T3" fmla="*/ 25 h 123"/>
                  <a:gd name="T4" fmla="*/ 0 w 233"/>
                  <a:gd name="T5" fmla="*/ 18 h 123"/>
                  <a:gd name="T6" fmla="*/ 7 w 233"/>
                  <a:gd name="T7" fmla="*/ 12 h 123"/>
                  <a:gd name="T8" fmla="*/ 13 w 233"/>
                  <a:gd name="T9" fmla="*/ 12 h 123"/>
                  <a:gd name="T10" fmla="*/ 20 w 233"/>
                  <a:gd name="T11" fmla="*/ 12 h 123"/>
                  <a:gd name="T12" fmla="*/ 23 w 233"/>
                  <a:gd name="T13" fmla="*/ 12 h 123"/>
                  <a:gd name="T14" fmla="*/ 27 w 233"/>
                  <a:gd name="T15" fmla="*/ 11 h 123"/>
                  <a:gd name="T16" fmla="*/ 34 w 233"/>
                  <a:gd name="T17" fmla="*/ 7 h 123"/>
                  <a:gd name="T18" fmla="*/ 40 w 233"/>
                  <a:gd name="T19" fmla="*/ 4 h 123"/>
                  <a:gd name="T20" fmla="*/ 48 w 233"/>
                  <a:gd name="T21" fmla="*/ 0 h 123"/>
                  <a:gd name="T22" fmla="*/ 53 w 233"/>
                  <a:gd name="T23" fmla="*/ 3 h 123"/>
                  <a:gd name="T24" fmla="*/ 59 w 233"/>
                  <a:gd name="T25" fmla="*/ 4 h 123"/>
                  <a:gd name="T26" fmla="*/ 62 w 233"/>
                  <a:gd name="T27" fmla="*/ 3 h 123"/>
                  <a:gd name="T28" fmla="*/ 66 w 233"/>
                  <a:gd name="T29" fmla="*/ 2 h 123"/>
                  <a:gd name="T30" fmla="*/ 69 w 233"/>
                  <a:gd name="T31" fmla="*/ 0 h 123"/>
                  <a:gd name="T32" fmla="*/ 76 w 233"/>
                  <a:gd name="T33" fmla="*/ 2 h 123"/>
                  <a:gd name="T34" fmla="*/ 74 w 233"/>
                  <a:gd name="T35" fmla="*/ 6 h 123"/>
                  <a:gd name="T36" fmla="*/ 71 w 233"/>
                  <a:gd name="T37" fmla="*/ 8 h 123"/>
                  <a:gd name="T38" fmla="*/ 68 w 233"/>
                  <a:gd name="T39" fmla="*/ 10 h 123"/>
                  <a:gd name="T40" fmla="*/ 66 w 233"/>
                  <a:gd name="T41" fmla="*/ 14 h 123"/>
                  <a:gd name="T42" fmla="*/ 67 w 233"/>
                  <a:gd name="T43" fmla="*/ 20 h 123"/>
                  <a:gd name="T44" fmla="*/ 60 w 233"/>
                  <a:gd name="T45" fmla="*/ 28 h 123"/>
                  <a:gd name="T46" fmla="*/ 51 w 233"/>
                  <a:gd name="T47" fmla="*/ 31 h 123"/>
                  <a:gd name="T48" fmla="*/ 45 w 233"/>
                  <a:gd name="T49" fmla="*/ 32 h 123"/>
                  <a:gd name="T50" fmla="*/ 38 w 233"/>
                  <a:gd name="T51" fmla="*/ 33 h 123"/>
                  <a:gd name="T52" fmla="*/ 31 w 233"/>
                  <a:gd name="T53" fmla="*/ 34 h 123"/>
                  <a:gd name="T54" fmla="*/ 27 w 233"/>
                  <a:gd name="T55" fmla="*/ 37 h 123"/>
                  <a:gd name="T56" fmla="*/ 22 w 233"/>
                  <a:gd name="T57" fmla="*/ 40 h 123"/>
                  <a:gd name="T58" fmla="*/ 19 w 233"/>
                  <a:gd name="T59" fmla="*/ 40 h 123"/>
                  <a:gd name="T60" fmla="*/ 17 w 233"/>
                  <a:gd name="T61" fmla="*/ 37 h 123"/>
                  <a:gd name="T62" fmla="*/ 16 w 233"/>
                  <a:gd name="T63" fmla="*/ 33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3282BE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29" name="Freeform 425">
                <a:extLst>
                  <a:ext uri="{FF2B5EF4-FFF2-40B4-BE49-F238E27FC236}">
                    <a16:creationId xmlns:a16="http://schemas.microsoft.com/office/drawing/2014/main" id="{D436E497-1ACF-49D1-8EEE-B13D049365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3282BE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30" name="Freeform 426">
                <a:extLst>
                  <a:ext uri="{FF2B5EF4-FFF2-40B4-BE49-F238E27FC236}">
                    <a16:creationId xmlns:a16="http://schemas.microsoft.com/office/drawing/2014/main" id="{AFA17DDD-6E85-4DA1-99C9-DE1955C049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0185CF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31" name="Freeform 427">
                <a:extLst>
                  <a:ext uri="{FF2B5EF4-FFF2-40B4-BE49-F238E27FC236}">
                    <a16:creationId xmlns:a16="http://schemas.microsoft.com/office/drawing/2014/main" id="{F8309DC2-2607-40AD-9367-2F08020994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3282BE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32" name="Freeform 428">
                <a:extLst>
                  <a:ext uri="{FF2B5EF4-FFF2-40B4-BE49-F238E27FC236}">
                    <a16:creationId xmlns:a16="http://schemas.microsoft.com/office/drawing/2014/main" id="{210F25F3-88D3-4AAA-819D-3D72155F4C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34 w 345"/>
                  <a:gd name="T1" fmla="*/ 27 h 86"/>
                  <a:gd name="T2" fmla="*/ 38 w 345"/>
                  <a:gd name="T3" fmla="*/ 25 h 86"/>
                  <a:gd name="T4" fmla="*/ 43 w 345"/>
                  <a:gd name="T5" fmla="*/ 24 h 86"/>
                  <a:gd name="T6" fmla="*/ 48 w 345"/>
                  <a:gd name="T7" fmla="*/ 23 h 86"/>
                  <a:gd name="T8" fmla="*/ 53 w 345"/>
                  <a:gd name="T9" fmla="*/ 22 h 86"/>
                  <a:gd name="T10" fmla="*/ 63 w 345"/>
                  <a:gd name="T11" fmla="*/ 20 h 86"/>
                  <a:gd name="T12" fmla="*/ 74 w 345"/>
                  <a:gd name="T13" fmla="*/ 18 h 86"/>
                  <a:gd name="T14" fmla="*/ 79 w 345"/>
                  <a:gd name="T15" fmla="*/ 17 h 86"/>
                  <a:gd name="T16" fmla="*/ 85 w 345"/>
                  <a:gd name="T17" fmla="*/ 16 h 86"/>
                  <a:gd name="T18" fmla="*/ 90 w 345"/>
                  <a:gd name="T19" fmla="*/ 14 h 86"/>
                  <a:gd name="T20" fmla="*/ 95 w 345"/>
                  <a:gd name="T21" fmla="*/ 13 h 86"/>
                  <a:gd name="T22" fmla="*/ 99 w 345"/>
                  <a:gd name="T23" fmla="*/ 11 h 86"/>
                  <a:gd name="T24" fmla="*/ 104 w 345"/>
                  <a:gd name="T25" fmla="*/ 9 h 86"/>
                  <a:gd name="T26" fmla="*/ 107 w 345"/>
                  <a:gd name="T27" fmla="*/ 7 h 86"/>
                  <a:gd name="T28" fmla="*/ 111 w 345"/>
                  <a:gd name="T29" fmla="*/ 4 h 86"/>
                  <a:gd name="T30" fmla="*/ 108 w 345"/>
                  <a:gd name="T31" fmla="*/ 4 h 86"/>
                  <a:gd name="T32" fmla="*/ 105 w 345"/>
                  <a:gd name="T33" fmla="*/ 3 h 86"/>
                  <a:gd name="T34" fmla="*/ 102 w 345"/>
                  <a:gd name="T35" fmla="*/ 3 h 86"/>
                  <a:gd name="T36" fmla="*/ 99 w 345"/>
                  <a:gd name="T37" fmla="*/ 2 h 86"/>
                  <a:gd name="T38" fmla="*/ 97 w 345"/>
                  <a:gd name="T39" fmla="*/ 1 h 86"/>
                  <a:gd name="T40" fmla="*/ 94 w 345"/>
                  <a:gd name="T41" fmla="*/ 1 h 86"/>
                  <a:gd name="T42" fmla="*/ 90 w 345"/>
                  <a:gd name="T43" fmla="*/ 0 h 86"/>
                  <a:gd name="T44" fmla="*/ 88 w 345"/>
                  <a:gd name="T45" fmla="*/ 0 h 86"/>
                  <a:gd name="T46" fmla="*/ 83 w 345"/>
                  <a:gd name="T47" fmla="*/ 0 h 86"/>
                  <a:gd name="T48" fmla="*/ 79 w 345"/>
                  <a:gd name="T49" fmla="*/ 1 h 86"/>
                  <a:gd name="T50" fmla="*/ 73 w 345"/>
                  <a:gd name="T51" fmla="*/ 2 h 86"/>
                  <a:gd name="T52" fmla="*/ 67 w 345"/>
                  <a:gd name="T53" fmla="*/ 3 h 86"/>
                  <a:gd name="T54" fmla="*/ 54 w 345"/>
                  <a:gd name="T55" fmla="*/ 6 h 86"/>
                  <a:gd name="T56" fmla="*/ 41 w 345"/>
                  <a:gd name="T57" fmla="*/ 9 h 86"/>
                  <a:gd name="T58" fmla="*/ 33 w 345"/>
                  <a:gd name="T59" fmla="*/ 11 h 86"/>
                  <a:gd name="T60" fmla="*/ 27 w 345"/>
                  <a:gd name="T61" fmla="*/ 13 h 86"/>
                  <a:gd name="T62" fmla="*/ 21 w 345"/>
                  <a:gd name="T63" fmla="*/ 16 h 86"/>
                  <a:gd name="T64" fmla="*/ 15 w 345"/>
                  <a:gd name="T65" fmla="*/ 18 h 86"/>
                  <a:gd name="T66" fmla="*/ 10 w 345"/>
                  <a:gd name="T67" fmla="*/ 20 h 86"/>
                  <a:gd name="T68" fmla="*/ 6 w 345"/>
                  <a:gd name="T69" fmla="*/ 23 h 86"/>
                  <a:gd name="T70" fmla="*/ 3 w 345"/>
                  <a:gd name="T71" fmla="*/ 25 h 86"/>
                  <a:gd name="T72" fmla="*/ 0 w 345"/>
                  <a:gd name="T73" fmla="*/ 27 h 86"/>
                  <a:gd name="T74" fmla="*/ 34 w 345"/>
                  <a:gd name="T75" fmla="*/ 27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3282BE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33" name="Freeform 429">
                <a:extLst>
                  <a:ext uri="{FF2B5EF4-FFF2-40B4-BE49-F238E27FC236}">
                    <a16:creationId xmlns:a16="http://schemas.microsoft.com/office/drawing/2014/main" id="{A1294FE6-29AE-4AFB-BE8F-D30440A0E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6 w 464"/>
                  <a:gd name="T1" fmla="*/ 28 h 130"/>
                  <a:gd name="T2" fmla="*/ 25 w 464"/>
                  <a:gd name="T3" fmla="*/ 27 h 130"/>
                  <a:gd name="T4" fmla="*/ 33 w 464"/>
                  <a:gd name="T5" fmla="*/ 27 h 130"/>
                  <a:gd name="T6" fmla="*/ 30 w 464"/>
                  <a:gd name="T7" fmla="*/ 29 h 130"/>
                  <a:gd name="T8" fmla="*/ 26 w 464"/>
                  <a:gd name="T9" fmla="*/ 33 h 130"/>
                  <a:gd name="T10" fmla="*/ 23 w 464"/>
                  <a:gd name="T11" fmla="*/ 37 h 130"/>
                  <a:gd name="T12" fmla="*/ 23 w 464"/>
                  <a:gd name="T13" fmla="*/ 39 h 130"/>
                  <a:gd name="T14" fmla="*/ 25 w 464"/>
                  <a:gd name="T15" fmla="*/ 41 h 130"/>
                  <a:gd name="T16" fmla="*/ 30 w 464"/>
                  <a:gd name="T17" fmla="*/ 43 h 130"/>
                  <a:gd name="T18" fmla="*/ 35 w 464"/>
                  <a:gd name="T19" fmla="*/ 43 h 130"/>
                  <a:gd name="T20" fmla="*/ 41 w 464"/>
                  <a:gd name="T21" fmla="*/ 42 h 130"/>
                  <a:gd name="T22" fmla="*/ 50 w 464"/>
                  <a:gd name="T23" fmla="*/ 39 h 130"/>
                  <a:gd name="T24" fmla="*/ 63 w 464"/>
                  <a:gd name="T25" fmla="*/ 36 h 130"/>
                  <a:gd name="T26" fmla="*/ 73 w 464"/>
                  <a:gd name="T27" fmla="*/ 33 h 130"/>
                  <a:gd name="T28" fmla="*/ 80 w 464"/>
                  <a:gd name="T29" fmla="*/ 33 h 130"/>
                  <a:gd name="T30" fmla="*/ 85 w 464"/>
                  <a:gd name="T31" fmla="*/ 33 h 130"/>
                  <a:gd name="T32" fmla="*/ 98 w 464"/>
                  <a:gd name="T33" fmla="*/ 33 h 130"/>
                  <a:gd name="T34" fmla="*/ 107 w 464"/>
                  <a:gd name="T35" fmla="*/ 32 h 130"/>
                  <a:gd name="T36" fmla="*/ 121 w 464"/>
                  <a:gd name="T37" fmla="*/ 31 h 130"/>
                  <a:gd name="T38" fmla="*/ 133 w 464"/>
                  <a:gd name="T39" fmla="*/ 27 h 130"/>
                  <a:gd name="T40" fmla="*/ 144 w 464"/>
                  <a:gd name="T41" fmla="*/ 22 h 130"/>
                  <a:gd name="T42" fmla="*/ 146 w 464"/>
                  <a:gd name="T43" fmla="*/ 17 h 130"/>
                  <a:gd name="T44" fmla="*/ 141 w 464"/>
                  <a:gd name="T45" fmla="*/ 16 h 130"/>
                  <a:gd name="T46" fmla="*/ 133 w 464"/>
                  <a:gd name="T47" fmla="*/ 16 h 130"/>
                  <a:gd name="T48" fmla="*/ 127 w 464"/>
                  <a:gd name="T49" fmla="*/ 15 h 130"/>
                  <a:gd name="T50" fmla="*/ 130 w 464"/>
                  <a:gd name="T51" fmla="*/ 12 h 130"/>
                  <a:gd name="T52" fmla="*/ 133 w 464"/>
                  <a:gd name="T53" fmla="*/ 7 h 130"/>
                  <a:gd name="T54" fmla="*/ 134 w 464"/>
                  <a:gd name="T55" fmla="*/ 2 h 130"/>
                  <a:gd name="T56" fmla="*/ 121 w 464"/>
                  <a:gd name="T57" fmla="*/ 0 h 130"/>
                  <a:gd name="T58" fmla="*/ 116 w 464"/>
                  <a:gd name="T59" fmla="*/ 6 h 130"/>
                  <a:gd name="T60" fmla="*/ 110 w 464"/>
                  <a:gd name="T61" fmla="*/ 14 h 130"/>
                  <a:gd name="T62" fmla="*/ 104 w 464"/>
                  <a:gd name="T63" fmla="*/ 20 h 130"/>
                  <a:gd name="T64" fmla="*/ 100 w 464"/>
                  <a:gd name="T65" fmla="*/ 22 h 130"/>
                  <a:gd name="T66" fmla="*/ 96 w 464"/>
                  <a:gd name="T67" fmla="*/ 22 h 130"/>
                  <a:gd name="T68" fmla="*/ 89 w 464"/>
                  <a:gd name="T69" fmla="*/ 22 h 130"/>
                  <a:gd name="T70" fmla="*/ 84 w 464"/>
                  <a:gd name="T71" fmla="*/ 21 h 130"/>
                  <a:gd name="T72" fmla="*/ 77 w 464"/>
                  <a:gd name="T73" fmla="*/ 18 h 130"/>
                  <a:gd name="T74" fmla="*/ 66 w 464"/>
                  <a:gd name="T75" fmla="*/ 10 h 130"/>
                  <a:gd name="T76" fmla="*/ 58 w 464"/>
                  <a:gd name="T77" fmla="*/ 10 h 130"/>
                  <a:gd name="T78" fmla="*/ 48 w 464"/>
                  <a:gd name="T79" fmla="*/ 10 h 130"/>
                  <a:gd name="T80" fmla="*/ 38 w 464"/>
                  <a:gd name="T81" fmla="*/ 12 h 130"/>
                  <a:gd name="T82" fmla="*/ 27 w 464"/>
                  <a:gd name="T83" fmla="*/ 15 h 130"/>
                  <a:gd name="T84" fmla="*/ 17 w 464"/>
                  <a:gd name="T85" fmla="*/ 18 h 130"/>
                  <a:gd name="T86" fmla="*/ 9 w 464"/>
                  <a:gd name="T87" fmla="*/ 22 h 130"/>
                  <a:gd name="T88" fmla="*/ 3 w 464"/>
                  <a:gd name="T89" fmla="*/ 25 h 130"/>
                  <a:gd name="T90" fmla="*/ 0 w 464"/>
                  <a:gd name="T91" fmla="*/ 28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3282BE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34" name="Freeform 430">
                <a:extLst>
                  <a:ext uri="{FF2B5EF4-FFF2-40B4-BE49-F238E27FC236}">
                    <a16:creationId xmlns:a16="http://schemas.microsoft.com/office/drawing/2014/main" id="{CCF5D43B-6EA4-4A32-B1A6-1D25D02C31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20 w 472"/>
                  <a:gd name="T1" fmla="*/ 0 h 92"/>
                  <a:gd name="T2" fmla="*/ 14 w 472"/>
                  <a:gd name="T3" fmla="*/ 0 h 92"/>
                  <a:gd name="T4" fmla="*/ 8 w 472"/>
                  <a:gd name="T5" fmla="*/ 0 h 92"/>
                  <a:gd name="T6" fmla="*/ 4 w 472"/>
                  <a:gd name="T7" fmla="*/ 1 h 92"/>
                  <a:gd name="T8" fmla="*/ 2 w 472"/>
                  <a:gd name="T9" fmla="*/ 3 h 92"/>
                  <a:gd name="T10" fmla="*/ 2 w 472"/>
                  <a:gd name="T11" fmla="*/ 5 h 92"/>
                  <a:gd name="T12" fmla="*/ 3 w 472"/>
                  <a:gd name="T13" fmla="*/ 8 h 92"/>
                  <a:gd name="T14" fmla="*/ 5 w 472"/>
                  <a:gd name="T15" fmla="*/ 11 h 92"/>
                  <a:gd name="T16" fmla="*/ 5 w 472"/>
                  <a:gd name="T17" fmla="*/ 14 h 92"/>
                  <a:gd name="T18" fmla="*/ 1 w 472"/>
                  <a:gd name="T19" fmla="*/ 17 h 92"/>
                  <a:gd name="T20" fmla="*/ 0 w 472"/>
                  <a:gd name="T21" fmla="*/ 19 h 92"/>
                  <a:gd name="T22" fmla="*/ 1 w 472"/>
                  <a:gd name="T23" fmla="*/ 22 h 92"/>
                  <a:gd name="T24" fmla="*/ 5 w 472"/>
                  <a:gd name="T25" fmla="*/ 23 h 92"/>
                  <a:gd name="T26" fmla="*/ 16 w 472"/>
                  <a:gd name="T27" fmla="*/ 26 h 92"/>
                  <a:gd name="T28" fmla="*/ 35 w 472"/>
                  <a:gd name="T29" fmla="*/ 29 h 92"/>
                  <a:gd name="T30" fmla="*/ 54 w 472"/>
                  <a:gd name="T31" fmla="*/ 31 h 92"/>
                  <a:gd name="T32" fmla="*/ 118 w 472"/>
                  <a:gd name="T33" fmla="*/ 31 h 92"/>
                  <a:gd name="T34" fmla="*/ 121 w 472"/>
                  <a:gd name="T35" fmla="*/ 27 h 92"/>
                  <a:gd name="T36" fmla="*/ 125 w 472"/>
                  <a:gd name="T37" fmla="*/ 25 h 92"/>
                  <a:gd name="T38" fmla="*/ 129 w 472"/>
                  <a:gd name="T39" fmla="*/ 25 h 92"/>
                  <a:gd name="T40" fmla="*/ 133 w 472"/>
                  <a:gd name="T41" fmla="*/ 25 h 92"/>
                  <a:gd name="T42" fmla="*/ 143 w 472"/>
                  <a:gd name="T43" fmla="*/ 26 h 92"/>
                  <a:gd name="T44" fmla="*/ 148 w 472"/>
                  <a:gd name="T45" fmla="*/ 26 h 92"/>
                  <a:gd name="T46" fmla="*/ 153 w 472"/>
                  <a:gd name="T47" fmla="*/ 25 h 92"/>
                  <a:gd name="T48" fmla="*/ 151 w 472"/>
                  <a:gd name="T49" fmla="*/ 11 h 92"/>
                  <a:gd name="T50" fmla="*/ 147 w 472"/>
                  <a:gd name="T51" fmla="*/ 9 h 92"/>
                  <a:gd name="T52" fmla="*/ 144 w 472"/>
                  <a:gd name="T53" fmla="*/ 6 h 92"/>
                  <a:gd name="T54" fmla="*/ 140 w 472"/>
                  <a:gd name="T55" fmla="*/ 4 h 92"/>
                  <a:gd name="T56" fmla="*/ 135 w 472"/>
                  <a:gd name="T57" fmla="*/ 4 h 92"/>
                  <a:gd name="T58" fmla="*/ 128 w 472"/>
                  <a:gd name="T59" fmla="*/ 5 h 92"/>
                  <a:gd name="T60" fmla="*/ 119 w 472"/>
                  <a:gd name="T61" fmla="*/ 7 h 92"/>
                  <a:gd name="T62" fmla="*/ 106 w 472"/>
                  <a:gd name="T63" fmla="*/ 11 h 92"/>
                  <a:gd name="T64" fmla="*/ 97 w 472"/>
                  <a:gd name="T65" fmla="*/ 13 h 92"/>
                  <a:gd name="T66" fmla="*/ 89 w 472"/>
                  <a:gd name="T67" fmla="*/ 14 h 92"/>
                  <a:gd name="T68" fmla="*/ 77 w 472"/>
                  <a:gd name="T69" fmla="*/ 14 h 92"/>
                  <a:gd name="T70" fmla="*/ 62 w 472"/>
                  <a:gd name="T71" fmla="*/ 14 h 92"/>
                  <a:gd name="T72" fmla="*/ 51 w 472"/>
                  <a:gd name="T73" fmla="*/ 14 h 92"/>
                  <a:gd name="T74" fmla="*/ 39 w 472"/>
                  <a:gd name="T75" fmla="*/ 14 h 92"/>
                  <a:gd name="T76" fmla="*/ 29 w 472"/>
                  <a:gd name="T77" fmla="*/ 14 h 92"/>
                  <a:gd name="T78" fmla="*/ 25 w 472"/>
                  <a:gd name="T79" fmla="*/ 12 h 92"/>
                  <a:gd name="T80" fmla="*/ 23 w 472"/>
                  <a:gd name="T81" fmla="*/ 9 h 92"/>
                  <a:gd name="T82" fmla="*/ 22 w 472"/>
                  <a:gd name="T83" fmla="*/ 6 h 92"/>
                  <a:gd name="T84" fmla="*/ 22 w 472"/>
                  <a:gd name="T85" fmla="*/ 3 h 92"/>
                  <a:gd name="T86" fmla="*/ 24 w 472"/>
                  <a:gd name="T87" fmla="*/ 1 h 92"/>
                  <a:gd name="T88" fmla="*/ 2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3282BE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35" name="Freeform 431">
                <a:extLst>
                  <a:ext uri="{FF2B5EF4-FFF2-40B4-BE49-F238E27FC236}">
                    <a16:creationId xmlns:a16="http://schemas.microsoft.com/office/drawing/2014/main" id="{267CFCBB-9F1E-4261-A685-61C3DE2FCE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47 w 326"/>
                  <a:gd name="T1" fmla="*/ 36 h 135"/>
                  <a:gd name="T2" fmla="*/ 66 w 326"/>
                  <a:gd name="T3" fmla="*/ 32 h 135"/>
                  <a:gd name="T4" fmla="*/ 85 w 326"/>
                  <a:gd name="T5" fmla="*/ 28 h 135"/>
                  <a:gd name="T6" fmla="*/ 98 w 326"/>
                  <a:gd name="T7" fmla="*/ 25 h 135"/>
                  <a:gd name="T8" fmla="*/ 103 w 326"/>
                  <a:gd name="T9" fmla="*/ 22 h 135"/>
                  <a:gd name="T10" fmla="*/ 105 w 326"/>
                  <a:gd name="T11" fmla="*/ 19 h 135"/>
                  <a:gd name="T12" fmla="*/ 101 w 326"/>
                  <a:gd name="T13" fmla="*/ 16 h 135"/>
                  <a:gd name="T14" fmla="*/ 98 w 326"/>
                  <a:gd name="T15" fmla="*/ 14 h 135"/>
                  <a:gd name="T16" fmla="*/ 93 w 326"/>
                  <a:gd name="T17" fmla="*/ 12 h 135"/>
                  <a:gd name="T18" fmla="*/ 86 w 326"/>
                  <a:gd name="T19" fmla="*/ 11 h 135"/>
                  <a:gd name="T20" fmla="*/ 75 w 326"/>
                  <a:gd name="T21" fmla="*/ 10 h 135"/>
                  <a:gd name="T22" fmla="*/ 68 w 326"/>
                  <a:gd name="T23" fmla="*/ 10 h 135"/>
                  <a:gd name="T24" fmla="*/ 66 w 326"/>
                  <a:gd name="T25" fmla="*/ 8 h 135"/>
                  <a:gd name="T26" fmla="*/ 64 w 326"/>
                  <a:gd name="T27" fmla="*/ 6 h 135"/>
                  <a:gd name="T28" fmla="*/ 62 w 326"/>
                  <a:gd name="T29" fmla="*/ 3 h 135"/>
                  <a:gd name="T30" fmla="*/ 59 w 326"/>
                  <a:gd name="T31" fmla="*/ 2 h 135"/>
                  <a:gd name="T32" fmla="*/ 53 w 326"/>
                  <a:gd name="T33" fmla="*/ 0 h 135"/>
                  <a:gd name="T34" fmla="*/ 44 w 326"/>
                  <a:gd name="T35" fmla="*/ 0 h 135"/>
                  <a:gd name="T36" fmla="*/ 28 w 326"/>
                  <a:gd name="T37" fmla="*/ 3 h 135"/>
                  <a:gd name="T38" fmla="*/ 16 w 326"/>
                  <a:gd name="T39" fmla="*/ 6 h 135"/>
                  <a:gd name="T40" fmla="*/ 9 w 326"/>
                  <a:gd name="T41" fmla="*/ 9 h 135"/>
                  <a:gd name="T42" fmla="*/ 4 w 326"/>
                  <a:gd name="T43" fmla="*/ 12 h 135"/>
                  <a:gd name="T44" fmla="*/ 1 w 326"/>
                  <a:gd name="T45" fmla="*/ 15 h 135"/>
                  <a:gd name="T46" fmla="*/ 0 w 326"/>
                  <a:gd name="T47" fmla="*/ 17 h 135"/>
                  <a:gd name="T48" fmla="*/ 11 w 326"/>
                  <a:gd name="T49" fmla="*/ 25 h 135"/>
                  <a:gd name="T50" fmla="*/ 18 w 326"/>
                  <a:gd name="T51" fmla="*/ 27 h 135"/>
                  <a:gd name="T52" fmla="*/ 13 w 326"/>
                  <a:gd name="T53" fmla="*/ 30 h 135"/>
                  <a:gd name="T54" fmla="*/ 12 w 326"/>
                  <a:gd name="T55" fmla="*/ 33 h 135"/>
                  <a:gd name="T56" fmla="*/ 14 w 326"/>
                  <a:gd name="T57" fmla="*/ 38 h 135"/>
                  <a:gd name="T58" fmla="*/ 16 w 326"/>
                  <a:gd name="T59" fmla="*/ 43 h 135"/>
                  <a:gd name="T60" fmla="*/ 18 w 326"/>
                  <a:gd name="T61" fmla="*/ 45 h 135"/>
                  <a:gd name="T62" fmla="*/ 22 w 326"/>
                  <a:gd name="T63" fmla="*/ 45 h 135"/>
                  <a:gd name="T64" fmla="*/ 28 w 326"/>
                  <a:gd name="T65" fmla="*/ 44 h 135"/>
                  <a:gd name="T66" fmla="*/ 33 w 326"/>
                  <a:gd name="T67" fmla="*/ 42 h 135"/>
                  <a:gd name="T68" fmla="*/ 38 w 326"/>
                  <a:gd name="T69" fmla="*/ 41 h 135"/>
                  <a:gd name="T70" fmla="*/ 39 w 326"/>
                  <a:gd name="T71" fmla="*/ 37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3282BE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36" name="Freeform 432">
                <a:extLst>
                  <a:ext uri="{FF2B5EF4-FFF2-40B4-BE49-F238E27FC236}">
                    <a16:creationId xmlns:a16="http://schemas.microsoft.com/office/drawing/2014/main" id="{2AFA48A5-9E09-4296-A5E8-45D898B284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5 w 159"/>
                  <a:gd name="T1" fmla="*/ 17 h 56"/>
                  <a:gd name="T2" fmla="*/ 13 w 159"/>
                  <a:gd name="T3" fmla="*/ 17 h 56"/>
                  <a:gd name="T4" fmla="*/ 11 w 159"/>
                  <a:gd name="T5" fmla="*/ 16 h 56"/>
                  <a:gd name="T6" fmla="*/ 8 w 159"/>
                  <a:gd name="T7" fmla="*/ 14 h 56"/>
                  <a:gd name="T8" fmla="*/ 6 w 159"/>
                  <a:gd name="T9" fmla="*/ 12 h 56"/>
                  <a:gd name="T10" fmla="*/ 3 w 159"/>
                  <a:gd name="T11" fmla="*/ 10 h 56"/>
                  <a:gd name="T12" fmla="*/ 2 w 159"/>
                  <a:gd name="T13" fmla="*/ 8 h 56"/>
                  <a:gd name="T14" fmla="*/ 1 w 159"/>
                  <a:gd name="T15" fmla="*/ 7 h 56"/>
                  <a:gd name="T16" fmla="*/ 0 w 159"/>
                  <a:gd name="T17" fmla="*/ 5 h 56"/>
                  <a:gd name="T18" fmla="*/ 0 w 159"/>
                  <a:gd name="T19" fmla="*/ 4 h 56"/>
                  <a:gd name="T20" fmla="*/ 0 w 159"/>
                  <a:gd name="T21" fmla="*/ 3 h 56"/>
                  <a:gd name="T22" fmla="*/ 7 w 159"/>
                  <a:gd name="T23" fmla="*/ 3 h 56"/>
                  <a:gd name="T24" fmla="*/ 13 w 159"/>
                  <a:gd name="T25" fmla="*/ 3 h 56"/>
                  <a:gd name="T26" fmla="*/ 17 w 159"/>
                  <a:gd name="T27" fmla="*/ 3 h 56"/>
                  <a:gd name="T28" fmla="*/ 19 w 159"/>
                  <a:gd name="T29" fmla="*/ 3 h 56"/>
                  <a:gd name="T30" fmla="*/ 27 w 159"/>
                  <a:gd name="T31" fmla="*/ 2 h 56"/>
                  <a:gd name="T32" fmla="*/ 38 w 159"/>
                  <a:gd name="T33" fmla="*/ 0 h 56"/>
                  <a:gd name="T34" fmla="*/ 40 w 159"/>
                  <a:gd name="T35" fmla="*/ 0 h 56"/>
                  <a:gd name="T36" fmla="*/ 42 w 159"/>
                  <a:gd name="T37" fmla="*/ 0 h 56"/>
                  <a:gd name="T38" fmla="*/ 45 w 159"/>
                  <a:gd name="T39" fmla="*/ 0 h 56"/>
                  <a:gd name="T40" fmla="*/ 47 w 159"/>
                  <a:gd name="T41" fmla="*/ 1 h 56"/>
                  <a:gd name="T42" fmla="*/ 48 w 159"/>
                  <a:gd name="T43" fmla="*/ 2 h 56"/>
                  <a:gd name="T44" fmla="*/ 50 w 159"/>
                  <a:gd name="T45" fmla="*/ 3 h 56"/>
                  <a:gd name="T46" fmla="*/ 51 w 159"/>
                  <a:gd name="T47" fmla="*/ 5 h 56"/>
                  <a:gd name="T48" fmla="*/ 51 w 159"/>
                  <a:gd name="T49" fmla="*/ 7 h 56"/>
                  <a:gd name="T50" fmla="*/ 51 w 159"/>
                  <a:gd name="T51" fmla="*/ 10 h 56"/>
                  <a:gd name="T52" fmla="*/ 50 w 159"/>
                  <a:gd name="T53" fmla="*/ 12 h 56"/>
                  <a:gd name="T54" fmla="*/ 48 w 159"/>
                  <a:gd name="T55" fmla="*/ 14 h 56"/>
                  <a:gd name="T56" fmla="*/ 47 w 159"/>
                  <a:gd name="T57" fmla="*/ 15 h 56"/>
                  <a:gd name="T58" fmla="*/ 45 w 159"/>
                  <a:gd name="T59" fmla="*/ 17 h 56"/>
                  <a:gd name="T60" fmla="*/ 42 w 159"/>
                  <a:gd name="T61" fmla="*/ 17 h 56"/>
                  <a:gd name="T62" fmla="*/ 40 w 159"/>
                  <a:gd name="T63" fmla="*/ 18 h 56"/>
                  <a:gd name="T64" fmla="*/ 37 w 159"/>
                  <a:gd name="T65" fmla="*/ 18 h 56"/>
                  <a:gd name="T66" fmla="*/ 25 w 159"/>
                  <a:gd name="T67" fmla="*/ 18 h 56"/>
                  <a:gd name="T68" fmla="*/ 15 w 159"/>
                  <a:gd name="T69" fmla="*/ 17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37" name="Freeform 433">
                <a:extLst>
                  <a:ext uri="{FF2B5EF4-FFF2-40B4-BE49-F238E27FC236}">
                    <a16:creationId xmlns:a16="http://schemas.microsoft.com/office/drawing/2014/main" id="{823FABA3-5696-44C6-B749-E6DB5E4921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0185CF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280" name="Freeform 434">
              <a:extLst>
                <a:ext uri="{FF2B5EF4-FFF2-40B4-BE49-F238E27FC236}">
                  <a16:creationId xmlns:a16="http://schemas.microsoft.com/office/drawing/2014/main" id="{D08DE9E6-15D9-4306-A366-E9823976E806}"/>
                </a:ext>
              </a:extLst>
            </p:cNvPr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6609660" y="3771258"/>
              <a:ext cx="164701" cy="170343"/>
            </a:xfrm>
            <a:custGeom>
              <a:avLst/>
              <a:gdLst>
                <a:gd name="T0" fmla="*/ 115257 w 292"/>
                <a:gd name="T1" fmla="*/ 5154 h 308"/>
                <a:gd name="T2" fmla="*/ 120041 w 292"/>
                <a:gd name="T3" fmla="*/ 19071 h 308"/>
                <a:gd name="T4" fmla="*/ 124390 w 292"/>
                <a:gd name="T5" fmla="*/ 46903 h 308"/>
                <a:gd name="T6" fmla="*/ 127000 w 292"/>
                <a:gd name="T7" fmla="*/ 74221 h 308"/>
                <a:gd name="T8" fmla="*/ 126565 w 292"/>
                <a:gd name="T9" fmla="*/ 82983 h 308"/>
                <a:gd name="T10" fmla="*/ 124390 w 292"/>
                <a:gd name="T11" fmla="*/ 92261 h 308"/>
                <a:gd name="T12" fmla="*/ 116997 w 292"/>
                <a:gd name="T13" fmla="*/ 106177 h 308"/>
                <a:gd name="T14" fmla="*/ 100469 w 292"/>
                <a:gd name="T15" fmla="*/ 95353 h 308"/>
                <a:gd name="T16" fmla="*/ 71764 w 292"/>
                <a:gd name="T17" fmla="*/ 132979 h 308"/>
                <a:gd name="T18" fmla="*/ 57411 w 292"/>
                <a:gd name="T19" fmla="*/ 143287 h 308"/>
                <a:gd name="T20" fmla="*/ 25661 w 292"/>
                <a:gd name="T21" fmla="*/ 152565 h 308"/>
                <a:gd name="T22" fmla="*/ 13918 w 292"/>
                <a:gd name="T23" fmla="*/ 158750 h 308"/>
                <a:gd name="T24" fmla="*/ 2610 w 292"/>
                <a:gd name="T25" fmla="*/ 158750 h 308"/>
                <a:gd name="T26" fmla="*/ 3914 w 292"/>
                <a:gd name="T27" fmla="*/ 153080 h 308"/>
                <a:gd name="T28" fmla="*/ 4784 w 292"/>
                <a:gd name="T29" fmla="*/ 147411 h 308"/>
                <a:gd name="T30" fmla="*/ 3045 w 292"/>
                <a:gd name="T31" fmla="*/ 136587 h 308"/>
                <a:gd name="T32" fmla="*/ 870 w 292"/>
                <a:gd name="T33" fmla="*/ 126794 h 308"/>
                <a:gd name="T34" fmla="*/ 0 w 292"/>
                <a:gd name="T35" fmla="*/ 117516 h 308"/>
                <a:gd name="T36" fmla="*/ 1305 w 292"/>
                <a:gd name="T37" fmla="*/ 105662 h 308"/>
                <a:gd name="T38" fmla="*/ 5219 w 292"/>
                <a:gd name="T39" fmla="*/ 96899 h 308"/>
                <a:gd name="T40" fmla="*/ 11308 w 292"/>
                <a:gd name="T41" fmla="*/ 89683 h 308"/>
                <a:gd name="T42" fmla="*/ 18267 w 292"/>
                <a:gd name="T43" fmla="*/ 82983 h 308"/>
                <a:gd name="T44" fmla="*/ 33490 w 292"/>
                <a:gd name="T45" fmla="*/ 69582 h 308"/>
                <a:gd name="T46" fmla="*/ 40449 w 292"/>
                <a:gd name="T47" fmla="*/ 61335 h 308"/>
                <a:gd name="T48" fmla="*/ 45668 w 292"/>
                <a:gd name="T49" fmla="*/ 50511 h 308"/>
                <a:gd name="T50" fmla="*/ 42623 w 292"/>
                <a:gd name="T51" fmla="*/ 49481 h 308"/>
                <a:gd name="T52" fmla="*/ 40014 w 292"/>
                <a:gd name="T53" fmla="*/ 46903 h 308"/>
                <a:gd name="T54" fmla="*/ 35664 w 292"/>
                <a:gd name="T55" fmla="*/ 37626 h 308"/>
                <a:gd name="T56" fmla="*/ 32185 w 292"/>
                <a:gd name="T57" fmla="*/ 25771 h 308"/>
                <a:gd name="T58" fmla="*/ 31315 w 292"/>
                <a:gd name="T59" fmla="*/ 12370 h 308"/>
                <a:gd name="T60" fmla="*/ 39144 w 292"/>
                <a:gd name="T61" fmla="*/ 9793 h 308"/>
                <a:gd name="T62" fmla="*/ 45668 w 292"/>
                <a:gd name="T63" fmla="*/ 10308 h 308"/>
                <a:gd name="T64" fmla="*/ 57411 w 292"/>
                <a:gd name="T65" fmla="*/ 12370 h 308"/>
                <a:gd name="T66" fmla="*/ 73503 w 292"/>
                <a:gd name="T67" fmla="*/ 10824 h 308"/>
                <a:gd name="T68" fmla="*/ 91336 w 292"/>
                <a:gd name="T69" fmla="*/ 6185 h 308"/>
                <a:gd name="T70" fmla="*/ 112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81" name="Freeform 435">
              <a:extLst>
                <a:ext uri="{FF2B5EF4-FFF2-40B4-BE49-F238E27FC236}">
                  <a16:creationId xmlns:a16="http://schemas.microsoft.com/office/drawing/2014/main" id="{407D3798-5F81-4EFB-9B36-54C84109EBA1}"/>
                </a:ext>
              </a:extLst>
            </p:cNvPr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6747595" y="3933083"/>
              <a:ext cx="8235" cy="61324"/>
            </a:xfrm>
            <a:custGeom>
              <a:avLst/>
              <a:gdLst>
                <a:gd name="T0" fmla="*/ 4989 w 14"/>
                <a:gd name="T1" fmla="*/ 0 h 7"/>
                <a:gd name="T2" fmla="*/ 5896 w 14"/>
                <a:gd name="T3" fmla="*/ 24493 h 7"/>
                <a:gd name="T4" fmla="*/ 6350 w 14"/>
                <a:gd name="T5" fmla="*/ 57150 h 7"/>
                <a:gd name="T6" fmla="*/ 0 w 14"/>
                <a:gd name="T7" fmla="*/ 57150 h 7"/>
                <a:gd name="T8" fmla="*/ 4989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82" name="Freeform 436">
              <a:extLst>
                <a:ext uri="{FF2B5EF4-FFF2-40B4-BE49-F238E27FC236}">
                  <a16:creationId xmlns:a16="http://schemas.microsoft.com/office/drawing/2014/main" id="{F588C696-5479-437A-A44C-B2AA77F0ED86}"/>
                </a:ext>
              </a:extLst>
            </p:cNvPr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6086733" y="3113735"/>
              <a:ext cx="323226" cy="536579"/>
            </a:xfrm>
            <a:custGeom>
              <a:avLst/>
              <a:gdLst>
                <a:gd name="T0" fmla="*/ 34747 w 581"/>
                <a:gd name="T1" fmla="*/ 60217 h 955"/>
                <a:gd name="T2" fmla="*/ 44614 w 581"/>
                <a:gd name="T3" fmla="*/ 79591 h 955"/>
                <a:gd name="T4" fmla="*/ 47617 w 581"/>
                <a:gd name="T5" fmla="*/ 94253 h 955"/>
                <a:gd name="T6" fmla="*/ 40753 w 581"/>
                <a:gd name="T7" fmla="*/ 122528 h 955"/>
                <a:gd name="T8" fmla="*/ 41182 w 581"/>
                <a:gd name="T9" fmla="*/ 170178 h 955"/>
                <a:gd name="T10" fmla="*/ 39895 w 581"/>
                <a:gd name="T11" fmla="*/ 190076 h 955"/>
                <a:gd name="T12" fmla="*/ 35176 w 581"/>
                <a:gd name="T13" fmla="*/ 207356 h 955"/>
                <a:gd name="T14" fmla="*/ 25310 w 581"/>
                <a:gd name="T15" fmla="*/ 224635 h 955"/>
                <a:gd name="T16" fmla="*/ 13298 w 581"/>
                <a:gd name="T17" fmla="*/ 241391 h 955"/>
                <a:gd name="T18" fmla="*/ 7293 w 581"/>
                <a:gd name="T19" fmla="*/ 251864 h 955"/>
                <a:gd name="T20" fmla="*/ 858 w 581"/>
                <a:gd name="T21" fmla="*/ 283805 h 955"/>
                <a:gd name="T22" fmla="*/ 29600 w 581"/>
                <a:gd name="T23" fmla="*/ 322553 h 955"/>
                <a:gd name="T24" fmla="*/ 29600 w 581"/>
                <a:gd name="T25" fmla="*/ 331978 h 955"/>
                <a:gd name="T26" fmla="*/ 31744 w 581"/>
                <a:gd name="T27" fmla="*/ 348211 h 955"/>
                <a:gd name="T28" fmla="*/ 31744 w 581"/>
                <a:gd name="T29" fmla="*/ 364443 h 955"/>
                <a:gd name="T30" fmla="*/ 33460 w 581"/>
                <a:gd name="T31" fmla="*/ 383817 h 955"/>
                <a:gd name="T32" fmla="*/ 40324 w 581"/>
                <a:gd name="T33" fmla="*/ 407380 h 955"/>
                <a:gd name="T34" fmla="*/ 45043 w 581"/>
                <a:gd name="T35" fmla="*/ 414711 h 955"/>
                <a:gd name="T36" fmla="*/ 29171 w 581"/>
                <a:gd name="T37" fmla="*/ 415758 h 955"/>
                <a:gd name="T38" fmla="*/ 18017 w 581"/>
                <a:gd name="T39" fmla="*/ 419947 h 955"/>
                <a:gd name="T40" fmla="*/ 15443 w 581"/>
                <a:gd name="T41" fmla="*/ 425184 h 955"/>
                <a:gd name="T42" fmla="*/ 18017 w 581"/>
                <a:gd name="T43" fmla="*/ 440892 h 955"/>
                <a:gd name="T44" fmla="*/ 29600 w 581"/>
                <a:gd name="T45" fmla="*/ 458696 h 955"/>
                <a:gd name="T46" fmla="*/ 37321 w 581"/>
                <a:gd name="T47" fmla="*/ 470739 h 955"/>
                <a:gd name="T48" fmla="*/ 42898 w 581"/>
                <a:gd name="T49" fmla="*/ 485400 h 955"/>
                <a:gd name="T50" fmla="*/ 66921 w 581"/>
                <a:gd name="T51" fmla="*/ 500062 h 955"/>
                <a:gd name="T52" fmla="*/ 81077 w 581"/>
                <a:gd name="T53" fmla="*/ 493255 h 955"/>
                <a:gd name="T54" fmla="*/ 106387 w 581"/>
                <a:gd name="T55" fmla="*/ 486448 h 955"/>
                <a:gd name="T56" fmla="*/ 119685 w 581"/>
                <a:gd name="T57" fmla="*/ 482259 h 955"/>
                <a:gd name="T58" fmla="*/ 127407 w 581"/>
                <a:gd name="T59" fmla="*/ 473357 h 955"/>
                <a:gd name="T60" fmla="*/ 129552 w 581"/>
                <a:gd name="T61" fmla="*/ 467074 h 955"/>
                <a:gd name="T62" fmla="*/ 129552 w 581"/>
                <a:gd name="T63" fmla="*/ 454507 h 955"/>
                <a:gd name="T64" fmla="*/ 144995 w 581"/>
                <a:gd name="T65" fmla="*/ 456077 h 955"/>
                <a:gd name="T66" fmla="*/ 157435 w 581"/>
                <a:gd name="T67" fmla="*/ 453459 h 955"/>
                <a:gd name="T68" fmla="*/ 166873 w 581"/>
                <a:gd name="T69" fmla="*/ 448223 h 955"/>
                <a:gd name="T70" fmla="*/ 173737 w 581"/>
                <a:gd name="T71" fmla="*/ 440892 h 955"/>
                <a:gd name="T72" fmla="*/ 185319 w 581"/>
                <a:gd name="T73" fmla="*/ 422565 h 955"/>
                <a:gd name="T74" fmla="*/ 197330 w 581"/>
                <a:gd name="T75" fmla="*/ 404762 h 955"/>
                <a:gd name="T76" fmla="*/ 204623 w 581"/>
                <a:gd name="T77" fmla="*/ 397955 h 955"/>
                <a:gd name="T78" fmla="*/ 215348 w 581"/>
                <a:gd name="T79" fmla="*/ 393766 h 955"/>
                <a:gd name="T80" fmla="*/ 223498 w 581"/>
                <a:gd name="T81" fmla="*/ 390101 h 955"/>
                <a:gd name="T82" fmla="*/ 214061 w 581"/>
                <a:gd name="T83" fmla="*/ 364967 h 955"/>
                <a:gd name="T84" fmla="*/ 207626 w 581"/>
                <a:gd name="T85" fmla="*/ 341927 h 955"/>
                <a:gd name="T86" fmla="*/ 202478 w 581"/>
                <a:gd name="T87" fmla="*/ 326218 h 955"/>
                <a:gd name="T88" fmla="*/ 206339 w 581"/>
                <a:gd name="T89" fmla="*/ 319411 h 955"/>
                <a:gd name="T90" fmla="*/ 208913 w 581"/>
                <a:gd name="T91" fmla="*/ 303179 h 955"/>
                <a:gd name="T92" fmla="*/ 211916 w 581"/>
                <a:gd name="T93" fmla="*/ 283281 h 955"/>
                <a:gd name="T94" fmla="*/ 216635 w 581"/>
                <a:gd name="T95" fmla="*/ 271761 h 955"/>
                <a:gd name="T96" fmla="*/ 228217 w 581"/>
                <a:gd name="T97" fmla="*/ 254482 h 955"/>
                <a:gd name="T98" fmla="*/ 244518 w 581"/>
                <a:gd name="T99" fmla="*/ 241391 h 955"/>
                <a:gd name="T100" fmla="*/ 55338 w 581"/>
                <a:gd name="T101" fmla="*/ 0 h 955"/>
                <a:gd name="T102" fmla="*/ 42040 w 581"/>
                <a:gd name="T103" fmla="*/ 2618 h 955"/>
                <a:gd name="T104" fmla="*/ 29600 w 581"/>
                <a:gd name="T105" fmla="*/ 1256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83" name="Freeform 437">
              <a:extLst>
                <a:ext uri="{FF2B5EF4-FFF2-40B4-BE49-F238E27FC236}">
                  <a16:creationId xmlns:a16="http://schemas.microsoft.com/office/drawing/2014/main" id="{77900704-14E3-41E4-A7DC-7757A6D6438A}"/>
                </a:ext>
              </a:extLst>
            </p:cNvPr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5666744" y="2451101"/>
              <a:ext cx="20588" cy="61324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284" name="Group 438">
              <a:extLst>
                <a:ext uri="{FF2B5EF4-FFF2-40B4-BE49-F238E27FC236}">
                  <a16:creationId xmlns:a16="http://schemas.microsoft.com/office/drawing/2014/main" id="{8C173283-6173-4548-A36B-7275306BAD89}"/>
                </a:ext>
              </a:extLst>
            </p:cNvPr>
            <p:cNvGrpSpPr>
              <a:grpSpLocks/>
            </p:cNvGrpSpPr>
            <p:nvPr>
              <p:custDataLst>
                <p:tags r:id="rId278"/>
              </p:custDataLst>
            </p:nvPr>
          </p:nvGrpSpPr>
          <p:grpSpPr bwMode="auto">
            <a:xfrm>
              <a:off x="3461809" y="4662150"/>
              <a:ext cx="498220" cy="1107228"/>
              <a:chOff x="1589" y="3126"/>
              <a:chExt cx="290" cy="657"/>
            </a:xfrm>
          </p:grpSpPr>
          <p:sp>
            <p:nvSpPr>
              <p:cNvPr id="393" name="Freeform 439">
                <a:extLst>
                  <a:ext uri="{FF2B5EF4-FFF2-40B4-BE49-F238E27FC236}">
                    <a16:creationId xmlns:a16="http://schemas.microsoft.com/office/drawing/2014/main" id="{923247C9-AA7E-49B4-B40C-045287CC60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94" name="Freeform 440">
                <a:extLst>
                  <a:ext uri="{FF2B5EF4-FFF2-40B4-BE49-F238E27FC236}">
                    <a16:creationId xmlns:a16="http://schemas.microsoft.com/office/drawing/2014/main" id="{BA8B0C8C-C471-423F-826A-0E095B430F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95" name="Freeform 441">
                <a:extLst>
                  <a:ext uri="{FF2B5EF4-FFF2-40B4-BE49-F238E27FC236}">
                    <a16:creationId xmlns:a16="http://schemas.microsoft.com/office/drawing/2014/main" id="{A69C9558-B0F9-4E26-8945-279E4CC65C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0185CF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285" name="Freeform 442">
              <a:extLst>
                <a:ext uri="{FF2B5EF4-FFF2-40B4-BE49-F238E27FC236}">
                  <a16:creationId xmlns:a16="http://schemas.microsoft.com/office/drawing/2014/main" id="{FE64097F-79FA-48C3-9A8F-E7ADEE3D7CB4}"/>
                </a:ext>
              </a:extLst>
            </p:cNvPr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6976119" y="2464729"/>
              <a:ext cx="160584" cy="117537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86" name="Freeform 443">
              <a:extLst>
                <a:ext uri="{FF2B5EF4-FFF2-40B4-BE49-F238E27FC236}">
                  <a16:creationId xmlns:a16="http://schemas.microsoft.com/office/drawing/2014/main" id="{70A00C8B-ED5D-4428-A09A-546CE97E7246}"/>
                </a:ext>
              </a:extLst>
            </p:cNvPr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6284374" y="2006507"/>
              <a:ext cx="271757" cy="161825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87" name="Freeform 444">
              <a:extLst>
                <a:ext uri="{FF2B5EF4-FFF2-40B4-BE49-F238E27FC236}">
                  <a16:creationId xmlns:a16="http://schemas.microsoft.com/office/drawing/2014/main" id="{415816C7-54C0-430A-B573-2ED558000850}"/>
                </a:ext>
              </a:extLst>
            </p:cNvPr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6099085" y="2362523"/>
              <a:ext cx="107056" cy="93689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88" name="Freeform 445">
              <a:extLst>
                <a:ext uri="{FF2B5EF4-FFF2-40B4-BE49-F238E27FC236}">
                  <a16:creationId xmlns:a16="http://schemas.microsoft.com/office/drawing/2014/main" id="{AC84D4DD-5312-4D83-943F-72EABCE5A26A}"/>
                </a:ext>
              </a:extLst>
            </p:cNvPr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3978559" y="3904125"/>
              <a:ext cx="107056" cy="61324"/>
            </a:xfrm>
            <a:custGeom>
              <a:avLst/>
              <a:gdLst>
                <a:gd name="T0" fmla="*/ 67904 w 186"/>
                <a:gd name="T1" fmla="*/ 11540 h 104"/>
                <a:gd name="T2" fmla="*/ 64797 w 186"/>
                <a:gd name="T3" fmla="*/ 11540 h 104"/>
                <a:gd name="T4" fmla="*/ 62578 w 186"/>
                <a:gd name="T5" fmla="*/ 10990 h 104"/>
                <a:gd name="T6" fmla="*/ 60359 w 186"/>
                <a:gd name="T7" fmla="*/ 9891 h 104"/>
                <a:gd name="T8" fmla="*/ 59028 w 186"/>
                <a:gd name="T9" fmla="*/ 8243 h 104"/>
                <a:gd name="T10" fmla="*/ 57696 w 186"/>
                <a:gd name="T11" fmla="*/ 7144 h 104"/>
                <a:gd name="T12" fmla="*/ 55477 w 186"/>
                <a:gd name="T13" fmla="*/ 6045 h 104"/>
                <a:gd name="T14" fmla="*/ 53258 w 186"/>
                <a:gd name="T15" fmla="*/ 5495 h 104"/>
                <a:gd name="T16" fmla="*/ 50151 w 186"/>
                <a:gd name="T17" fmla="*/ 4946 h 104"/>
                <a:gd name="T18" fmla="*/ 44382 w 186"/>
                <a:gd name="T19" fmla="*/ 4396 h 104"/>
                <a:gd name="T20" fmla="*/ 39056 w 186"/>
                <a:gd name="T21" fmla="*/ 3297 h 104"/>
                <a:gd name="T22" fmla="*/ 33286 w 186"/>
                <a:gd name="T23" fmla="*/ 1649 h 104"/>
                <a:gd name="T24" fmla="*/ 28404 w 186"/>
                <a:gd name="T25" fmla="*/ 550 h 104"/>
                <a:gd name="T26" fmla="*/ 26629 w 186"/>
                <a:gd name="T27" fmla="*/ 0 h 104"/>
                <a:gd name="T28" fmla="*/ 23966 w 186"/>
                <a:gd name="T29" fmla="*/ 0 h 104"/>
                <a:gd name="T30" fmla="*/ 22635 w 186"/>
                <a:gd name="T31" fmla="*/ 550 h 104"/>
                <a:gd name="T32" fmla="*/ 20416 w 186"/>
                <a:gd name="T33" fmla="*/ 1099 h 104"/>
                <a:gd name="T34" fmla="*/ 19528 w 186"/>
                <a:gd name="T35" fmla="*/ 2198 h 104"/>
                <a:gd name="T36" fmla="*/ 18640 w 186"/>
                <a:gd name="T37" fmla="*/ 3297 h 104"/>
                <a:gd name="T38" fmla="*/ 18197 w 186"/>
                <a:gd name="T39" fmla="*/ 5495 h 104"/>
                <a:gd name="T40" fmla="*/ 17753 w 186"/>
                <a:gd name="T41" fmla="*/ 8243 h 104"/>
                <a:gd name="T42" fmla="*/ 15090 w 186"/>
                <a:gd name="T43" fmla="*/ 14837 h 104"/>
                <a:gd name="T44" fmla="*/ 8876 w 186"/>
                <a:gd name="T45" fmla="*/ 25827 h 104"/>
                <a:gd name="T46" fmla="*/ 3107 w 186"/>
                <a:gd name="T47" fmla="*/ 36268 h 104"/>
                <a:gd name="T48" fmla="*/ 0 w 186"/>
                <a:gd name="T49" fmla="*/ 42313 h 104"/>
                <a:gd name="T50" fmla="*/ 3551 w 186"/>
                <a:gd name="T51" fmla="*/ 42313 h 104"/>
                <a:gd name="T52" fmla="*/ 7101 w 186"/>
                <a:gd name="T53" fmla="*/ 42862 h 104"/>
                <a:gd name="T54" fmla="*/ 9320 w 186"/>
                <a:gd name="T55" fmla="*/ 43412 h 104"/>
                <a:gd name="T56" fmla="*/ 11095 w 186"/>
                <a:gd name="T57" fmla="*/ 44511 h 104"/>
                <a:gd name="T58" fmla="*/ 14646 w 186"/>
                <a:gd name="T59" fmla="*/ 46709 h 104"/>
                <a:gd name="T60" fmla="*/ 17753 w 186"/>
                <a:gd name="T61" fmla="*/ 48907 h 104"/>
                <a:gd name="T62" fmla="*/ 19972 w 186"/>
                <a:gd name="T63" fmla="*/ 51655 h 104"/>
                <a:gd name="T64" fmla="*/ 23078 w 186"/>
                <a:gd name="T65" fmla="*/ 53853 h 104"/>
                <a:gd name="T66" fmla="*/ 24854 w 186"/>
                <a:gd name="T67" fmla="*/ 54952 h 104"/>
                <a:gd name="T68" fmla="*/ 27073 w 186"/>
                <a:gd name="T69" fmla="*/ 55501 h 104"/>
                <a:gd name="T70" fmla="*/ 29292 w 186"/>
                <a:gd name="T71" fmla="*/ 56051 h 104"/>
                <a:gd name="T72" fmla="*/ 32842 w 186"/>
                <a:gd name="T73" fmla="*/ 56051 h 104"/>
                <a:gd name="T74" fmla="*/ 47488 w 186"/>
                <a:gd name="T75" fmla="*/ 56600 h 104"/>
                <a:gd name="T76" fmla="*/ 58140 w 186"/>
                <a:gd name="T77" fmla="*/ 57150 h 104"/>
                <a:gd name="T78" fmla="*/ 59915 w 186"/>
                <a:gd name="T79" fmla="*/ 56600 h 104"/>
                <a:gd name="T80" fmla="*/ 61691 w 186"/>
                <a:gd name="T81" fmla="*/ 56051 h 104"/>
                <a:gd name="T82" fmla="*/ 63022 w 186"/>
                <a:gd name="T83" fmla="*/ 54952 h 104"/>
                <a:gd name="T84" fmla="*/ 64353 w 186"/>
                <a:gd name="T85" fmla="*/ 53303 h 104"/>
                <a:gd name="T86" fmla="*/ 65241 w 186"/>
                <a:gd name="T87" fmla="*/ 51655 h 104"/>
                <a:gd name="T88" fmla="*/ 66573 w 186"/>
                <a:gd name="T89" fmla="*/ 48358 h 104"/>
                <a:gd name="T90" fmla="*/ 67460 w 186"/>
                <a:gd name="T91" fmla="*/ 45610 h 104"/>
                <a:gd name="T92" fmla="*/ 67904 w 186"/>
                <a:gd name="T93" fmla="*/ 42313 h 104"/>
                <a:gd name="T94" fmla="*/ 82550 w 186"/>
                <a:gd name="T95" fmla="*/ 14837 h 104"/>
                <a:gd name="T96" fmla="*/ 67904 w 186"/>
                <a:gd name="T97" fmla="*/ 1154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89" name="Freeform 446">
              <a:extLst>
                <a:ext uri="{FF2B5EF4-FFF2-40B4-BE49-F238E27FC236}">
                  <a16:creationId xmlns:a16="http://schemas.microsoft.com/office/drawing/2014/main" id="{C1FF1B4F-3BBF-4176-95F3-222191430A64}"/>
                </a:ext>
              </a:extLst>
            </p:cNvPr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6304961" y="2399998"/>
              <a:ext cx="172936" cy="103909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0" name="Freeform 447">
              <a:extLst>
                <a:ext uri="{FF2B5EF4-FFF2-40B4-BE49-F238E27FC236}">
                  <a16:creationId xmlns:a16="http://schemas.microsoft.com/office/drawing/2014/main" id="{F6E688A6-1A26-46F1-8F00-6C2971E7235A}"/>
                </a:ext>
              </a:extLst>
            </p:cNvPr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5469104" y="3394800"/>
              <a:ext cx="230582" cy="177157"/>
            </a:xfrm>
            <a:custGeom>
              <a:avLst/>
              <a:gdLst>
                <a:gd name="T0" fmla="*/ 2634 w 405"/>
                <a:gd name="T1" fmla="*/ 136707 h 314"/>
                <a:gd name="T2" fmla="*/ 5707 w 405"/>
                <a:gd name="T3" fmla="*/ 124614 h 314"/>
                <a:gd name="T4" fmla="*/ 7463 w 405"/>
                <a:gd name="T5" fmla="*/ 106211 h 314"/>
                <a:gd name="T6" fmla="*/ 10097 w 405"/>
                <a:gd name="T7" fmla="*/ 90963 h 314"/>
                <a:gd name="T8" fmla="*/ 14048 w 405"/>
                <a:gd name="T9" fmla="*/ 85179 h 314"/>
                <a:gd name="T10" fmla="*/ 21073 w 405"/>
                <a:gd name="T11" fmla="*/ 78869 h 314"/>
                <a:gd name="T12" fmla="*/ 31609 w 405"/>
                <a:gd name="T13" fmla="*/ 74137 h 314"/>
                <a:gd name="T14" fmla="*/ 40828 w 405"/>
                <a:gd name="T15" fmla="*/ 70457 h 314"/>
                <a:gd name="T16" fmla="*/ 45657 w 405"/>
                <a:gd name="T17" fmla="*/ 65725 h 314"/>
                <a:gd name="T18" fmla="*/ 49608 w 405"/>
                <a:gd name="T19" fmla="*/ 59941 h 314"/>
                <a:gd name="T20" fmla="*/ 53999 w 405"/>
                <a:gd name="T21" fmla="*/ 48899 h 314"/>
                <a:gd name="T22" fmla="*/ 59706 w 405"/>
                <a:gd name="T23" fmla="*/ 36280 h 314"/>
                <a:gd name="T24" fmla="*/ 64535 w 405"/>
                <a:gd name="T25" fmla="*/ 28919 h 314"/>
                <a:gd name="T26" fmla="*/ 68047 w 405"/>
                <a:gd name="T27" fmla="*/ 26816 h 314"/>
                <a:gd name="T28" fmla="*/ 74632 w 405"/>
                <a:gd name="T29" fmla="*/ 26816 h 314"/>
                <a:gd name="T30" fmla="*/ 82973 w 405"/>
                <a:gd name="T31" fmla="*/ 25238 h 314"/>
                <a:gd name="T32" fmla="*/ 93510 w 405"/>
                <a:gd name="T33" fmla="*/ 18403 h 314"/>
                <a:gd name="T34" fmla="*/ 104046 w 405"/>
                <a:gd name="T35" fmla="*/ 10516 h 314"/>
                <a:gd name="T36" fmla="*/ 112826 w 405"/>
                <a:gd name="T37" fmla="*/ 5784 h 314"/>
                <a:gd name="T38" fmla="*/ 123801 w 405"/>
                <a:gd name="T39" fmla="*/ 2103 h 314"/>
                <a:gd name="T40" fmla="*/ 137850 w 405"/>
                <a:gd name="T41" fmla="*/ 0 h 314"/>
                <a:gd name="T42" fmla="*/ 145752 w 405"/>
                <a:gd name="T43" fmla="*/ 7361 h 314"/>
                <a:gd name="T44" fmla="*/ 147947 w 405"/>
                <a:gd name="T45" fmla="*/ 17877 h 314"/>
                <a:gd name="T46" fmla="*/ 150581 w 405"/>
                <a:gd name="T47" fmla="*/ 26290 h 314"/>
                <a:gd name="T48" fmla="*/ 154532 w 405"/>
                <a:gd name="T49" fmla="*/ 32599 h 314"/>
                <a:gd name="T50" fmla="*/ 161557 w 405"/>
                <a:gd name="T51" fmla="*/ 38909 h 314"/>
                <a:gd name="T52" fmla="*/ 167703 w 405"/>
                <a:gd name="T53" fmla="*/ 44693 h 314"/>
                <a:gd name="T54" fmla="*/ 171215 w 405"/>
                <a:gd name="T55" fmla="*/ 48899 h 314"/>
                <a:gd name="T56" fmla="*/ 173849 w 405"/>
                <a:gd name="T57" fmla="*/ 60467 h 314"/>
                <a:gd name="T58" fmla="*/ 174727 w 405"/>
                <a:gd name="T59" fmla="*/ 75189 h 314"/>
                <a:gd name="T60" fmla="*/ 174727 w 405"/>
                <a:gd name="T61" fmla="*/ 89385 h 314"/>
                <a:gd name="T62" fmla="*/ 176483 w 405"/>
                <a:gd name="T63" fmla="*/ 103056 h 314"/>
                <a:gd name="T64" fmla="*/ 174727 w 405"/>
                <a:gd name="T65" fmla="*/ 114098 h 314"/>
                <a:gd name="T66" fmla="*/ 167703 w 405"/>
                <a:gd name="T67" fmla="*/ 118830 h 314"/>
                <a:gd name="T68" fmla="*/ 160240 w 405"/>
                <a:gd name="T69" fmla="*/ 126717 h 314"/>
                <a:gd name="T70" fmla="*/ 159361 w 405"/>
                <a:gd name="T71" fmla="*/ 124614 h 314"/>
                <a:gd name="T72" fmla="*/ 157166 w 405"/>
                <a:gd name="T73" fmla="*/ 122511 h 314"/>
                <a:gd name="T74" fmla="*/ 150142 w 405"/>
                <a:gd name="T75" fmla="*/ 119356 h 314"/>
                <a:gd name="T76" fmla="*/ 140045 w 405"/>
                <a:gd name="T77" fmla="*/ 117253 h 314"/>
                <a:gd name="T78" fmla="*/ 66730 w 405"/>
                <a:gd name="T79" fmla="*/ 126717 h 314"/>
                <a:gd name="T80" fmla="*/ 65852 w 405"/>
                <a:gd name="T81" fmla="*/ 135130 h 314"/>
                <a:gd name="T82" fmla="*/ 65852 w 405"/>
                <a:gd name="T83" fmla="*/ 144068 h 314"/>
                <a:gd name="T84" fmla="*/ 66730 w 405"/>
                <a:gd name="T85" fmla="*/ 165100 h 314"/>
                <a:gd name="T86" fmla="*/ 61023 w 405"/>
                <a:gd name="T87" fmla="*/ 164048 h 314"/>
                <a:gd name="T88" fmla="*/ 55316 w 405"/>
                <a:gd name="T89" fmla="*/ 160368 h 314"/>
                <a:gd name="T90" fmla="*/ 43901 w 405"/>
                <a:gd name="T91" fmla="*/ 152481 h 314"/>
                <a:gd name="T92" fmla="*/ 39072 w 405"/>
                <a:gd name="T93" fmla="*/ 161419 h 314"/>
                <a:gd name="T94" fmla="*/ 35999 w 405"/>
                <a:gd name="T95" fmla="*/ 164048 h 314"/>
                <a:gd name="T96" fmla="*/ 32048 w 405"/>
                <a:gd name="T97" fmla="*/ 165100 h 314"/>
                <a:gd name="T98" fmla="*/ 26341 w 405"/>
                <a:gd name="T99" fmla="*/ 163523 h 314"/>
                <a:gd name="T100" fmla="*/ 20634 w 405"/>
                <a:gd name="T101" fmla="*/ 158790 h 314"/>
                <a:gd name="T102" fmla="*/ 12292 w 405"/>
                <a:gd name="T103" fmla="*/ 153007 h 314"/>
                <a:gd name="T104" fmla="*/ 0 w 405"/>
                <a:gd name="T105" fmla="*/ 149326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1" name="Freeform 448">
              <a:extLst>
                <a:ext uri="{FF2B5EF4-FFF2-40B4-BE49-F238E27FC236}">
                  <a16:creationId xmlns:a16="http://schemas.microsoft.com/office/drawing/2014/main" id="{C1623D6D-5280-4239-9F7B-F41224C3E0D2}"/>
                </a:ext>
              </a:extLst>
            </p:cNvPr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919972" y="3468049"/>
              <a:ext cx="251170" cy="374754"/>
            </a:xfrm>
            <a:custGeom>
              <a:avLst/>
              <a:gdLst>
                <a:gd name="T0" fmla="*/ 143225 w 453"/>
                <a:gd name="T1" fmla="*/ 19021 h 661"/>
                <a:gd name="T2" fmla="*/ 137240 w 453"/>
                <a:gd name="T3" fmla="*/ 51780 h 661"/>
                <a:gd name="T4" fmla="*/ 118428 w 453"/>
                <a:gd name="T5" fmla="*/ 85595 h 661"/>
                <a:gd name="T6" fmla="*/ 108167 w 453"/>
                <a:gd name="T7" fmla="*/ 115712 h 661"/>
                <a:gd name="T8" fmla="*/ 99189 w 453"/>
                <a:gd name="T9" fmla="*/ 143716 h 661"/>
                <a:gd name="T10" fmla="*/ 89356 w 453"/>
                <a:gd name="T11" fmla="*/ 173832 h 661"/>
                <a:gd name="T12" fmla="*/ 83798 w 453"/>
                <a:gd name="T13" fmla="*/ 191269 h 661"/>
                <a:gd name="T14" fmla="*/ 76957 w 453"/>
                <a:gd name="T15" fmla="*/ 200779 h 661"/>
                <a:gd name="T16" fmla="*/ 71399 w 453"/>
                <a:gd name="T17" fmla="*/ 206063 h 661"/>
                <a:gd name="T18" fmla="*/ 60283 w 453"/>
                <a:gd name="T19" fmla="*/ 201836 h 661"/>
                <a:gd name="T20" fmla="*/ 51732 w 453"/>
                <a:gd name="T21" fmla="*/ 195495 h 661"/>
                <a:gd name="T22" fmla="*/ 40189 w 453"/>
                <a:gd name="T23" fmla="*/ 193910 h 661"/>
                <a:gd name="T24" fmla="*/ 27362 w 453"/>
                <a:gd name="T25" fmla="*/ 200779 h 661"/>
                <a:gd name="T26" fmla="*/ 18812 w 453"/>
                <a:gd name="T27" fmla="*/ 212932 h 661"/>
                <a:gd name="T28" fmla="*/ 8978 w 453"/>
                <a:gd name="T29" fmla="*/ 239878 h 661"/>
                <a:gd name="T30" fmla="*/ 2993 w 453"/>
                <a:gd name="T31" fmla="*/ 254672 h 661"/>
                <a:gd name="T32" fmla="*/ 428 w 453"/>
                <a:gd name="T33" fmla="*/ 264183 h 661"/>
                <a:gd name="T34" fmla="*/ 3420 w 453"/>
                <a:gd name="T35" fmla="*/ 273165 h 661"/>
                <a:gd name="T36" fmla="*/ 8551 w 453"/>
                <a:gd name="T37" fmla="*/ 277921 h 661"/>
                <a:gd name="T38" fmla="*/ 23515 w 453"/>
                <a:gd name="T39" fmla="*/ 277921 h 661"/>
                <a:gd name="T40" fmla="*/ 30355 w 453"/>
                <a:gd name="T41" fmla="*/ 289545 h 661"/>
                <a:gd name="T42" fmla="*/ 31210 w 453"/>
                <a:gd name="T43" fmla="*/ 311736 h 661"/>
                <a:gd name="T44" fmla="*/ 28645 w 453"/>
                <a:gd name="T45" fmla="*/ 332871 h 661"/>
                <a:gd name="T46" fmla="*/ 185124 w 453"/>
                <a:gd name="T47" fmla="*/ 349250 h 661"/>
                <a:gd name="T48" fmla="*/ 188972 w 453"/>
                <a:gd name="T49" fmla="*/ 307509 h 661"/>
                <a:gd name="T50" fmla="*/ 177429 w 453"/>
                <a:gd name="T51" fmla="*/ 300112 h 661"/>
                <a:gd name="T52" fmla="*/ 159472 w 453"/>
                <a:gd name="T53" fmla="*/ 294300 h 661"/>
                <a:gd name="T54" fmla="*/ 150921 w 453"/>
                <a:gd name="T55" fmla="*/ 290073 h 661"/>
                <a:gd name="T56" fmla="*/ 145363 w 453"/>
                <a:gd name="T57" fmla="*/ 283733 h 661"/>
                <a:gd name="T58" fmla="*/ 142370 w 453"/>
                <a:gd name="T59" fmla="*/ 272109 h 661"/>
                <a:gd name="T60" fmla="*/ 142370 w 453"/>
                <a:gd name="T61" fmla="*/ 245162 h 661"/>
                <a:gd name="T62" fmla="*/ 144081 w 453"/>
                <a:gd name="T63" fmla="*/ 226141 h 661"/>
                <a:gd name="T64" fmla="*/ 150066 w 453"/>
                <a:gd name="T65" fmla="*/ 209761 h 661"/>
                <a:gd name="T66" fmla="*/ 159472 w 453"/>
                <a:gd name="T67" fmla="*/ 192325 h 661"/>
                <a:gd name="T68" fmla="*/ 167595 w 453"/>
                <a:gd name="T69" fmla="*/ 174361 h 661"/>
                <a:gd name="T70" fmla="*/ 170588 w 453"/>
                <a:gd name="T71" fmla="*/ 156925 h 661"/>
                <a:gd name="T72" fmla="*/ 166313 w 453"/>
                <a:gd name="T73" fmla="*/ 141074 h 661"/>
                <a:gd name="T74" fmla="*/ 159472 w 453"/>
                <a:gd name="T75" fmla="*/ 129978 h 661"/>
                <a:gd name="T76" fmla="*/ 146646 w 453"/>
                <a:gd name="T77" fmla="*/ 114655 h 661"/>
                <a:gd name="T78" fmla="*/ 142370 w 453"/>
                <a:gd name="T79" fmla="*/ 101446 h 661"/>
                <a:gd name="T80" fmla="*/ 143225 w 453"/>
                <a:gd name="T81" fmla="*/ 91407 h 661"/>
                <a:gd name="T82" fmla="*/ 150921 w 453"/>
                <a:gd name="T83" fmla="*/ 86652 h 661"/>
                <a:gd name="T84" fmla="*/ 173581 w 453"/>
                <a:gd name="T85" fmla="*/ 85595 h 661"/>
                <a:gd name="T86" fmla="*/ 168878 w 453"/>
                <a:gd name="T87" fmla="*/ 79783 h 661"/>
                <a:gd name="T88" fmla="*/ 162037 w 453"/>
                <a:gd name="T89" fmla="*/ 61819 h 661"/>
                <a:gd name="T90" fmla="*/ 158617 w 453"/>
                <a:gd name="T91" fmla="*/ 38571 h 661"/>
                <a:gd name="T92" fmla="*/ 159472 w 453"/>
                <a:gd name="T93" fmla="*/ 23776 h 661"/>
                <a:gd name="T94" fmla="*/ 156907 w 453"/>
                <a:gd name="T95" fmla="*/ 5812 h 661"/>
                <a:gd name="T96" fmla="*/ 148356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2" name="Freeform 449">
              <a:extLst>
                <a:ext uri="{FF2B5EF4-FFF2-40B4-BE49-F238E27FC236}">
                  <a16:creationId xmlns:a16="http://schemas.microsoft.com/office/drawing/2014/main" id="{05BA4972-40F4-4349-ADC8-EF6A3CF71C78}"/>
                </a:ext>
              </a:extLst>
            </p:cNvPr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9098704" y="3209127"/>
              <a:ext cx="72057" cy="61324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3" name="Freeform 450">
              <a:extLst>
                <a:ext uri="{FF2B5EF4-FFF2-40B4-BE49-F238E27FC236}">
                  <a16:creationId xmlns:a16="http://schemas.microsoft.com/office/drawing/2014/main" id="{ED56CFED-EB67-4816-B859-667F74455545}"/>
                </a:ext>
              </a:extLst>
            </p:cNvPr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3074761" y="3491896"/>
              <a:ext cx="387048" cy="562131"/>
            </a:xfrm>
            <a:custGeom>
              <a:avLst/>
              <a:gdLst>
                <a:gd name="T0" fmla="*/ 292778 w 684"/>
                <a:gd name="T1" fmla="*/ 300782 h 998"/>
                <a:gd name="T2" fmla="*/ 296705 w 684"/>
                <a:gd name="T3" fmla="*/ 288709 h 998"/>
                <a:gd name="T4" fmla="*/ 292778 w 684"/>
                <a:gd name="T5" fmla="*/ 257738 h 998"/>
                <a:gd name="T6" fmla="*/ 287542 w 684"/>
                <a:gd name="T7" fmla="*/ 222043 h 998"/>
                <a:gd name="T8" fmla="*/ 295832 w 684"/>
                <a:gd name="T9" fmla="*/ 204196 h 998"/>
                <a:gd name="T10" fmla="*/ 243036 w 684"/>
                <a:gd name="T11" fmla="*/ 189498 h 998"/>
                <a:gd name="T12" fmla="*/ 232564 w 684"/>
                <a:gd name="T13" fmla="*/ 171126 h 998"/>
                <a:gd name="T14" fmla="*/ 201585 w 684"/>
                <a:gd name="T15" fmla="*/ 162727 h 998"/>
                <a:gd name="T16" fmla="*/ 175405 w 684"/>
                <a:gd name="T17" fmla="*/ 141730 h 998"/>
                <a:gd name="T18" fmla="*/ 163624 w 684"/>
                <a:gd name="T19" fmla="*/ 105510 h 998"/>
                <a:gd name="T20" fmla="*/ 163624 w 684"/>
                <a:gd name="T21" fmla="*/ 69815 h 998"/>
                <a:gd name="T22" fmla="*/ 172351 w 684"/>
                <a:gd name="T23" fmla="*/ 44094 h 998"/>
                <a:gd name="T24" fmla="*/ 189804 w 684"/>
                <a:gd name="T25" fmla="*/ 25196 h 998"/>
                <a:gd name="T26" fmla="*/ 202021 w 684"/>
                <a:gd name="T27" fmla="*/ 5774 h 998"/>
                <a:gd name="T28" fmla="*/ 169733 w 684"/>
                <a:gd name="T29" fmla="*/ 20472 h 998"/>
                <a:gd name="T30" fmla="*/ 146171 w 684"/>
                <a:gd name="T31" fmla="*/ 35695 h 998"/>
                <a:gd name="T32" fmla="*/ 132644 w 684"/>
                <a:gd name="T33" fmla="*/ 40944 h 998"/>
                <a:gd name="T34" fmla="*/ 121300 w 684"/>
                <a:gd name="T35" fmla="*/ 44094 h 998"/>
                <a:gd name="T36" fmla="*/ 105156 w 684"/>
                <a:gd name="T37" fmla="*/ 42519 h 998"/>
                <a:gd name="T38" fmla="*/ 94684 w 684"/>
                <a:gd name="T39" fmla="*/ 56692 h 998"/>
                <a:gd name="T40" fmla="*/ 85521 w 684"/>
                <a:gd name="T41" fmla="*/ 91862 h 998"/>
                <a:gd name="T42" fmla="*/ 68504 w 684"/>
                <a:gd name="T43" fmla="*/ 119158 h 998"/>
                <a:gd name="T44" fmla="*/ 46687 w 684"/>
                <a:gd name="T45" fmla="*/ 149079 h 998"/>
                <a:gd name="T46" fmla="*/ 39270 w 684"/>
                <a:gd name="T47" fmla="*/ 166401 h 998"/>
                <a:gd name="T48" fmla="*/ 37524 w 684"/>
                <a:gd name="T49" fmla="*/ 186873 h 998"/>
                <a:gd name="T50" fmla="*/ 42324 w 684"/>
                <a:gd name="T51" fmla="*/ 200521 h 998"/>
                <a:gd name="T52" fmla="*/ 42324 w 684"/>
                <a:gd name="T53" fmla="*/ 236741 h 998"/>
                <a:gd name="T54" fmla="*/ 41451 w 684"/>
                <a:gd name="T55" fmla="*/ 275586 h 998"/>
                <a:gd name="T56" fmla="*/ 31416 w 684"/>
                <a:gd name="T57" fmla="*/ 295533 h 998"/>
                <a:gd name="T58" fmla="*/ 16144 w 684"/>
                <a:gd name="T59" fmla="*/ 310756 h 998"/>
                <a:gd name="T60" fmla="*/ 4800 w 684"/>
                <a:gd name="T61" fmla="*/ 321254 h 998"/>
                <a:gd name="T62" fmla="*/ 13090 w 684"/>
                <a:gd name="T63" fmla="*/ 350650 h 998"/>
                <a:gd name="T64" fmla="*/ 53669 w 684"/>
                <a:gd name="T65" fmla="*/ 380571 h 998"/>
                <a:gd name="T66" fmla="*/ 76358 w 684"/>
                <a:gd name="T67" fmla="*/ 382145 h 998"/>
                <a:gd name="T68" fmla="*/ 102101 w 684"/>
                <a:gd name="T69" fmla="*/ 391594 h 998"/>
                <a:gd name="T70" fmla="*/ 130463 w 684"/>
                <a:gd name="T71" fmla="*/ 417315 h 998"/>
                <a:gd name="T72" fmla="*/ 147043 w 684"/>
                <a:gd name="T73" fmla="*/ 446186 h 998"/>
                <a:gd name="T74" fmla="*/ 160133 w 684"/>
                <a:gd name="T75" fmla="*/ 462459 h 998"/>
                <a:gd name="T76" fmla="*/ 179768 w 684"/>
                <a:gd name="T77" fmla="*/ 465083 h 998"/>
                <a:gd name="T78" fmla="*/ 201585 w 684"/>
                <a:gd name="T79" fmla="*/ 459834 h 998"/>
                <a:gd name="T80" fmla="*/ 214675 w 684"/>
                <a:gd name="T81" fmla="*/ 460884 h 998"/>
                <a:gd name="T82" fmla="*/ 224710 w 684"/>
                <a:gd name="T83" fmla="*/ 474532 h 998"/>
                <a:gd name="T84" fmla="*/ 223838 w 684"/>
                <a:gd name="T85" fmla="*/ 483981 h 998"/>
                <a:gd name="T86" fmla="*/ 212929 w 684"/>
                <a:gd name="T87" fmla="*/ 491855 h 998"/>
                <a:gd name="T88" fmla="*/ 212929 w 684"/>
                <a:gd name="T89" fmla="*/ 505503 h 998"/>
                <a:gd name="T90" fmla="*/ 222965 w 684"/>
                <a:gd name="T91" fmla="*/ 521775 h 998"/>
                <a:gd name="T92" fmla="*/ 236491 w 684"/>
                <a:gd name="T93" fmla="*/ 504978 h 998"/>
                <a:gd name="T94" fmla="*/ 246963 w 684"/>
                <a:gd name="T95" fmla="*/ 451960 h 998"/>
                <a:gd name="T96" fmla="*/ 249145 w 684"/>
                <a:gd name="T97" fmla="*/ 421515 h 998"/>
                <a:gd name="T98" fmla="*/ 242163 w 684"/>
                <a:gd name="T99" fmla="*/ 404717 h 998"/>
                <a:gd name="T100" fmla="*/ 228201 w 684"/>
                <a:gd name="T101" fmla="*/ 393169 h 998"/>
                <a:gd name="T102" fmla="*/ 227328 w 684"/>
                <a:gd name="T103" fmla="*/ 379521 h 998"/>
                <a:gd name="T104" fmla="*/ 246963 w 684"/>
                <a:gd name="T105" fmla="*/ 367447 h 998"/>
                <a:gd name="T106" fmla="*/ 242600 w 684"/>
                <a:gd name="T107" fmla="*/ 349075 h 998"/>
                <a:gd name="T108" fmla="*/ 242600 w 684"/>
                <a:gd name="T109" fmla="*/ 340676 h 998"/>
                <a:gd name="T110" fmla="*/ 285796 w 684"/>
                <a:gd name="T111" fmla="*/ 329653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0185C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4" name="Freeform 451">
              <a:extLst>
                <a:ext uri="{FF2B5EF4-FFF2-40B4-BE49-F238E27FC236}">
                  <a16:creationId xmlns:a16="http://schemas.microsoft.com/office/drawing/2014/main" id="{D1E059D9-31FF-4AFE-B8B4-C23AD975EC9D}"/>
                </a:ext>
              </a:extLst>
            </p:cNvPr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5996147" y="3779775"/>
              <a:ext cx="242934" cy="294694"/>
            </a:xfrm>
            <a:custGeom>
              <a:avLst/>
              <a:gdLst>
                <a:gd name="T0" fmla="*/ 187325 w 429"/>
                <a:gd name="T1" fmla="*/ 11531 h 524"/>
                <a:gd name="T2" fmla="*/ 186888 w 429"/>
                <a:gd name="T3" fmla="*/ 22537 h 524"/>
                <a:gd name="T4" fmla="*/ 185142 w 429"/>
                <a:gd name="T5" fmla="*/ 28302 h 524"/>
                <a:gd name="T6" fmla="*/ 181212 w 429"/>
                <a:gd name="T7" fmla="*/ 35116 h 524"/>
                <a:gd name="T8" fmla="*/ 180339 w 429"/>
                <a:gd name="T9" fmla="*/ 42454 h 524"/>
                <a:gd name="T10" fmla="*/ 180775 w 429"/>
                <a:gd name="T11" fmla="*/ 83859 h 524"/>
                <a:gd name="T12" fmla="*/ 178155 w 429"/>
                <a:gd name="T13" fmla="*/ 108492 h 524"/>
                <a:gd name="T14" fmla="*/ 172915 w 429"/>
                <a:gd name="T15" fmla="*/ 126313 h 524"/>
                <a:gd name="T16" fmla="*/ 162436 w 429"/>
                <a:gd name="T17" fmla="*/ 145705 h 524"/>
                <a:gd name="T18" fmla="*/ 147589 w 429"/>
                <a:gd name="T19" fmla="*/ 161953 h 524"/>
                <a:gd name="T20" fmla="*/ 139293 w 429"/>
                <a:gd name="T21" fmla="*/ 174531 h 524"/>
                <a:gd name="T22" fmla="*/ 136236 w 429"/>
                <a:gd name="T23" fmla="*/ 215937 h 524"/>
                <a:gd name="T24" fmla="*/ 132743 w 429"/>
                <a:gd name="T25" fmla="*/ 230088 h 524"/>
                <a:gd name="T26" fmla="*/ 126630 w 429"/>
                <a:gd name="T27" fmla="*/ 234805 h 524"/>
                <a:gd name="T28" fmla="*/ 117460 w 429"/>
                <a:gd name="T29" fmla="*/ 238474 h 524"/>
                <a:gd name="T30" fmla="*/ 110474 w 429"/>
                <a:gd name="T31" fmla="*/ 247384 h 524"/>
                <a:gd name="T32" fmla="*/ 102177 w 429"/>
                <a:gd name="T33" fmla="*/ 262059 h 524"/>
                <a:gd name="T34" fmla="*/ 97374 w 429"/>
                <a:gd name="T35" fmla="*/ 264680 h 524"/>
                <a:gd name="T36" fmla="*/ 87768 w 429"/>
                <a:gd name="T37" fmla="*/ 264156 h 524"/>
                <a:gd name="T38" fmla="*/ 82528 w 429"/>
                <a:gd name="T39" fmla="*/ 261011 h 524"/>
                <a:gd name="T40" fmla="*/ 63315 w 429"/>
                <a:gd name="T41" fmla="*/ 262059 h 524"/>
                <a:gd name="T42" fmla="*/ 53709 w 429"/>
                <a:gd name="T43" fmla="*/ 262059 h 524"/>
                <a:gd name="T44" fmla="*/ 49342 w 429"/>
                <a:gd name="T45" fmla="*/ 258914 h 524"/>
                <a:gd name="T46" fmla="*/ 41482 w 429"/>
                <a:gd name="T47" fmla="*/ 258390 h 524"/>
                <a:gd name="T48" fmla="*/ 34059 w 429"/>
                <a:gd name="T49" fmla="*/ 263107 h 524"/>
                <a:gd name="T50" fmla="*/ 27073 w 429"/>
                <a:gd name="T51" fmla="*/ 272017 h 524"/>
                <a:gd name="T52" fmla="*/ 11790 w 429"/>
                <a:gd name="T53" fmla="*/ 257342 h 524"/>
                <a:gd name="T54" fmla="*/ 2620 w 429"/>
                <a:gd name="T55" fmla="*/ 234281 h 524"/>
                <a:gd name="T56" fmla="*/ 10916 w 429"/>
                <a:gd name="T57" fmla="*/ 225371 h 524"/>
                <a:gd name="T58" fmla="*/ 18340 w 429"/>
                <a:gd name="T59" fmla="*/ 222226 h 524"/>
                <a:gd name="T60" fmla="*/ 26636 w 429"/>
                <a:gd name="T61" fmla="*/ 224323 h 524"/>
                <a:gd name="T62" fmla="*/ 25326 w 429"/>
                <a:gd name="T63" fmla="*/ 219081 h 524"/>
                <a:gd name="T64" fmla="*/ 19649 w 429"/>
                <a:gd name="T65" fmla="*/ 202310 h 524"/>
                <a:gd name="T66" fmla="*/ 20523 w 429"/>
                <a:gd name="T67" fmla="*/ 191827 h 524"/>
                <a:gd name="T68" fmla="*/ 24889 w 429"/>
                <a:gd name="T69" fmla="*/ 186586 h 524"/>
                <a:gd name="T70" fmla="*/ 31003 w 429"/>
                <a:gd name="T71" fmla="*/ 184490 h 524"/>
                <a:gd name="T72" fmla="*/ 38862 w 429"/>
                <a:gd name="T73" fmla="*/ 176628 h 524"/>
                <a:gd name="T74" fmla="*/ 45412 w 429"/>
                <a:gd name="T75" fmla="*/ 174531 h 524"/>
                <a:gd name="T76" fmla="*/ 50215 w 429"/>
                <a:gd name="T77" fmla="*/ 179248 h 524"/>
                <a:gd name="T78" fmla="*/ 58948 w 429"/>
                <a:gd name="T79" fmla="*/ 188158 h 524"/>
                <a:gd name="T80" fmla="*/ 67245 w 429"/>
                <a:gd name="T81" fmla="*/ 183966 h 524"/>
                <a:gd name="T82" fmla="*/ 79035 w 429"/>
                <a:gd name="T83" fmla="*/ 185014 h 524"/>
                <a:gd name="T84" fmla="*/ 86894 w 429"/>
                <a:gd name="T85" fmla="*/ 178200 h 524"/>
                <a:gd name="T86" fmla="*/ 91698 w 429"/>
                <a:gd name="T87" fmla="*/ 165097 h 524"/>
                <a:gd name="T88" fmla="*/ 93008 w 429"/>
                <a:gd name="T89" fmla="*/ 151994 h 524"/>
                <a:gd name="T90" fmla="*/ 93881 w 429"/>
                <a:gd name="T91" fmla="*/ 140988 h 524"/>
                <a:gd name="T92" fmla="*/ 87768 w 429"/>
                <a:gd name="T93" fmla="*/ 123692 h 524"/>
                <a:gd name="T94" fmla="*/ 82091 w 429"/>
                <a:gd name="T95" fmla="*/ 106396 h 524"/>
                <a:gd name="T96" fmla="*/ 90388 w 429"/>
                <a:gd name="T97" fmla="*/ 92769 h 524"/>
                <a:gd name="T98" fmla="*/ 91698 w 429"/>
                <a:gd name="T99" fmla="*/ 85955 h 524"/>
                <a:gd name="T100" fmla="*/ 87331 w 429"/>
                <a:gd name="T101" fmla="*/ 81238 h 524"/>
                <a:gd name="T102" fmla="*/ 86021 w 429"/>
                <a:gd name="T103" fmla="*/ 71804 h 524"/>
                <a:gd name="T104" fmla="*/ 82091 w 429"/>
                <a:gd name="T105" fmla="*/ 67611 h 524"/>
                <a:gd name="T106" fmla="*/ 70301 w 429"/>
                <a:gd name="T107" fmla="*/ 69184 h 524"/>
                <a:gd name="T108" fmla="*/ 59822 w 429"/>
                <a:gd name="T109" fmla="*/ 68660 h 524"/>
                <a:gd name="T110" fmla="*/ 54582 w 429"/>
                <a:gd name="T111" fmla="*/ 62370 h 524"/>
                <a:gd name="T112" fmla="*/ 53709 w 429"/>
                <a:gd name="T113" fmla="*/ 53984 h 524"/>
                <a:gd name="T114" fmla="*/ 57638 w 429"/>
                <a:gd name="T115" fmla="*/ 39833 h 524"/>
                <a:gd name="T116" fmla="*/ 133616 w 429"/>
                <a:gd name="T117" fmla="*/ 19916 h 524"/>
                <a:gd name="T118" fmla="*/ 141040 w 429"/>
                <a:gd name="T119" fmla="*/ 8910 h 524"/>
                <a:gd name="T120" fmla="*/ 149773 w 429"/>
                <a:gd name="T121" fmla="*/ 3669 h 524"/>
                <a:gd name="T122" fmla="*/ 163309 w 429"/>
                <a:gd name="T123" fmla="*/ 2621 h 524"/>
                <a:gd name="T124" fmla="*/ 178155 w 429"/>
                <a:gd name="T125" fmla="*/ 2096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5" name="Freeform 452">
              <a:extLst>
                <a:ext uri="{FF2B5EF4-FFF2-40B4-BE49-F238E27FC236}">
                  <a16:creationId xmlns:a16="http://schemas.microsoft.com/office/drawing/2014/main" id="{7602EE9A-FCB7-4FA2-A62F-65334BF69826}"/>
                </a:ext>
              </a:extLst>
            </p:cNvPr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6037322" y="2323345"/>
              <a:ext cx="164701" cy="122647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6" name="Freeform 453">
              <a:extLst>
                <a:ext uri="{FF2B5EF4-FFF2-40B4-BE49-F238E27FC236}">
                  <a16:creationId xmlns:a16="http://schemas.microsoft.com/office/drawing/2014/main" id="{D5AE00FF-2DCC-4927-BF50-2A4B94B7E2C7}"/>
                </a:ext>
              </a:extLst>
            </p:cNvPr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973500" y="2171739"/>
              <a:ext cx="218229" cy="83468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7" name="Freeform 454">
              <a:extLst>
                <a:ext uri="{FF2B5EF4-FFF2-40B4-BE49-F238E27FC236}">
                  <a16:creationId xmlns:a16="http://schemas.microsoft.com/office/drawing/2014/main" id="{BA860011-D538-4F64-BC55-A6FF84D041C3}"/>
                </a:ext>
              </a:extLst>
            </p:cNvPr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926149" y="2016728"/>
              <a:ext cx="39116" cy="64731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8" name="Freeform 455">
              <a:extLst>
                <a:ext uri="{FF2B5EF4-FFF2-40B4-BE49-F238E27FC236}">
                  <a16:creationId xmlns:a16="http://schemas.microsoft.com/office/drawing/2014/main" id="{E6F5B8B3-0736-4814-983C-3BEACD72AA21}"/>
                </a:ext>
              </a:extLst>
            </p:cNvPr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889091" y="2021838"/>
              <a:ext cx="32940" cy="63028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FE8D26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9" name="Freeform 456">
              <a:extLst>
                <a:ext uri="{FF2B5EF4-FFF2-40B4-BE49-F238E27FC236}">
                  <a16:creationId xmlns:a16="http://schemas.microsoft.com/office/drawing/2014/main" id="{A1C23DBE-8654-455A-90D6-18D29835C4AA}"/>
                </a:ext>
              </a:extLst>
            </p:cNvPr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849974" y="1963921"/>
              <a:ext cx="67940" cy="83468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0" name="Freeform 457">
              <a:extLst>
                <a:ext uri="{FF2B5EF4-FFF2-40B4-BE49-F238E27FC236}">
                  <a16:creationId xmlns:a16="http://schemas.microsoft.com/office/drawing/2014/main" id="{4FEC1A16-3C02-4597-B25D-231B537C7594}"/>
                </a:ext>
              </a:extLst>
            </p:cNvPr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6409957" y="2827559"/>
              <a:ext cx="354107" cy="330465"/>
            </a:xfrm>
            <a:custGeom>
              <a:avLst/>
              <a:gdLst>
                <a:gd name="T0" fmla="*/ 9087 w 631"/>
                <a:gd name="T1" fmla="*/ 1040 h 592"/>
                <a:gd name="T2" fmla="*/ 13847 w 631"/>
                <a:gd name="T3" fmla="*/ 2081 h 592"/>
                <a:gd name="T4" fmla="*/ 23367 w 631"/>
                <a:gd name="T5" fmla="*/ 4162 h 592"/>
                <a:gd name="T6" fmla="*/ 33753 w 631"/>
                <a:gd name="T7" fmla="*/ 5723 h 592"/>
                <a:gd name="T8" fmla="*/ 45003 w 631"/>
                <a:gd name="T9" fmla="*/ 9884 h 592"/>
                <a:gd name="T10" fmla="*/ 56254 w 631"/>
                <a:gd name="T11" fmla="*/ 16647 h 592"/>
                <a:gd name="T12" fmla="*/ 63178 w 631"/>
                <a:gd name="T13" fmla="*/ 20809 h 592"/>
                <a:gd name="T14" fmla="*/ 68803 w 631"/>
                <a:gd name="T15" fmla="*/ 22370 h 592"/>
                <a:gd name="T16" fmla="*/ 81785 w 631"/>
                <a:gd name="T17" fmla="*/ 22370 h 592"/>
                <a:gd name="T18" fmla="*/ 98229 w 631"/>
                <a:gd name="T19" fmla="*/ 19248 h 592"/>
                <a:gd name="T20" fmla="*/ 119865 w 631"/>
                <a:gd name="T21" fmla="*/ 11965 h 592"/>
                <a:gd name="T22" fmla="*/ 172658 w 631"/>
                <a:gd name="T23" fmla="*/ 19769 h 592"/>
                <a:gd name="T24" fmla="*/ 174389 w 631"/>
                <a:gd name="T25" fmla="*/ 35896 h 592"/>
                <a:gd name="T26" fmla="*/ 177418 w 631"/>
                <a:gd name="T27" fmla="*/ 49422 h 592"/>
                <a:gd name="T28" fmla="*/ 180447 w 631"/>
                <a:gd name="T29" fmla="*/ 61907 h 592"/>
                <a:gd name="T30" fmla="*/ 184774 w 631"/>
                <a:gd name="T31" fmla="*/ 72832 h 592"/>
                <a:gd name="T32" fmla="*/ 194727 w 631"/>
                <a:gd name="T33" fmla="*/ 91040 h 592"/>
                <a:gd name="T34" fmla="*/ 204247 w 631"/>
                <a:gd name="T35" fmla="*/ 106127 h 592"/>
                <a:gd name="T36" fmla="*/ 208574 w 631"/>
                <a:gd name="T37" fmla="*/ 115491 h 592"/>
                <a:gd name="T38" fmla="*/ 209872 w 631"/>
                <a:gd name="T39" fmla="*/ 124855 h 592"/>
                <a:gd name="T40" fmla="*/ 212468 w 631"/>
                <a:gd name="T41" fmla="*/ 132658 h 592"/>
                <a:gd name="T42" fmla="*/ 214632 w 631"/>
                <a:gd name="T43" fmla="*/ 135780 h 592"/>
                <a:gd name="T44" fmla="*/ 218527 w 631"/>
                <a:gd name="T45" fmla="*/ 138381 h 592"/>
                <a:gd name="T46" fmla="*/ 221988 w 631"/>
                <a:gd name="T47" fmla="*/ 140462 h 592"/>
                <a:gd name="T48" fmla="*/ 224585 w 631"/>
                <a:gd name="T49" fmla="*/ 144623 h 592"/>
                <a:gd name="T50" fmla="*/ 230643 w 631"/>
                <a:gd name="T51" fmla="*/ 157629 h 592"/>
                <a:gd name="T52" fmla="*/ 234105 w 631"/>
                <a:gd name="T53" fmla="*/ 172195 h 592"/>
                <a:gd name="T54" fmla="*/ 235836 w 631"/>
                <a:gd name="T55" fmla="*/ 186242 h 592"/>
                <a:gd name="T56" fmla="*/ 237134 w 631"/>
                <a:gd name="T57" fmla="*/ 191444 h 592"/>
                <a:gd name="T58" fmla="*/ 241028 w 631"/>
                <a:gd name="T59" fmla="*/ 198207 h 592"/>
                <a:gd name="T60" fmla="*/ 252279 w 631"/>
                <a:gd name="T61" fmla="*/ 215895 h 592"/>
                <a:gd name="T62" fmla="*/ 264828 w 631"/>
                <a:gd name="T63" fmla="*/ 232542 h 592"/>
                <a:gd name="T64" fmla="*/ 273050 w 631"/>
                <a:gd name="T65" fmla="*/ 240866 h 592"/>
                <a:gd name="T66" fmla="*/ 264828 w 631"/>
                <a:gd name="T67" fmla="*/ 250230 h 592"/>
                <a:gd name="T68" fmla="*/ 270021 w 631"/>
                <a:gd name="T69" fmla="*/ 258033 h 592"/>
                <a:gd name="T70" fmla="*/ 270886 w 631"/>
                <a:gd name="T71" fmla="*/ 263756 h 592"/>
                <a:gd name="T72" fmla="*/ 270886 w 631"/>
                <a:gd name="T73" fmla="*/ 268438 h 592"/>
                <a:gd name="T74" fmla="*/ 273050 w 631"/>
                <a:gd name="T75" fmla="*/ 276241 h 592"/>
                <a:gd name="T76" fmla="*/ 270886 w 631"/>
                <a:gd name="T77" fmla="*/ 280403 h 592"/>
                <a:gd name="T78" fmla="*/ 266992 w 631"/>
                <a:gd name="T79" fmla="*/ 285085 h 592"/>
                <a:gd name="T80" fmla="*/ 256174 w 631"/>
                <a:gd name="T81" fmla="*/ 296010 h 592"/>
                <a:gd name="T82" fmla="*/ 241461 w 631"/>
                <a:gd name="T83" fmla="*/ 307975 h 592"/>
                <a:gd name="T84" fmla="*/ 19905 w 631"/>
                <a:gd name="T85" fmla="*/ 90520 h 592"/>
                <a:gd name="T86" fmla="*/ 10818 w 631"/>
                <a:gd name="T87" fmla="*/ 81676 h 592"/>
                <a:gd name="T88" fmla="*/ 4760 w 631"/>
                <a:gd name="T89" fmla="*/ 71791 h 592"/>
                <a:gd name="T90" fmla="*/ 865 w 631"/>
                <a:gd name="T91" fmla="*/ 60867 h 592"/>
                <a:gd name="T92" fmla="*/ 0 w 631"/>
                <a:gd name="T93" fmla="*/ 48381 h 592"/>
                <a:gd name="T94" fmla="*/ 1298 w 631"/>
                <a:gd name="T95" fmla="*/ 46300 h 592"/>
                <a:gd name="T96" fmla="*/ 4327 w 631"/>
                <a:gd name="T97" fmla="*/ 43179 h 592"/>
                <a:gd name="T98" fmla="*/ 7356 w 631"/>
                <a:gd name="T99" fmla="*/ 40058 h 592"/>
                <a:gd name="T100" fmla="*/ 8655 w 631"/>
                <a:gd name="T101" fmla="*/ 35896 h 592"/>
                <a:gd name="T102" fmla="*/ 7789 w 631"/>
                <a:gd name="T103" fmla="*/ 27572 h 592"/>
                <a:gd name="T104" fmla="*/ 5625 w 631"/>
                <a:gd name="T105" fmla="*/ 21850 h 592"/>
                <a:gd name="T106" fmla="*/ 3895 w 631"/>
                <a:gd name="T107" fmla="*/ 17688 h 592"/>
                <a:gd name="T108" fmla="*/ 3029 w 631"/>
                <a:gd name="T109" fmla="*/ 13526 h 592"/>
                <a:gd name="T110" fmla="*/ 5625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1" name="Freeform 458">
              <a:extLst>
                <a:ext uri="{FF2B5EF4-FFF2-40B4-BE49-F238E27FC236}">
                  <a16:creationId xmlns:a16="http://schemas.microsoft.com/office/drawing/2014/main" id="{290CFAD6-1429-407A-94A2-A4A63C12E4F1}"/>
                </a:ext>
              </a:extLst>
            </p:cNvPr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5884974" y="2435771"/>
              <a:ext cx="22646" cy="61324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2" name="Freeform 459">
              <a:extLst>
                <a:ext uri="{FF2B5EF4-FFF2-40B4-BE49-F238E27FC236}">
                  <a16:creationId xmlns:a16="http://schemas.microsoft.com/office/drawing/2014/main" id="{65A97774-25E6-48E0-94E1-A51DDC6AB737}"/>
                </a:ext>
              </a:extLst>
            </p:cNvPr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5417634" y="2168333"/>
              <a:ext cx="382929" cy="292990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0185C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3" name="Freeform 460">
              <a:extLst>
                <a:ext uri="{FF2B5EF4-FFF2-40B4-BE49-F238E27FC236}">
                  <a16:creationId xmlns:a16="http://schemas.microsoft.com/office/drawing/2014/main" id="{C7FCE9A5-1333-43C2-BBF1-F852D3423E91}"/>
                </a:ext>
              </a:extLst>
            </p:cNvPr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6819652" y="2420440"/>
              <a:ext cx="195582" cy="88578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4" name="Freeform 461">
              <a:extLst>
                <a:ext uri="{FF2B5EF4-FFF2-40B4-BE49-F238E27FC236}">
                  <a16:creationId xmlns:a16="http://schemas.microsoft.com/office/drawing/2014/main" id="{B60D0BFA-6A4D-4320-856E-2D22D943F59E}"/>
                </a:ext>
              </a:extLst>
            </p:cNvPr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6234964" y="2485170"/>
              <a:ext cx="191465" cy="185675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5" name="Freeform 462">
              <a:extLst>
                <a:ext uri="{FF2B5EF4-FFF2-40B4-BE49-F238E27FC236}">
                  <a16:creationId xmlns:a16="http://schemas.microsoft.com/office/drawing/2014/main" id="{8C937A8E-56B8-4233-AF73-79B74830DD8A}"/>
                </a:ext>
              </a:extLst>
            </p:cNvPr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6344078" y="2691285"/>
              <a:ext cx="90586" cy="61324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6" name="Freeform 463">
              <a:extLst>
                <a:ext uri="{FF2B5EF4-FFF2-40B4-BE49-F238E27FC236}">
                  <a16:creationId xmlns:a16="http://schemas.microsoft.com/office/drawing/2014/main" id="{ECAB6CAB-9292-40C1-8F1A-9634F172A720}"/>
                </a:ext>
              </a:extLst>
            </p:cNvPr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5149995" y="3476564"/>
              <a:ext cx="242934" cy="170343"/>
            </a:xfrm>
            <a:custGeom>
              <a:avLst/>
              <a:gdLst>
                <a:gd name="T0" fmla="*/ 85308 w 426"/>
                <a:gd name="T1" fmla="*/ 8495 h 299"/>
                <a:gd name="T2" fmla="*/ 94982 w 426"/>
                <a:gd name="T3" fmla="*/ 11681 h 299"/>
                <a:gd name="T4" fmla="*/ 101138 w 426"/>
                <a:gd name="T5" fmla="*/ 15397 h 299"/>
                <a:gd name="T6" fmla="*/ 111252 w 426"/>
                <a:gd name="T7" fmla="*/ 18583 h 299"/>
                <a:gd name="T8" fmla="*/ 122685 w 426"/>
                <a:gd name="T9" fmla="*/ 19645 h 299"/>
                <a:gd name="T10" fmla="*/ 131919 w 426"/>
                <a:gd name="T11" fmla="*/ 19645 h 299"/>
                <a:gd name="T12" fmla="*/ 140274 w 426"/>
                <a:gd name="T13" fmla="*/ 18052 h 299"/>
                <a:gd name="T14" fmla="*/ 144671 w 426"/>
                <a:gd name="T15" fmla="*/ 15397 h 299"/>
                <a:gd name="T16" fmla="*/ 160501 w 426"/>
                <a:gd name="T17" fmla="*/ 13273 h 299"/>
                <a:gd name="T18" fmla="*/ 163580 w 426"/>
                <a:gd name="T19" fmla="*/ 26016 h 299"/>
                <a:gd name="T20" fmla="*/ 168417 w 426"/>
                <a:gd name="T21" fmla="*/ 39289 h 299"/>
                <a:gd name="T22" fmla="*/ 171934 w 426"/>
                <a:gd name="T23" fmla="*/ 44599 h 299"/>
                <a:gd name="T24" fmla="*/ 175892 w 426"/>
                <a:gd name="T25" fmla="*/ 48846 h 299"/>
                <a:gd name="T26" fmla="*/ 181169 w 426"/>
                <a:gd name="T27" fmla="*/ 51501 h 299"/>
                <a:gd name="T28" fmla="*/ 186885 w 426"/>
                <a:gd name="T29" fmla="*/ 52563 h 299"/>
                <a:gd name="T30" fmla="*/ 186885 w 426"/>
                <a:gd name="T31" fmla="*/ 63712 h 299"/>
                <a:gd name="T32" fmla="*/ 186885 w 426"/>
                <a:gd name="T33" fmla="*/ 75393 h 299"/>
                <a:gd name="T34" fmla="*/ 182928 w 426"/>
                <a:gd name="T35" fmla="*/ 83888 h 299"/>
                <a:gd name="T36" fmla="*/ 181169 w 426"/>
                <a:gd name="T37" fmla="*/ 90259 h 299"/>
                <a:gd name="T38" fmla="*/ 181169 w 426"/>
                <a:gd name="T39" fmla="*/ 96099 h 299"/>
                <a:gd name="T40" fmla="*/ 182488 w 426"/>
                <a:gd name="T41" fmla="*/ 100878 h 299"/>
                <a:gd name="T42" fmla="*/ 186006 w 426"/>
                <a:gd name="T43" fmla="*/ 112028 h 299"/>
                <a:gd name="T44" fmla="*/ 187325 w 426"/>
                <a:gd name="T45" fmla="*/ 119992 h 299"/>
                <a:gd name="T46" fmla="*/ 186885 w 426"/>
                <a:gd name="T47" fmla="*/ 131141 h 299"/>
                <a:gd name="T48" fmla="*/ 187325 w 426"/>
                <a:gd name="T49" fmla="*/ 145477 h 299"/>
                <a:gd name="T50" fmla="*/ 186006 w 426"/>
                <a:gd name="T51" fmla="*/ 151317 h 299"/>
                <a:gd name="T52" fmla="*/ 181169 w 426"/>
                <a:gd name="T53" fmla="*/ 157157 h 299"/>
                <a:gd name="T54" fmla="*/ 167097 w 426"/>
                <a:gd name="T55" fmla="*/ 158219 h 299"/>
                <a:gd name="T56" fmla="*/ 162700 w 426"/>
                <a:gd name="T57" fmla="*/ 158750 h 299"/>
                <a:gd name="T58" fmla="*/ 158303 w 426"/>
                <a:gd name="T59" fmla="*/ 157157 h 299"/>
                <a:gd name="T60" fmla="*/ 154345 w 426"/>
                <a:gd name="T61" fmla="*/ 153972 h 299"/>
                <a:gd name="T62" fmla="*/ 148629 w 426"/>
                <a:gd name="T63" fmla="*/ 147600 h 299"/>
                <a:gd name="T64" fmla="*/ 142473 w 426"/>
                <a:gd name="T65" fmla="*/ 138574 h 299"/>
                <a:gd name="T66" fmla="*/ 136756 w 426"/>
                <a:gd name="T67" fmla="*/ 134327 h 299"/>
                <a:gd name="T68" fmla="*/ 129281 w 426"/>
                <a:gd name="T69" fmla="*/ 133265 h 299"/>
                <a:gd name="T70" fmla="*/ 122245 w 426"/>
                <a:gd name="T71" fmla="*/ 123177 h 299"/>
                <a:gd name="T72" fmla="*/ 120486 w 426"/>
                <a:gd name="T73" fmla="*/ 111497 h 299"/>
                <a:gd name="T74" fmla="*/ 118287 w 426"/>
                <a:gd name="T75" fmla="*/ 104594 h 299"/>
                <a:gd name="T76" fmla="*/ 114770 w 426"/>
                <a:gd name="T77" fmla="*/ 97692 h 299"/>
                <a:gd name="T78" fmla="*/ 110372 w 426"/>
                <a:gd name="T79" fmla="*/ 91852 h 299"/>
                <a:gd name="T80" fmla="*/ 104656 w 426"/>
                <a:gd name="T81" fmla="*/ 87605 h 299"/>
                <a:gd name="T82" fmla="*/ 97620 w 426"/>
                <a:gd name="T83" fmla="*/ 85481 h 299"/>
                <a:gd name="T84" fmla="*/ 89705 w 426"/>
                <a:gd name="T85" fmla="*/ 85481 h 299"/>
                <a:gd name="T86" fmla="*/ 82669 w 426"/>
                <a:gd name="T87" fmla="*/ 86543 h 299"/>
                <a:gd name="T88" fmla="*/ 76073 w 426"/>
                <a:gd name="T89" fmla="*/ 89197 h 299"/>
                <a:gd name="T90" fmla="*/ 70357 w 426"/>
                <a:gd name="T91" fmla="*/ 93445 h 299"/>
                <a:gd name="T92" fmla="*/ 62002 w 426"/>
                <a:gd name="T93" fmla="*/ 101409 h 299"/>
                <a:gd name="T94" fmla="*/ 51888 w 426"/>
                <a:gd name="T95" fmla="*/ 114151 h 299"/>
                <a:gd name="T96" fmla="*/ 46172 w 426"/>
                <a:gd name="T97" fmla="*/ 115744 h 299"/>
                <a:gd name="T98" fmla="*/ 43973 w 426"/>
                <a:gd name="T99" fmla="*/ 106718 h 299"/>
                <a:gd name="T100" fmla="*/ 39576 w 426"/>
                <a:gd name="T101" fmla="*/ 98754 h 299"/>
                <a:gd name="T102" fmla="*/ 33419 w 426"/>
                <a:gd name="T103" fmla="*/ 90790 h 299"/>
                <a:gd name="T104" fmla="*/ 21987 w 426"/>
                <a:gd name="T105" fmla="*/ 81233 h 299"/>
                <a:gd name="T106" fmla="*/ 10554 w 426"/>
                <a:gd name="T107" fmla="*/ 71145 h 299"/>
                <a:gd name="T108" fmla="*/ 3518 w 426"/>
                <a:gd name="T109" fmla="*/ 63181 h 299"/>
                <a:gd name="T110" fmla="*/ 6596 w 426"/>
                <a:gd name="T111" fmla="*/ 53625 h 299"/>
                <a:gd name="T112" fmla="*/ 20228 w 426"/>
                <a:gd name="T113" fmla="*/ 40882 h 299"/>
                <a:gd name="T114" fmla="*/ 32980 w 426"/>
                <a:gd name="T115" fmla="*/ 25485 h 299"/>
                <a:gd name="T116" fmla="*/ 43094 w 426"/>
                <a:gd name="T117" fmla="*/ 9026 h 299"/>
                <a:gd name="T118" fmla="*/ 78712 w 426"/>
                <a:gd name="T119" fmla="*/ 6902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7" name="Freeform 464">
              <a:extLst>
                <a:ext uri="{FF2B5EF4-FFF2-40B4-BE49-F238E27FC236}">
                  <a16:creationId xmlns:a16="http://schemas.microsoft.com/office/drawing/2014/main" id="{1E2D8CF5-7DBA-4D57-BB85-16DC2BD5B5C9}"/>
                </a:ext>
              </a:extLst>
            </p:cNvPr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7801682" y="2686175"/>
              <a:ext cx="897621" cy="938589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0185C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8" name="Freeform 465">
              <a:extLst>
                <a:ext uri="{FF2B5EF4-FFF2-40B4-BE49-F238E27FC236}">
                  <a16:creationId xmlns:a16="http://schemas.microsoft.com/office/drawing/2014/main" id="{A99E70D0-8438-471E-985E-A1296499005B}"/>
                </a:ext>
              </a:extLst>
            </p:cNvPr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5366165" y="3539592"/>
              <a:ext cx="205877" cy="221445"/>
            </a:xfrm>
            <a:custGeom>
              <a:avLst/>
              <a:gdLst>
                <a:gd name="T0" fmla="*/ 23437 w 359"/>
                <a:gd name="T1" fmla="*/ 200089 h 394"/>
                <a:gd name="T2" fmla="*/ 23437 w 359"/>
                <a:gd name="T3" fmla="*/ 187518 h 394"/>
                <a:gd name="T4" fmla="*/ 23437 w 359"/>
                <a:gd name="T5" fmla="*/ 174424 h 394"/>
                <a:gd name="T6" fmla="*/ 22110 w 359"/>
                <a:gd name="T7" fmla="*/ 163424 h 394"/>
                <a:gd name="T8" fmla="*/ 19015 w 359"/>
                <a:gd name="T9" fmla="*/ 153472 h 394"/>
                <a:gd name="T10" fmla="*/ 15477 w 359"/>
                <a:gd name="T11" fmla="*/ 145091 h 394"/>
                <a:gd name="T12" fmla="*/ 5749 w 359"/>
                <a:gd name="T13" fmla="*/ 128330 h 394"/>
                <a:gd name="T14" fmla="*/ 0 w 359"/>
                <a:gd name="T15" fmla="*/ 96902 h 394"/>
                <a:gd name="T16" fmla="*/ 14593 w 359"/>
                <a:gd name="T17" fmla="*/ 94807 h 394"/>
                <a:gd name="T18" fmla="*/ 17688 w 359"/>
                <a:gd name="T19" fmla="*/ 88521 h 394"/>
                <a:gd name="T20" fmla="*/ 18130 w 359"/>
                <a:gd name="T21" fmla="*/ 78569 h 394"/>
                <a:gd name="T22" fmla="*/ 16804 w 359"/>
                <a:gd name="T23" fmla="*/ 56046 h 394"/>
                <a:gd name="T24" fmla="*/ 13708 w 359"/>
                <a:gd name="T25" fmla="*/ 34047 h 394"/>
                <a:gd name="T26" fmla="*/ 14150 w 359"/>
                <a:gd name="T27" fmla="*/ 24618 h 394"/>
                <a:gd name="T28" fmla="*/ 15919 w 359"/>
                <a:gd name="T29" fmla="*/ 18857 h 394"/>
                <a:gd name="T30" fmla="*/ 53064 w 359"/>
                <a:gd name="T31" fmla="*/ 16238 h 394"/>
                <a:gd name="T32" fmla="*/ 53948 w 359"/>
                <a:gd name="T33" fmla="*/ 11523 h 394"/>
                <a:gd name="T34" fmla="*/ 56602 w 359"/>
                <a:gd name="T35" fmla="*/ 7333 h 394"/>
                <a:gd name="T36" fmla="*/ 61908 w 359"/>
                <a:gd name="T37" fmla="*/ 0 h 394"/>
                <a:gd name="T38" fmla="*/ 62792 w 359"/>
                <a:gd name="T39" fmla="*/ 9428 h 394"/>
                <a:gd name="T40" fmla="*/ 62792 w 359"/>
                <a:gd name="T41" fmla="*/ 13619 h 394"/>
                <a:gd name="T42" fmla="*/ 61908 w 359"/>
                <a:gd name="T43" fmla="*/ 16238 h 394"/>
                <a:gd name="T44" fmla="*/ 74290 w 359"/>
                <a:gd name="T45" fmla="*/ 16238 h 394"/>
                <a:gd name="T46" fmla="*/ 82249 w 359"/>
                <a:gd name="T47" fmla="*/ 16238 h 394"/>
                <a:gd name="T48" fmla="*/ 94631 w 359"/>
                <a:gd name="T49" fmla="*/ 19904 h 394"/>
                <a:gd name="T50" fmla="*/ 103033 w 359"/>
                <a:gd name="T51" fmla="*/ 25666 h 394"/>
                <a:gd name="T52" fmla="*/ 108781 w 359"/>
                <a:gd name="T53" fmla="*/ 30380 h 394"/>
                <a:gd name="T54" fmla="*/ 114530 w 359"/>
                <a:gd name="T55" fmla="*/ 31951 h 394"/>
                <a:gd name="T56" fmla="*/ 118510 w 359"/>
                <a:gd name="T57" fmla="*/ 30904 h 394"/>
                <a:gd name="T58" fmla="*/ 121605 w 359"/>
                <a:gd name="T59" fmla="*/ 28285 h 394"/>
                <a:gd name="T60" fmla="*/ 126469 w 359"/>
                <a:gd name="T61" fmla="*/ 19380 h 394"/>
                <a:gd name="T62" fmla="*/ 137967 w 359"/>
                <a:gd name="T63" fmla="*/ 27237 h 394"/>
                <a:gd name="T64" fmla="*/ 143715 w 359"/>
                <a:gd name="T65" fmla="*/ 30904 h 394"/>
                <a:gd name="T66" fmla="*/ 149464 w 359"/>
                <a:gd name="T67" fmla="*/ 31951 h 394"/>
                <a:gd name="T68" fmla="*/ 156097 w 359"/>
                <a:gd name="T69" fmla="*/ 84331 h 394"/>
                <a:gd name="T70" fmla="*/ 149464 w 359"/>
                <a:gd name="T71" fmla="*/ 96902 h 394"/>
                <a:gd name="T72" fmla="*/ 142831 w 359"/>
                <a:gd name="T73" fmla="*/ 107902 h 394"/>
                <a:gd name="T74" fmla="*/ 139293 w 359"/>
                <a:gd name="T75" fmla="*/ 117330 h 394"/>
                <a:gd name="T76" fmla="*/ 138409 w 359"/>
                <a:gd name="T77" fmla="*/ 125187 h 394"/>
                <a:gd name="T78" fmla="*/ 138409 w 359"/>
                <a:gd name="T79" fmla="*/ 133568 h 394"/>
                <a:gd name="T80" fmla="*/ 141946 w 359"/>
                <a:gd name="T81" fmla="*/ 142996 h 394"/>
                <a:gd name="T82" fmla="*/ 146368 w 359"/>
                <a:gd name="T83" fmla="*/ 153472 h 394"/>
                <a:gd name="T84" fmla="*/ 149022 w 359"/>
                <a:gd name="T85" fmla="*/ 161852 h 394"/>
                <a:gd name="T86" fmla="*/ 149022 w 359"/>
                <a:gd name="T87" fmla="*/ 168138 h 394"/>
                <a:gd name="T88" fmla="*/ 145926 w 359"/>
                <a:gd name="T89" fmla="*/ 176519 h 394"/>
                <a:gd name="T90" fmla="*/ 144157 w 359"/>
                <a:gd name="T91" fmla="*/ 183852 h 394"/>
                <a:gd name="T92" fmla="*/ 141062 w 359"/>
                <a:gd name="T93" fmla="*/ 187518 h 394"/>
                <a:gd name="T94" fmla="*/ 136198 w 359"/>
                <a:gd name="T95" fmla="*/ 186471 h 394"/>
                <a:gd name="T96" fmla="*/ 131776 w 359"/>
                <a:gd name="T97" fmla="*/ 183328 h 394"/>
                <a:gd name="T98" fmla="*/ 126912 w 359"/>
                <a:gd name="T99" fmla="*/ 178090 h 394"/>
                <a:gd name="T100" fmla="*/ 122490 w 359"/>
                <a:gd name="T101" fmla="*/ 175471 h 394"/>
                <a:gd name="T102" fmla="*/ 117625 w 359"/>
                <a:gd name="T103" fmla="*/ 174424 h 394"/>
                <a:gd name="T104" fmla="*/ 108781 w 359"/>
                <a:gd name="T105" fmla="*/ 174424 h 394"/>
                <a:gd name="T106" fmla="*/ 97726 w 359"/>
                <a:gd name="T107" fmla="*/ 175995 h 394"/>
                <a:gd name="T108" fmla="*/ 80038 w 359"/>
                <a:gd name="T109" fmla="*/ 179661 h 394"/>
                <a:gd name="T110" fmla="*/ 57928 w 359"/>
                <a:gd name="T111" fmla="*/ 188042 h 394"/>
                <a:gd name="T112" fmla="*/ 38029 w 359"/>
                <a:gd name="T113" fmla="*/ 196423 h 394"/>
                <a:gd name="T114" fmla="*/ 23437 w 359"/>
                <a:gd name="T115" fmla="*/ 206375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9" name="Freeform 466">
              <a:extLst>
                <a:ext uri="{FF2B5EF4-FFF2-40B4-BE49-F238E27FC236}">
                  <a16:creationId xmlns:a16="http://schemas.microsoft.com/office/drawing/2014/main" id="{90974687-37B6-4B9B-A3CD-9A5DB90C986E}"/>
                </a:ext>
              </a:extLst>
            </p:cNvPr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6751712" y="3749114"/>
              <a:ext cx="249111" cy="291287"/>
            </a:xfrm>
            <a:custGeom>
              <a:avLst/>
              <a:gdLst>
                <a:gd name="T0" fmla="*/ 175403 w 449"/>
                <a:gd name="T1" fmla="*/ 54500 h 523"/>
                <a:gd name="T2" fmla="*/ 173264 w 449"/>
                <a:gd name="T3" fmla="*/ 50867 h 523"/>
                <a:gd name="T4" fmla="*/ 174548 w 449"/>
                <a:gd name="T5" fmla="*/ 47753 h 523"/>
                <a:gd name="T6" fmla="*/ 180537 w 449"/>
                <a:gd name="T7" fmla="*/ 39967 h 523"/>
                <a:gd name="T8" fmla="*/ 188665 w 449"/>
                <a:gd name="T9" fmla="*/ 31143 h 523"/>
                <a:gd name="T10" fmla="*/ 191232 w 449"/>
                <a:gd name="T11" fmla="*/ 25952 h 523"/>
                <a:gd name="T12" fmla="*/ 192088 w 449"/>
                <a:gd name="T13" fmla="*/ 19205 h 523"/>
                <a:gd name="T14" fmla="*/ 184815 w 449"/>
                <a:gd name="T15" fmla="*/ 17648 h 523"/>
                <a:gd name="T16" fmla="*/ 180537 w 449"/>
                <a:gd name="T17" fmla="*/ 14014 h 523"/>
                <a:gd name="T18" fmla="*/ 175831 w 449"/>
                <a:gd name="T19" fmla="*/ 10900 h 523"/>
                <a:gd name="T20" fmla="*/ 166847 w 449"/>
                <a:gd name="T21" fmla="*/ 9343 h 523"/>
                <a:gd name="T22" fmla="*/ 161285 w 449"/>
                <a:gd name="T23" fmla="*/ 10381 h 523"/>
                <a:gd name="T24" fmla="*/ 157435 w 449"/>
                <a:gd name="T25" fmla="*/ 12457 h 523"/>
                <a:gd name="T26" fmla="*/ 151874 w 449"/>
                <a:gd name="T27" fmla="*/ 19205 h 523"/>
                <a:gd name="T28" fmla="*/ 145456 w 449"/>
                <a:gd name="T29" fmla="*/ 25952 h 523"/>
                <a:gd name="T30" fmla="*/ 139467 w 449"/>
                <a:gd name="T31" fmla="*/ 28029 h 523"/>
                <a:gd name="T32" fmla="*/ 132622 w 449"/>
                <a:gd name="T33" fmla="*/ 28548 h 523"/>
                <a:gd name="T34" fmla="*/ 122782 w 449"/>
                <a:gd name="T35" fmla="*/ 28029 h 523"/>
                <a:gd name="T36" fmla="*/ 114226 w 449"/>
                <a:gd name="T37" fmla="*/ 25952 h 523"/>
                <a:gd name="T38" fmla="*/ 100536 w 449"/>
                <a:gd name="T39" fmla="*/ 18686 h 523"/>
                <a:gd name="T40" fmla="*/ 88129 w 449"/>
                <a:gd name="T41" fmla="*/ 9862 h 523"/>
                <a:gd name="T42" fmla="*/ 80857 w 449"/>
                <a:gd name="T43" fmla="*/ 6229 h 523"/>
                <a:gd name="T44" fmla="*/ 72728 w 449"/>
                <a:gd name="T45" fmla="*/ 3114 h 523"/>
                <a:gd name="T46" fmla="*/ 57327 w 449"/>
                <a:gd name="T47" fmla="*/ 4152 h 523"/>
                <a:gd name="T48" fmla="*/ 50910 w 449"/>
                <a:gd name="T49" fmla="*/ 3114 h 523"/>
                <a:gd name="T50" fmla="*/ 44065 w 449"/>
                <a:gd name="T51" fmla="*/ 0 h 523"/>
                <a:gd name="T52" fmla="*/ 22246 w 449"/>
                <a:gd name="T53" fmla="*/ 0 h 523"/>
                <a:gd name="T54" fmla="*/ 2139 w 449"/>
                <a:gd name="T55" fmla="*/ 0 h 523"/>
                <a:gd name="T56" fmla="*/ 2139 w 449"/>
                <a:gd name="T57" fmla="*/ 9343 h 523"/>
                <a:gd name="T58" fmla="*/ 2139 w 449"/>
                <a:gd name="T59" fmla="*/ 19205 h 523"/>
                <a:gd name="T60" fmla="*/ 6417 w 449"/>
                <a:gd name="T61" fmla="*/ 31143 h 523"/>
                <a:gd name="T62" fmla="*/ 9840 w 449"/>
                <a:gd name="T63" fmla="*/ 47234 h 523"/>
                <a:gd name="T64" fmla="*/ 13262 w 449"/>
                <a:gd name="T65" fmla="*/ 66438 h 523"/>
                <a:gd name="T66" fmla="*/ 16257 w 449"/>
                <a:gd name="T67" fmla="*/ 89277 h 523"/>
                <a:gd name="T68" fmla="*/ 15829 w 449"/>
                <a:gd name="T69" fmla="*/ 106924 h 523"/>
                <a:gd name="T70" fmla="*/ 12407 w 449"/>
                <a:gd name="T71" fmla="*/ 119381 h 523"/>
                <a:gd name="T72" fmla="*/ 2995 w 449"/>
                <a:gd name="T73" fmla="*/ 139624 h 523"/>
                <a:gd name="T74" fmla="*/ 4278 w 449"/>
                <a:gd name="T75" fmla="*/ 166615 h 523"/>
                <a:gd name="T76" fmla="*/ 11979 w 449"/>
                <a:gd name="T77" fmla="*/ 175958 h 523"/>
                <a:gd name="T78" fmla="*/ 35936 w 449"/>
                <a:gd name="T79" fmla="*/ 190491 h 523"/>
                <a:gd name="T80" fmla="*/ 58183 w 449"/>
                <a:gd name="T81" fmla="*/ 205544 h 523"/>
                <a:gd name="T82" fmla="*/ 72728 w 449"/>
                <a:gd name="T83" fmla="*/ 218001 h 523"/>
                <a:gd name="T84" fmla="*/ 80857 w 449"/>
                <a:gd name="T85" fmla="*/ 226306 h 523"/>
                <a:gd name="T86" fmla="*/ 84707 w 449"/>
                <a:gd name="T87" fmla="*/ 234091 h 523"/>
                <a:gd name="T88" fmla="*/ 85990 w 449"/>
                <a:gd name="T89" fmla="*/ 240839 h 523"/>
                <a:gd name="T90" fmla="*/ 89413 w 449"/>
                <a:gd name="T91" fmla="*/ 248625 h 523"/>
                <a:gd name="T92" fmla="*/ 94119 w 449"/>
                <a:gd name="T93" fmla="*/ 255372 h 523"/>
                <a:gd name="T94" fmla="*/ 99680 w 449"/>
                <a:gd name="T95" fmla="*/ 261082 h 523"/>
                <a:gd name="T96" fmla="*/ 105670 w 449"/>
                <a:gd name="T97" fmla="*/ 265753 h 523"/>
                <a:gd name="T98" fmla="*/ 112943 w 449"/>
                <a:gd name="T99" fmla="*/ 269387 h 523"/>
                <a:gd name="T100" fmla="*/ 120215 w 449"/>
                <a:gd name="T101" fmla="*/ 271463 h 523"/>
                <a:gd name="T102" fmla="*/ 130055 w 449"/>
                <a:gd name="T103" fmla="*/ 260563 h 523"/>
                <a:gd name="T104" fmla="*/ 143317 w 449"/>
                <a:gd name="T105" fmla="*/ 239801 h 523"/>
                <a:gd name="T106" fmla="*/ 156152 w 449"/>
                <a:gd name="T107" fmla="*/ 221634 h 523"/>
                <a:gd name="T108" fmla="*/ 168558 w 449"/>
                <a:gd name="T109" fmla="*/ 202429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0" name="Freeform 467">
              <a:extLst>
                <a:ext uri="{FF2B5EF4-FFF2-40B4-BE49-F238E27FC236}">
                  <a16:creationId xmlns:a16="http://schemas.microsoft.com/office/drawing/2014/main" id="{7ADDA9D4-B673-48F8-9A35-E3A9F6965CFE}"/>
                </a:ext>
              </a:extLst>
            </p:cNvPr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729067" y="2767939"/>
              <a:ext cx="131761" cy="139681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1" name="Freeform 468">
              <a:extLst>
                <a:ext uri="{FF2B5EF4-FFF2-40B4-BE49-F238E27FC236}">
                  <a16:creationId xmlns:a16="http://schemas.microsoft.com/office/drawing/2014/main" id="{B87F8E60-7708-416A-9562-FC4E4159821F}"/>
                </a:ext>
              </a:extLst>
            </p:cNvPr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7116115" y="2878662"/>
              <a:ext cx="28823" cy="59620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2" name="Freeform 469">
              <a:extLst>
                <a:ext uri="{FF2B5EF4-FFF2-40B4-BE49-F238E27FC236}">
                  <a16:creationId xmlns:a16="http://schemas.microsoft.com/office/drawing/2014/main" id="{2CFBF8BF-D843-43EE-8158-C5E62FCC99EE}"/>
                </a:ext>
              </a:extLst>
            </p:cNvPr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6191729" y="1950294"/>
              <a:ext cx="209993" cy="71545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3" name="Freeform 470">
              <a:extLst>
                <a:ext uri="{FF2B5EF4-FFF2-40B4-BE49-F238E27FC236}">
                  <a16:creationId xmlns:a16="http://schemas.microsoft.com/office/drawing/2014/main" id="{4C3C02E3-0B67-45E9-9593-E0ABB3E2E4DD}"/>
                </a:ext>
              </a:extLst>
            </p:cNvPr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6724949" y="2723650"/>
              <a:ext cx="39116" cy="61324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4" name="Freeform 472">
              <a:extLst>
                <a:ext uri="{FF2B5EF4-FFF2-40B4-BE49-F238E27FC236}">
                  <a16:creationId xmlns:a16="http://schemas.microsoft.com/office/drawing/2014/main" id="{1C90DE64-545C-4CA4-B6A6-D92344B77043}"/>
                </a:ext>
              </a:extLst>
            </p:cNvPr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6189671" y="2001397"/>
              <a:ext cx="170877" cy="90282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5" name="Freeform 473">
              <a:extLst>
                <a:ext uri="{FF2B5EF4-FFF2-40B4-BE49-F238E27FC236}">
                  <a16:creationId xmlns:a16="http://schemas.microsoft.com/office/drawing/2014/main" id="{A50FB886-6E62-4D61-AAC2-8C865FE591F8}"/>
                </a:ext>
              </a:extLst>
            </p:cNvPr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5808799" y="2200698"/>
              <a:ext cx="24705" cy="64731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6" name="Freeform 474">
              <a:extLst>
                <a:ext uri="{FF2B5EF4-FFF2-40B4-BE49-F238E27FC236}">
                  <a16:creationId xmlns:a16="http://schemas.microsoft.com/office/drawing/2014/main" id="{EAC9C102-8000-4911-AC61-0FE1967CEC97}"/>
                </a:ext>
              </a:extLst>
            </p:cNvPr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6712597" y="4222666"/>
              <a:ext cx="90586" cy="258921"/>
            </a:xfrm>
            <a:custGeom>
              <a:avLst/>
              <a:gdLst>
                <a:gd name="T0" fmla="*/ 4208 w 166"/>
                <a:gd name="T1" fmla="*/ 149225 h 456"/>
                <a:gd name="T2" fmla="*/ 7995 w 166"/>
                <a:gd name="T3" fmla="*/ 153458 h 456"/>
                <a:gd name="T4" fmla="*/ 15569 w 166"/>
                <a:gd name="T5" fmla="*/ 158750 h 456"/>
                <a:gd name="T6" fmla="*/ 24405 w 166"/>
                <a:gd name="T7" fmla="*/ 161925 h 456"/>
                <a:gd name="T8" fmla="*/ 29455 w 166"/>
                <a:gd name="T9" fmla="*/ 165100 h 456"/>
                <a:gd name="T10" fmla="*/ 33663 w 166"/>
                <a:gd name="T11" fmla="*/ 169333 h 456"/>
                <a:gd name="T12" fmla="*/ 36187 w 166"/>
                <a:gd name="T13" fmla="*/ 175154 h 456"/>
                <a:gd name="T14" fmla="*/ 36187 w 166"/>
                <a:gd name="T15" fmla="*/ 183621 h 456"/>
                <a:gd name="T16" fmla="*/ 32821 w 166"/>
                <a:gd name="T17" fmla="*/ 192088 h 456"/>
                <a:gd name="T18" fmla="*/ 28613 w 166"/>
                <a:gd name="T19" fmla="*/ 198438 h 456"/>
                <a:gd name="T20" fmla="*/ 26089 w 166"/>
                <a:gd name="T21" fmla="*/ 205317 h 456"/>
                <a:gd name="T22" fmla="*/ 25247 w 166"/>
                <a:gd name="T23" fmla="*/ 211667 h 456"/>
                <a:gd name="T24" fmla="*/ 26930 w 166"/>
                <a:gd name="T25" fmla="*/ 217487 h 456"/>
                <a:gd name="T26" fmla="*/ 31980 w 166"/>
                <a:gd name="T27" fmla="*/ 224367 h 456"/>
                <a:gd name="T28" fmla="*/ 43761 w 166"/>
                <a:gd name="T29" fmla="*/ 235479 h 456"/>
                <a:gd name="T30" fmla="*/ 50494 w 166"/>
                <a:gd name="T31" fmla="*/ 234421 h 456"/>
                <a:gd name="T32" fmla="*/ 50494 w 166"/>
                <a:gd name="T33" fmla="*/ 223837 h 456"/>
                <a:gd name="T34" fmla="*/ 55123 w 166"/>
                <a:gd name="T35" fmla="*/ 218546 h 456"/>
                <a:gd name="T36" fmla="*/ 61014 w 166"/>
                <a:gd name="T37" fmla="*/ 215371 h 456"/>
                <a:gd name="T38" fmla="*/ 64380 w 166"/>
                <a:gd name="T39" fmla="*/ 212725 h 456"/>
                <a:gd name="T40" fmla="*/ 67325 w 166"/>
                <a:gd name="T41" fmla="*/ 207962 h 456"/>
                <a:gd name="T42" fmla="*/ 69850 w 166"/>
                <a:gd name="T43" fmla="*/ 198438 h 456"/>
                <a:gd name="T44" fmla="*/ 69429 w 166"/>
                <a:gd name="T45" fmla="*/ 185208 h 456"/>
                <a:gd name="T46" fmla="*/ 66484 w 166"/>
                <a:gd name="T47" fmla="*/ 173567 h 456"/>
                <a:gd name="T48" fmla="*/ 62276 w 166"/>
                <a:gd name="T49" fmla="*/ 162454 h 456"/>
                <a:gd name="T50" fmla="*/ 59330 w 166"/>
                <a:gd name="T51" fmla="*/ 150283 h 456"/>
                <a:gd name="T52" fmla="*/ 56806 w 166"/>
                <a:gd name="T53" fmla="*/ 142346 h 456"/>
                <a:gd name="T54" fmla="*/ 49652 w 166"/>
                <a:gd name="T55" fmla="*/ 132821 h 456"/>
                <a:gd name="T56" fmla="*/ 40816 w 166"/>
                <a:gd name="T57" fmla="*/ 118533 h 456"/>
                <a:gd name="T58" fmla="*/ 35767 w 166"/>
                <a:gd name="T59" fmla="*/ 109008 h 456"/>
                <a:gd name="T60" fmla="*/ 33663 w 166"/>
                <a:gd name="T61" fmla="*/ 103187 h 456"/>
                <a:gd name="T62" fmla="*/ 34083 w 166"/>
                <a:gd name="T63" fmla="*/ 93663 h 456"/>
                <a:gd name="T64" fmla="*/ 37029 w 166"/>
                <a:gd name="T65" fmla="*/ 77788 h 456"/>
                <a:gd name="T66" fmla="*/ 40395 w 166"/>
                <a:gd name="T67" fmla="*/ 68263 h 456"/>
                <a:gd name="T68" fmla="*/ 41237 w 166"/>
                <a:gd name="T69" fmla="*/ 59796 h 456"/>
                <a:gd name="T70" fmla="*/ 39974 w 166"/>
                <a:gd name="T71" fmla="*/ 43392 h 456"/>
                <a:gd name="T72" fmla="*/ 38712 w 166"/>
                <a:gd name="T73" fmla="*/ 23813 h 456"/>
                <a:gd name="T74" fmla="*/ 37450 w 166"/>
                <a:gd name="T75" fmla="*/ 9525 h 456"/>
                <a:gd name="T76" fmla="*/ 29876 w 166"/>
                <a:gd name="T77" fmla="*/ 4233 h 456"/>
                <a:gd name="T78" fmla="*/ 13886 w 166"/>
                <a:gd name="T79" fmla="*/ 2117 h 456"/>
                <a:gd name="T80" fmla="*/ 5049 w 166"/>
                <a:gd name="T81" fmla="*/ 5292 h 456"/>
                <a:gd name="T82" fmla="*/ 9257 w 166"/>
                <a:gd name="T83" fmla="*/ 13229 h 456"/>
                <a:gd name="T84" fmla="*/ 13886 w 166"/>
                <a:gd name="T85" fmla="*/ 15875 h 456"/>
                <a:gd name="T86" fmla="*/ 16831 w 166"/>
                <a:gd name="T87" fmla="*/ 23283 h 456"/>
                <a:gd name="T88" fmla="*/ 16831 w 166"/>
                <a:gd name="T89" fmla="*/ 33867 h 456"/>
                <a:gd name="T90" fmla="*/ 16831 w 166"/>
                <a:gd name="T91" fmla="*/ 41275 h 456"/>
                <a:gd name="T92" fmla="*/ 15148 w 166"/>
                <a:gd name="T93" fmla="*/ 44979 h 456"/>
                <a:gd name="T94" fmla="*/ 12203 w 166"/>
                <a:gd name="T95" fmla="*/ 50271 h 456"/>
                <a:gd name="T96" fmla="*/ 6312 w 166"/>
                <a:gd name="T97" fmla="*/ 57679 h 456"/>
                <a:gd name="T98" fmla="*/ 1262 w 166"/>
                <a:gd name="T99" fmla="*/ 64558 h 456"/>
                <a:gd name="T100" fmla="*/ 2945 w 166"/>
                <a:gd name="T101" fmla="*/ 146579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7" name="Freeform 475">
              <a:extLst>
                <a:ext uri="{FF2B5EF4-FFF2-40B4-BE49-F238E27FC236}">
                  <a16:creationId xmlns:a16="http://schemas.microsoft.com/office/drawing/2014/main" id="{FA18C66F-B655-430D-9BE6-6E9E257F9678}"/>
                </a:ext>
              </a:extLst>
            </p:cNvPr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6053793" y="2689581"/>
              <a:ext cx="18528" cy="61324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8" name="Freeform 476">
              <a:extLst>
                <a:ext uri="{FF2B5EF4-FFF2-40B4-BE49-F238E27FC236}">
                  <a16:creationId xmlns:a16="http://schemas.microsoft.com/office/drawing/2014/main" id="{532DFDBE-B429-40C9-BDA8-ECD7C8281C1F}"/>
                </a:ext>
              </a:extLst>
            </p:cNvPr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6467603" y="4428781"/>
              <a:ext cx="244994" cy="233369"/>
            </a:xfrm>
            <a:custGeom>
              <a:avLst/>
              <a:gdLst>
                <a:gd name="T0" fmla="*/ 122492 w 438"/>
                <a:gd name="T1" fmla="*/ 4285 h 406"/>
                <a:gd name="T2" fmla="*/ 138019 w 438"/>
                <a:gd name="T3" fmla="*/ 14463 h 406"/>
                <a:gd name="T4" fmla="*/ 156565 w 438"/>
                <a:gd name="T5" fmla="*/ 25177 h 406"/>
                <a:gd name="T6" fmla="*/ 170367 w 438"/>
                <a:gd name="T7" fmla="*/ 31070 h 406"/>
                <a:gd name="T8" fmla="*/ 179424 w 438"/>
                <a:gd name="T9" fmla="*/ 32677 h 406"/>
                <a:gd name="T10" fmla="*/ 183306 w 438"/>
                <a:gd name="T11" fmla="*/ 43390 h 406"/>
                <a:gd name="T12" fmla="*/ 185031 w 438"/>
                <a:gd name="T13" fmla="*/ 64282 h 406"/>
                <a:gd name="T14" fmla="*/ 187188 w 438"/>
                <a:gd name="T15" fmla="*/ 84102 h 406"/>
                <a:gd name="T16" fmla="*/ 188913 w 438"/>
                <a:gd name="T17" fmla="*/ 104458 h 406"/>
                <a:gd name="T18" fmla="*/ 188913 w 438"/>
                <a:gd name="T19" fmla="*/ 119457 h 406"/>
                <a:gd name="T20" fmla="*/ 187619 w 438"/>
                <a:gd name="T21" fmla="*/ 126957 h 406"/>
                <a:gd name="T22" fmla="*/ 183306 w 438"/>
                <a:gd name="T23" fmla="*/ 138742 h 406"/>
                <a:gd name="T24" fmla="*/ 175542 w 438"/>
                <a:gd name="T25" fmla="*/ 153741 h 406"/>
                <a:gd name="T26" fmla="*/ 168642 w 438"/>
                <a:gd name="T27" fmla="*/ 164454 h 406"/>
                <a:gd name="T28" fmla="*/ 164328 w 438"/>
                <a:gd name="T29" fmla="*/ 171418 h 406"/>
                <a:gd name="T30" fmla="*/ 161309 w 438"/>
                <a:gd name="T31" fmla="*/ 177847 h 406"/>
                <a:gd name="T32" fmla="*/ 160447 w 438"/>
                <a:gd name="T33" fmla="*/ 188560 h 406"/>
                <a:gd name="T34" fmla="*/ 154840 w 438"/>
                <a:gd name="T35" fmla="*/ 199274 h 406"/>
                <a:gd name="T36" fmla="*/ 138450 w 438"/>
                <a:gd name="T37" fmla="*/ 214809 h 406"/>
                <a:gd name="T38" fmla="*/ 88418 w 438"/>
                <a:gd name="T39" fmla="*/ 207845 h 406"/>
                <a:gd name="T40" fmla="*/ 78498 w 438"/>
                <a:gd name="T41" fmla="*/ 203024 h 406"/>
                <a:gd name="T42" fmla="*/ 71166 w 438"/>
                <a:gd name="T43" fmla="*/ 198202 h 406"/>
                <a:gd name="T44" fmla="*/ 64696 w 438"/>
                <a:gd name="T45" fmla="*/ 192310 h 406"/>
                <a:gd name="T46" fmla="*/ 59952 w 438"/>
                <a:gd name="T47" fmla="*/ 185346 h 406"/>
                <a:gd name="T48" fmla="*/ 53482 w 438"/>
                <a:gd name="T49" fmla="*/ 172490 h 406"/>
                <a:gd name="T50" fmla="*/ 46581 w 438"/>
                <a:gd name="T51" fmla="*/ 158562 h 406"/>
                <a:gd name="T52" fmla="*/ 40543 w 438"/>
                <a:gd name="T53" fmla="*/ 149455 h 406"/>
                <a:gd name="T54" fmla="*/ 31054 w 438"/>
                <a:gd name="T55" fmla="*/ 138742 h 406"/>
                <a:gd name="T56" fmla="*/ 18978 w 438"/>
                <a:gd name="T57" fmla="*/ 125350 h 406"/>
                <a:gd name="T58" fmla="*/ 10351 w 438"/>
                <a:gd name="T59" fmla="*/ 114100 h 406"/>
                <a:gd name="T60" fmla="*/ 5607 w 438"/>
                <a:gd name="T61" fmla="*/ 104458 h 406"/>
                <a:gd name="T62" fmla="*/ 1725 w 438"/>
                <a:gd name="T63" fmla="*/ 94280 h 406"/>
                <a:gd name="T64" fmla="*/ 0 w 438"/>
                <a:gd name="T65" fmla="*/ 82495 h 406"/>
                <a:gd name="T66" fmla="*/ 7764 w 438"/>
                <a:gd name="T67" fmla="*/ 75531 h 406"/>
                <a:gd name="T68" fmla="*/ 17252 w 438"/>
                <a:gd name="T69" fmla="*/ 75531 h 406"/>
                <a:gd name="T70" fmla="*/ 22859 w 438"/>
                <a:gd name="T71" fmla="*/ 75531 h 406"/>
                <a:gd name="T72" fmla="*/ 27172 w 438"/>
                <a:gd name="T73" fmla="*/ 73924 h 406"/>
                <a:gd name="T74" fmla="*/ 33211 w 438"/>
                <a:gd name="T75" fmla="*/ 70174 h 406"/>
                <a:gd name="T76" fmla="*/ 42700 w 438"/>
                <a:gd name="T77" fmla="*/ 57854 h 406"/>
                <a:gd name="T78" fmla="*/ 50463 w 438"/>
                <a:gd name="T79" fmla="*/ 46604 h 406"/>
                <a:gd name="T80" fmla="*/ 56070 w 438"/>
                <a:gd name="T81" fmla="*/ 42855 h 406"/>
                <a:gd name="T82" fmla="*/ 64696 w 438"/>
                <a:gd name="T83" fmla="*/ 38033 h 406"/>
                <a:gd name="T84" fmla="*/ 77204 w 438"/>
                <a:gd name="T85" fmla="*/ 32141 h 406"/>
                <a:gd name="T86" fmla="*/ 87556 w 438"/>
                <a:gd name="T87" fmla="*/ 26784 h 406"/>
                <a:gd name="T88" fmla="*/ 91006 w 438"/>
                <a:gd name="T89" fmla="*/ 23034 h 406"/>
                <a:gd name="T90" fmla="*/ 90575 w 438"/>
                <a:gd name="T91" fmla="*/ 20356 h 406"/>
                <a:gd name="T92" fmla="*/ 91006 w 438"/>
                <a:gd name="T93" fmla="*/ 16070 h 406"/>
                <a:gd name="T94" fmla="*/ 91869 w 438"/>
                <a:gd name="T95" fmla="*/ 9107 h 406"/>
                <a:gd name="T96" fmla="*/ 93594 w 438"/>
                <a:gd name="T97" fmla="*/ 6428 h 406"/>
                <a:gd name="T98" fmla="*/ 97044 w 438"/>
                <a:gd name="T99" fmla="*/ 6428 h 406"/>
                <a:gd name="T100" fmla="*/ 100064 w 438"/>
                <a:gd name="T101" fmla="*/ 4821 h 406"/>
                <a:gd name="T102" fmla="*/ 101789 w 438"/>
                <a:gd name="T103" fmla="*/ 2143 h 406"/>
                <a:gd name="T104" fmla="*/ 105239 w 438"/>
                <a:gd name="T105" fmla="*/ 1071 h 406"/>
                <a:gd name="T106" fmla="*/ 108258 w 438"/>
                <a:gd name="T107" fmla="*/ 1607 h 406"/>
                <a:gd name="T108" fmla="*/ 113865 w 438"/>
                <a:gd name="T109" fmla="*/ 536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9" name="Freeform 477">
              <a:extLst>
                <a:ext uri="{FF2B5EF4-FFF2-40B4-BE49-F238E27FC236}">
                  <a16:creationId xmlns:a16="http://schemas.microsoft.com/office/drawing/2014/main" id="{731CEB43-F45A-4049-B7C2-D15DE33406DE}"/>
                </a:ext>
              </a:extLst>
            </p:cNvPr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6354372" y="4188597"/>
              <a:ext cx="380871" cy="321949"/>
            </a:xfrm>
            <a:custGeom>
              <a:avLst/>
              <a:gdLst>
                <a:gd name="T0" fmla="*/ 222215 w 678"/>
                <a:gd name="T1" fmla="*/ 4182 h 574"/>
                <a:gd name="T2" fmla="*/ 239108 w 678"/>
                <a:gd name="T3" fmla="*/ 13591 h 574"/>
                <a:gd name="T4" fmla="*/ 279393 w 678"/>
                <a:gd name="T5" fmla="*/ 32931 h 574"/>
                <a:gd name="T6" fmla="*/ 285890 w 678"/>
                <a:gd name="T7" fmla="*/ 45999 h 574"/>
                <a:gd name="T8" fmla="*/ 293687 w 678"/>
                <a:gd name="T9" fmla="*/ 49135 h 574"/>
                <a:gd name="T10" fmla="*/ 293687 w 678"/>
                <a:gd name="T11" fmla="*/ 66385 h 574"/>
                <a:gd name="T12" fmla="*/ 293254 w 678"/>
                <a:gd name="T13" fmla="*/ 75271 h 574"/>
                <a:gd name="T14" fmla="*/ 288922 w 678"/>
                <a:gd name="T15" fmla="*/ 82589 h 574"/>
                <a:gd name="T16" fmla="*/ 280259 w 678"/>
                <a:gd name="T17" fmla="*/ 93043 h 574"/>
                <a:gd name="T18" fmla="*/ 276360 w 678"/>
                <a:gd name="T19" fmla="*/ 180859 h 574"/>
                <a:gd name="T20" fmla="*/ 199690 w 678"/>
                <a:gd name="T21" fmla="*/ 202813 h 574"/>
                <a:gd name="T22" fmla="*/ 199690 w 678"/>
                <a:gd name="T23" fmla="*/ 216926 h 574"/>
                <a:gd name="T24" fmla="*/ 197091 w 678"/>
                <a:gd name="T25" fmla="*/ 227381 h 574"/>
                <a:gd name="T26" fmla="*/ 192326 w 678"/>
                <a:gd name="T27" fmla="*/ 227381 h 574"/>
                <a:gd name="T28" fmla="*/ 187994 w 678"/>
                <a:gd name="T29" fmla="*/ 229994 h 574"/>
                <a:gd name="T30" fmla="*/ 184096 w 678"/>
                <a:gd name="T31" fmla="*/ 232608 h 574"/>
                <a:gd name="T32" fmla="*/ 179331 w 678"/>
                <a:gd name="T33" fmla="*/ 233653 h 574"/>
                <a:gd name="T34" fmla="*/ 178032 w 678"/>
                <a:gd name="T35" fmla="*/ 242017 h 574"/>
                <a:gd name="T36" fmla="*/ 177598 w 678"/>
                <a:gd name="T37" fmla="*/ 247767 h 574"/>
                <a:gd name="T38" fmla="*/ 174566 w 678"/>
                <a:gd name="T39" fmla="*/ 252471 h 574"/>
                <a:gd name="T40" fmla="*/ 158106 w 678"/>
                <a:gd name="T41" fmla="*/ 260312 h 574"/>
                <a:gd name="T42" fmla="*/ 142945 w 678"/>
                <a:gd name="T43" fmla="*/ 268152 h 574"/>
                <a:gd name="T44" fmla="*/ 135581 w 678"/>
                <a:gd name="T45" fmla="*/ 274425 h 574"/>
                <a:gd name="T46" fmla="*/ 119987 w 678"/>
                <a:gd name="T47" fmla="*/ 294811 h 574"/>
                <a:gd name="T48" fmla="*/ 111757 w 678"/>
                <a:gd name="T49" fmla="*/ 299515 h 574"/>
                <a:gd name="T50" fmla="*/ 103094 w 678"/>
                <a:gd name="T51" fmla="*/ 300038 h 574"/>
                <a:gd name="T52" fmla="*/ 83601 w 678"/>
                <a:gd name="T53" fmla="*/ 300038 h 574"/>
                <a:gd name="T54" fmla="*/ 80569 w 678"/>
                <a:gd name="T55" fmla="*/ 292197 h 574"/>
                <a:gd name="T56" fmla="*/ 71473 w 678"/>
                <a:gd name="T57" fmla="*/ 285925 h 574"/>
                <a:gd name="T58" fmla="*/ 57611 w 678"/>
                <a:gd name="T59" fmla="*/ 284879 h 574"/>
                <a:gd name="T60" fmla="*/ 40285 w 678"/>
                <a:gd name="T61" fmla="*/ 290629 h 574"/>
                <a:gd name="T62" fmla="*/ 14295 w 678"/>
                <a:gd name="T63" fmla="*/ 275470 h 574"/>
                <a:gd name="T64" fmla="*/ 0 w 678"/>
                <a:gd name="T65" fmla="*/ 148974 h 574"/>
                <a:gd name="T66" fmla="*/ 31621 w 678"/>
                <a:gd name="T67" fmla="*/ 149496 h 574"/>
                <a:gd name="T68" fmla="*/ 44616 w 678"/>
                <a:gd name="T69" fmla="*/ 147405 h 574"/>
                <a:gd name="T70" fmla="*/ 51547 w 678"/>
                <a:gd name="T71" fmla="*/ 143746 h 574"/>
                <a:gd name="T72" fmla="*/ 55879 w 678"/>
                <a:gd name="T73" fmla="*/ 133815 h 574"/>
                <a:gd name="T74" fmla="*/ 56745 w 678"/>
                <a:gd name="T75" fmla="*/ 119702 h 574"/>
                <a:gd name="T76" fmla="*/ 54579 w 678"/>
                <a:gd name="T77" fmla="*/ 96702 h 574"/>
                <a:gd name="T78" fmla="*/ 56312 w 678"/>
                <a:gd name="T79" fmla="*/ 86248 h 574"/>
                <a:gd name="T80" fmla="*/ 60643 w 678"/>
                <a:gd name="T81" fmla="*/ 89384 h 574"/>
                <a:gd name="T82" fmla="*/ 75371 w 678"/>
                <a:gd name="T83" fmla="*/ 91475 h 574"/>
                <a:gd name="T84" fmla="*/ 81435 w 678"/>
                <a:gd name="T85" fmla="*/ 97225 h 574"/>
                <a:gd name="T86" fmla="*/ 84468 w 678"/>
                <a:gd name="T87" fmla="*/ 105066 h 574"/>
                <a:gd name="T88" fmla="*/ 90099 w 678"/>
                <a:gd name="T89" fmla="*/ 109770 h 574"/>
                <a:gd name="T90" fmla="*/ 104393 w 678"/>
                <a:gd name="T91" fmla="*/ 113429 h 574"/>
                <a:gd name="T92" fmla="*/ 116522 w 678"/>
                <a:gd name="T93" fmla="*/ 111861 h 574"/>
                <a:gd name="T94" fmla="*/ 130383 w 678"/>
                <a:gd name="T95" fmla="*/ 104020 h 574"/>
                <a:gd name="T96" fmla="*/ 138180 w 678"/>
                <a:gd name="T97" fmla="*/ 102452 h 574"/>
                <a:gd name="T98" fmla="*/ 143378 w 678"/>
                <a:gd name="T99" fmla="*/ 100884 h 574"/>
                <a:gd name="T100" fmla="*/ 148576 w 678"/>
                <a:gd name="T101" fmla="*/ 99316 h 574"/>
                <a:gd name="T102" fmla="*/ 154641 w 678"/>
                <a:gd name="T103" fmla="*/ 95134 h 574"/>
                <a:gd name="T104" fmla="*/ 159405 w 678"/>
                <a:gd name="T105" fmla="*/ 87816 h 574"/>
                <a:gd name="T106" fmla="*/ 165903 w 678"/>
                <a:gd name="T107" fmla="*/ 65862 h 574"/>
                <a:gd name="T108" fmla="*/ 174566 w 678"/>
                <a:gd name="T109" fmla="*/ 24568 h 574"/>
                <a:gd name="T110" fmla="*/ 179331 w 678"/>
                <a:gd name="T111" fmla="*/ 5227 h 574"/>
                <a:gd name="T112" fmla="*/ 186695 w 678"/>
                <a:gd name="T113" fmla="*/ 3136 h 574"/>
                <a:gd name="T114" fmla="*/ 196225 w 678"/>
                <a:gd name="T115" fmla="*/ 4182 h 574"/>
                <a:gd name="T116" fmla="*/ 208786 w 678"/>
                <a:gd name="T117" fmla="*/ 523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20" name="Freeform 478">
              <a:extLst>
                <a:ext uri="{FF2B5EF4-FFF2-40B4-BE49-F238E27FC236}">
                  <a16:creationId xmlns:a16="http://schemas.microsoft.com/office/drawing/2014/main" id="{625BADD9-956B-45CB-B0AA-5ACD3E5C96A4}"/>
                </a:ext>
              </a:extLst>
            </p:cNvPr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6012617" y="4481587"/>
              <a:ext cx="454987" cy="408823"/>
            </a:xfrm>
            <a:custGeom>
              <a:avLst/>
              <a:gdLst>
                <a:gd name="T0" fmla="*/ 345206 w 810"/>
                <a:gd name="T1" fmla="*/ 22011 h 727"/>
                <a:gd name="T2" fmla="*/ 331779 w 810"/>
                <a:gd name="T3" fmla="*/ 13626 h 727"/>
                <a:gd name="T4" fmla="*/ 310989 w 810"/>
                <a:gd name="T5" fmla="*/ 17294 h 727"/>
                <a:gd name="T6" fmla="*/ 274606 w 810"/>
                <a:gd name="T7" fmla="*/ 23059 h 727"/>
                <a:gd name="T8" fmla="*/ 261612 w 810"/>
                <a:gd name="T9" fmla="*/ 28824 h 727"/>
                <a:gd name="T10" fmla="*/ 121277 w 810"/>
                <a:gd name="T11" fmla="*/ 20963 h 727"/>
                <a:gd name="T12" fmla="*/ 100487 w 810"/>
                <a:gd name="T13" fmla="*/ 19391 h 727"/>
                <a:gd name="T14" fmla="*/ 74499 w 810"/>
                <a:gd name="T15" fmla="*/ 8909 h 727"/>
                <a:gd name="T16" fmla="*/ 50243 w 810"/>
                <a:gd name="T17" fmla="*/ 0 h 727"/>
                <a:gd name="T18" fmla="*/ 35950 w 810"/>
                <a:gd name="T19" fmla="*/ 2620 h 727"/>
                <a:gd name="T20" fmla="*/ 22956 w 810"/>
                <a:gd name="T21" fmla="*/ 12578 h 727"/>
                <a:gd name="T22" fmla="*/ 0 w 810"/>
                <a:gd name="T23" fmla="*/ 28824 h 727"/>
                <a:gd name="T24" fmla="*/ 3032 w 810"/>
                <a:gd name="T25" fmla="*/ 35637 h 727"/>
                <a:gd name="T26" fmla="*/ 11261 w 810"/>
                <a:gd name="T27" fmla="*/ 38781 h 727"/>
                <a:gd name="T28" fmla="*/ 15593 w 810"/>
                <a:gd name="T29" fmla="*/ 67605 h 727"/>
                <a:gd name="T30" fmla="*/ 25988 w 810"/>
                <a:gd name="T31" fmla="*/ 100622 h 727"/>
                <a:gd name="T32" fmla="*/ 47211 w 810"/>
                <a:gd name="T33" fmla="*/ 144644 h 727"/>
                <a:gd name="T34" fmla="*/ 57607 w 810"/>
                <a:gd name="T35" fmla="*/ 157221 h 727"/>
                <a:gd name="T36" fmla="*/ 68868 w 810"/>
                <a:gd name="T37" fmla="*/ 158270 h 727"/>
                <a:gd name="T38" fmla="*/ 68868 w 810"/>
                <a:gd name="T39" fmla="*/ 173992 h 727"/>
                <a:gd name="T40" fmla="*/ 65836 w 810"/>
                <a:gd name="T41" fmla="*/ 188142 h 727"/>
                <a:gd name="T42" fmla="*/ 63237 w 810"/>
                <a:gd name="T43" fmla="*/ 206484 h 727"/>
                <a:gd name="T44" fmla="*/ 64970 w 810"/>
                <a:gd name="T45" fmla="*/ 222730 h 727"/>
                <a:gd name="T46" fmla="*/ 74932 w 810"/>
                <a:gd name="T47" fmla="*/ 253651 h 727"/>
                <a:gd name="T48" fmla="*/ 77531 w 810"/>
                <a:gd name="T49" fmla="*/ 271469 h 727"/>
                <a:gd name="T50" fmla="*/ 80996 w 810"/>
                <a:gd name="T51" fmla="*/ 317587 h 727"/>
                <a:gd name="T52" fmla="*/ 88359 w 810"/>
                <a:gd name="T53" fmla="*/ 339074 h 727"/>
                <a:gd name="T54" fmla="*/ 100054 w 810"/>
                <a:gd name="T55" fmla="*/ 361609 h 727"/>
                <a:gd name="T56" fmla="*/ 106117 w 810"/>
                <a:gd name="T57" fmla="*/ 366850 h 727"/>
                <a:gd name="T58" fmla="*/ 112181 w 810"/>
                <a:gd name="T59" fmla="*/ 374711 h 727"/>
                <a:gd name="T60" fmla="*/ 114780 w 810"/>
                <a:gd name="T61" fmla="*/ 355320 h 727"/>
                <a:gd name="T62" fmla="*/ 133405 w 810"/>
                <a:gd name="T63" fmla="*/ 364754 h 727"/>
                <a:gd name="T64" fmla="*/ 142067 w 810"/>
                <a:gd name="T65" fmla="*/ 373663 h 727"/>
                <a:gd name="T66" fmla="*/ 161125 w 810"/>
                <a:gd name="T67" fmla="*/ 380476 h 727"/>
                <a:gd name="T68" fmla="*/ 176285 w 810"/>
                <a:gd name="T69" fmla="*/ 378904 h 727"/>
                <a:gd name="T70" fmla="*/ 185814 w 810"/>
                <a:gd name="T71" fmla="*/ 372091 h 727"/>
                <a:gd name="T72" fmla="*/ 195776 w 810"/>
                <a:gd name="T73" fmla="*/ 353748 h 727"/>
                <a:gd name="T74" fmla="*/ 200540 w 810"/>
                <a:gd name="T75" fmla="*/ 277234 h 727"/>
                <a:gd name="T76" fmla="*/ 201406 w 810"/>
                <a:gd name="T77" fmla="*/ 251554 h 727"/>
                <a:gd name="T78" fmla="*/ 204005 w 810"/>
                <a:gd name="T79" fmla="*/ 245790 h 727"/>
                <a:gd name="T80" fmla="*/ 200540 w 810"/>
                <a:gd name="T81" fmla="*/ 223254 h 727"/>
                <a:gd name="T82" fmla="*/ 203139 w 810"/>
                <a:gd name="T83" fmla="*/ 192858 h 727"/>
                <a:gd name="T84" fmla="*/ 216566 w 810"/>
                <a:gd name="T85" fmla="*/ 172944 h 727"/>
                <a:gd name="T86" fmla="*/ 227394 w 810"/>
                <a:gd name="T87" fmla="*/ 167703 h 727"/>
                <a:gd name="T88" fmla="*/ 233025 w 810"/>
                <a:gd name="T89" fmla="*/ 121585 h 727"/>
                <a:gd name="T90" fmla="*/ 238656 w 810"/>
                <a:gd name="T91" fmla="*/ 77563 h 727"/>
                <a:gd name="T92" fmla="*/ 234324 w 810"/>
                <a:gd name="T93" fmla="*/ 64985 h 727"/>
                <a:gd name="T94" fmla="*/ 229993 w 810"/>
                <a:gd name="T95" fmla="*/ 51883 h 727"/>
                <a:gd name="T96" fmla="*/ 233458 w 810"/>
                <a:gd name="T97" fmla="*/ 45070 h 727"/>
                <a:gd name="T98" fmla="*/ 267243 w 810"/>
                <a:gd name="T99" fmla="*/ 41926 h 727"/>
                <a:gd name="T100" fmla="*/ 306658 w 810"/>
                <a:gd name="T101" fmla="*/ 33017 h 727"/>
                <a:gd name="T102" fmla="*/ 347805 w 810"/>
                <a:gd name="T103" fmla="*/ 31968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21" name="Freeform 479">
              <a:extLst>
                <a:ext uri="{FF2B5EF4-FFF2-40B4-BE49-F238E27FC236}">
                  <a16:creationId xmlns:a16="http://schemas.microsoft.com/office/drawing/2014/main" id="{FF2FF415-370E-4777-A80B-252E2BDF3941}"/>
                </a:ext>
              </a:extLst>
            </p:cNvPr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5077939" y="3333476"/>
              <a:ext cx="209993" cy="151606"/>
            </a:xfrm>
            <a:custGeom>
              <a:avLst/>
              <a:gdLst>
                <a:gd name="T0" fmla="*/ 90057 w 365"/>
                <a:gd name="T1" fmla="*/ 130339 h 271"/>
                <a:gd name="T2" fmla="*/ 72312 w 365"/>
                <a:gd name="T3" fmla="*/ 128254 h 271"/>
                <a:gd name="T4" fmla="*/ 53679 w 365"/>
                <a:gd name="T5" fmla="*/ 128775 h 271"/>
                <a:gd name="T6" fmla="*/ 40814 w 365"/>
                <a:gd name="T7" fmla="*/ 130339 h 271"/>
                <a:gd name="T8" fmla="*/ 32829 w 365"/>
                <a:gd name="T9" fmla="*/ 132946 h 271"/>
                <a:gd name="T10" fmla="*/ 11534 w 365"/>
                <a:gd name="T11" fmla="*/ 141288 h 271"/>
                <a:gd name="T12" fmla="*/ 8873 w 365"/>
                <a:gd name="T13" fmla="*/ 140767 h 271"/>
                <a:gd name="T14" fmla="*/ 7542 w 365"/>
                <a:gd name="T15" fmla="*/ 138681 h 271"/>
                <a:gd name="T16" fmla="*/ 7985 w 365"/>
                <a:gd name="T17" fmla="*/ 132425 h 271"/>
                <a:gd name="T18" fmla="*/ 11534 w 365"/>
                <a:gd name="T19" fmla="*/ 118870 h 271"/>
                <a:gd name="T20" fmla="*/ 27061 w 365"/>
                <a:gd name="T21" fmla="*/ 117827 h 271"/>
                <a:gd name="T22" fmla="*/ 39483 w 365"/>
                <a:gd name="T23" fmla="*/ 115741 h 271"/>
                <a:gd name="T24" fmla="*/ 51017 w 365"/>
                <a:gd name="T25" fmla="*/ 113656 h 271"/>
                <a:gd name="T26" fmla="*/ 64770 w 365"/>
                <a:gd name="T27" fmla="*/ 112613 h 271"/>
                <a:gd name="T28" fmla="*/ 80741 w 365"/>
                <a:gd name="T29" fmla="*/ 113656 h 271"/>
                <a:gd name="T30" fmla="*/ 88282 w 365"/>
                <a:gd name="T31" fmla="*/ 113656 h 271"/>
                <a:gd name="T32" fmla="*/ 97155 w 365"/>
                <a:gd name="T33" fmla="*/ 112613 h 271"/>
                <a:gd name="T34" fmla="*/ 95380 w 365"/>
                <a:gd name="T35" fmla="*/ 108442 h 271"/>
                <a:gd name="T36" fmla="*/ 93162 w 365"/>
                <a:gd name="T37" fmla="*/ 104793 h 271"/>
                <a:gd name="T38" fmla="*/ 86508 w 365"/>
                <a:gd name="T39" fmla="*/ 101143 h 271"/>
                <a:gd name="T40" fmla="*/ 77635 w 365"/>
                <a:gd name="T41" fmla="*/ 99579 h 271"/>
                <a:gd name="T42" fmla="*/ 67432 w 365"/>
                <a:gd name="T43" fmla="*/ 99058 h 271"/>
                <a:gd name="T44" fmla="*/ 41258 w 365"/>
                <a:gd name="T45" fmla="*/ 100101 h 271"/>
                <a:gd name="T46" fmla="*/ 28392 w 365"/>
                <a:gd name="T47" fmla="*/ 102186 h 271"/>
                <a:gd name="T48" fmla="*/ 14640 w 365"/>
                <a:gd name="T49" fmla="*/ 105836 h 271"/>
                <a:gd name="T50" fmla="*/ 16858 w 365"/>
                <a:gd name="T51" fmla="*/ 95409 h 271"/>
                <a:gd name="T52" fmla="*/ 17302 w 365"/>
                <a:gd name="T53" fmla="*/ 89674 h 271"/>
                <a:gd name="T54" fmla="*/ 11534 w 365"/>
                <a:gd name="T55" fmla="*/ 85503 h 271"/>
                <a:gd name="T56" fmla="*/ 5767 w 365"/>
                <a:gd name="T57" fmla="*/ 83417 h 271"/>
                <a:gd name="T58" fmla="*/ 4880 w 365"/>
                <a:gd name="T59" fmla="*/ 76640 h 271"/>
                <a:gd name="T60" fmla="*/ 2662 w 365"/>
                <a:gd name="T61" fmla="*/ 74554 h 271"/>
                <a:gd name="T62" fmla="*/ 887 w 365"/>
                <a:gd name="T63" fmla="*/ 73511 h 271"/>
                <a:gd name="T64" fmla="*/ 0 w 365"/>
                <a:gd name="T65" fmla="*/ 70383 h 271"/>
                <a:gd name="T66" fmla="*/ 2218 w 365"/>
                <a:gd name="T67" fmla="*/ 59956 h 271"/>
                <a:gd name="T68" fmla="*/ 7542 w 365"/>
                <a:gd name="T69" fmla="*/ 47965 h 271"/>
                <a:gd name="T70" fmla="*/ 13309 w 365"/>
                <a:gd name="T71" fmla="*/ 35974 h 271"/>
                <a:gd name="T72" fmla="*/ 17302 w 365"/>
                <a:gd name="T73" fmla="*/ 25547 h 271"/>
                <a:gd name="T74" fmla="*/ 21294 w 365"/>
                <a:gd name="T75" fmla="*/ 21897 h 271"/>
                <a:gd name="T76" fmla="*/ 21738 w 365"/>
                <a:gd name="T77" fmla="*/ 25025 h 271"/>
                <a:gd name="T78" fmla="*/ 23069 w 365"/>
                <a:gd name="T79" fmla="*/ 18769 h 271"/>
                <a:gd name="T80" fmla="*/ 33272 w 365"/>
                <a:gd name="T81" fmla="*/ 16162 h 271"/>
                <a:gd name="T82" fmla="*/ 50574 w 365"/>
                <a:gd name="T83" fmla="*/ 9384 h 271"/>
                <a:gd name="T84" fmla="*/ 73199 w 365"/>
                <a:gd name="T85" fmla="*/ 0 h 271"/>
                <a:gd name="T86" fmla="*/ 81628 w 365"/>
                <a:gd name="T87" fmla="*/ 7820 h 271"/>
                <a:gd name="T88" fmla="*/ 89613 w 365"/>
                <a:gd name="T89" fmla="*/ 12513 h 271"/>
                <a:gd name="T90" fmla="*/ 97599 w 365"/>
                <a:gd name="T91" fmla="*/ 15119 h 271"/>
                <a:gd name="T92" fmla="*/ 106028 w 365"/>
                <a:gd name="T93" fmla="*/ 15641 h 271"/>
                <a:gd name="T94" fmla="*/ 106915 w 365"/>
                <a:gd name="T95" fmla="*/ 27111 h 271"/>
                <a:gd name="T96" fmla="*/ 109577 w 365"/>
                <a:gd name="T97" fmla="*/ 35974 h 271"/>
                <a:gd name="T98" fmla="*/ 112682 w 365"/>
                <a:gd name="T99" fmla="*/ 43794 h 271"/>
                <a:gd name="T100" fmla="*/ 117118 w 365"/>
                <a:gd name="T101" fmla="*/ 49529 h 271"/>
                <a:gd name="T102" fmla="*/ 135307 w 365"/>
                <a:gd name="T103" fmla="*/ 67255 h 271"/>
                <a:gd name="T104" fmla="*/ 156158 w 365"/>
                <a:gd name="T105" fmla="*/ 121998 h 271"/>
                <a:gd name="T106" fmla="*/ 159263 w 365"/>
                <a:gd name="T107" fmla="*/ 133989 h 271"/>
                <a:gd name="T108" fmla="*/ 161925 w 365"/>
                <a:gd name="T109" fmla="*/ 141288 h 271"/>
                <a:gd name="T110" fmla="*/ 142405 w 365"/>
                <a:gd name="T111" fmla="*/ 135032 h 271"/>
                <a:gd name="T112" fmla="*/ 121998 w 365"/>
                <a:gd name="T113" fmla="*/ 131382 h 271"/>
                <a:gd name="T114" fmla="*/ 110020 w 365"/>
                <a:gd name="T115" fmla="*/ 130861 h 271"/>
                <a:gd name="T116" fmla="*/ 97155 w 365"/>
                <a:gd name="T117" fmla="*/ 131382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22" name="Freeform 480">
              <a:extLst>
                <a:ext uri="{FF2B5EF4-FFF2-40B4-BE49-F238E27FC236}">
                  <a16:creationId xmlns:a16="http://schemas.microsoft.com/office/drawing/2014/main" id="{C82773D8-BE4B-4AE7-A087-853462DF4E57}"/>
                </a:ext>
              </a:extLst>
            </p:cNvPr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6599364" y="3936490"/>
              <a:ext cx="349990" cy="359423"/>
            </a:xfrm>
            <a:custGeom>
              <a:avLst/>
              <a:gdLst>
                <a:gd name="T0" fmla="*/ 63144 w 624"/>
                <a:gd name="T1" fmla="*/ 6281 h 640"/>
                <a:gd name="T2" fmla="*/ 103366 w 624"/>
                <a:gd name="T3" fmla="*/ 6281 h 640"/>
                <a:gd name="T4" fmla="*/ 124125 w 624"/>
                <a:gd name="T5" fmla="*/ 2617 h 640"/>
                <a:gd name="T6" fmla="*/ 140992 w 624"/>
                <a:gd name="T7" fmla="*/ 11514 h 640"/>
                <a:gd name="T8" fmla="*/ 171267 w 624"/>
                <a:gd name="T9" fmla="*/ 34543 h 640"/>
                <a:gd name="T10" fmla="*/ 201109 w 624"/>
                <a:gd name="T11" fmla="*/ 58095 h 640"/>
                <a:gd name="T12" fmla="*/ 202839 w 624"/>
                <a:gd name="T13" fmla="*/ 68563 h 640"/>
                <a:gd name="T14" fmla="*/ 207596 w 624"/>
                <a:gd name="T15" fmla="*/ 80077 h 640"/>
                <a:gd name="T16" fmla="*/ 214949 w 624"/>
                <a:gd name="T17" fmla="*/ 88975 h 640"/>
                <a:gd name="T18" fmla="*/ 224463 w 624"/>
                <a:gd name="T19" fmla="*/ 95778 h 640"/>
                <a:gd name="T20" fmla="*/ 234843 w 624"/>
                <a:gd name="T21" fmla="*/ 99442 h 640"/>
                <a:gd name="T22" fmla="*/ 239601 w 624"/>
                <a:gd name="T23" fmla="*/ 102059 h 640"/>
                <a:gd name="T24" fmla="*/ 244358 w 624"/>
                <a:gd name="T25" fmla="*/ 107293 h 640"/>
                <a:gd name="T26" fmla="*/ 242628 w 624"/>
                <a:gd name="T27" fmla="*/ 118807 h 640"/>
                <a:gd name="T28" fmla="*/ 232248 w 624"/>
                <a:gd name="T29" fmla="*/ 131892 h 640"/>
                <a:gd name="T30" fmla="*/ 227058 w 624"/>
                <a:gd name="T31" fmla="*/ 141836 h 640"/>
                <a:gd name="T32" fmla="*/ 230518 w 624"/>
                <a:gd name="T33" fmla="*/ 150210 h 640"/>
                <a:gd name="T34" fmla="*/ 236573 w 624"/>
                <a:gd name="T35" fmla="*/ 156491 h 640"/>
                <a:gd name="T36" fmla="*/ 238736 w 624"/>
                <a:gd name="T37" fmla="*/ 222436 h 640"/>
                <a:gd name="T38" fmla="*/ 237871 w 624"/>
                <a:gd name="T39" fmla="*/ 229764 h 640"/>
                <a:gd name="T40" fmla="*/ 241331 w 624"/>
                <a:gd name="T41" fmla="*/ 241801 h 640"/>
                <a:gd name="T42" fmla="*/ 241331 w 624"/>
                <a:gd name="T43" fmla="*/ 255933 h 640"/>
                <a:gd name="T44" fmla="*/ 242628 w 624"/>
                <a:gd name="T45" fmla="*/ 269541 h 640"/>
                <a:gd name="T46" fmla="*/ 256900 w 624"/>
                <a:gd name="T47" fmla="*/ 287335 h 640"/>
                <a:gd name="T48" fmla="*/ 266415 w 624"/>
                <a:gd name="T49" fmla="*/ 303037 h 640"/>
                <a:gd name="T50" fmla="*/ 248683 w 624"/>
                <a:gd name="T51" fmla="*/ 314028 h 640"/>
                <a:gd name="T52" fmla="*/ 212354 w 624"/>
                <a:gd name="T53" fmla="*/ 330253 h 640"/>
                <a:gd name="T54" fmla="*/ 191594 w 624"/>
                <a:gd name="T55" fmla="*/ 333916 h 640"/>
                <a:gd name="T56" fmla="*/ 169537 w 624"/>
                <a:gd name="T57" fmla="*/ 328682 h 640"/>
                <a:gd name="T58" fmla="*/ 146615 w 624"/>
                <a:gd name="T59" fmla="*/ 331299 h 640"/>
                <a:gd name="T60" fmla="*/ 132343 w 624"/>
                <a:gd name="T61" fmla="*/ 328682 h 640"/>
                <a:gd name="T62" fmla="*/ 129315 w 624"/>
                <a:gd name="T63" fmla="*/ 321355 h 640"/>
                <a:gd name="T64" fmla="*/ 127153 w 624"/>
                <a:gd name="T65" fmla="*/ 299897 h 640"/>
                <a:gd name="T66" fmla="*/ 124558 w 624"/>
                <a:gd name="T67" fmla="*/ 276868 h 640"/>
                <a:gd name="T68" fmla="*/ 109420 w 624"/>
                <a:gd name="T69" fmla="*/ 270587 h 640"/>
                <a:gd name="T70" fmla="*/ 80011 w 624"/>
                <a:gd name="T71" fmla="*/ 262737 h 640"/>
                <a:gd name="T72" fmla="*/ 38924 w 624"/>
                <a:gd name="T73" fmla="*/ 240231 h 640"/>
                <a:gd name="T74" fmla="*/ 29409 w 624"/>
                <a:gd name="T75" fmla="*/ 233427 h 640"/>
                <a:gd name="T76" fmla="*/ 28544 w 624"/>
                <a:gd name="T77" fmla="*/ 224007 h 640"/>
                <a:gd name="T78" fmla="*/ 28112 w 624"/>
                <a:gd name="T79" fmla="*/ 210399 h 640"/>
                <a:gd name="T80" fmla="*/ 22922 w 624"/>
                <a:gd name="T81" fmla="*/ 197314 h 640"/>
                <a:gd name="T82" fmla="*/ 17732 w 624"/>
                <a:gd name="T83" fmla="*/ 186847 h 640"/>
                <a:gd name="T84" fmla="*/ 11677 w 624"/>
                <a:gd name="T85" fmla="*/ 181613 h 640"/>
                <a:gd name="T86" fmla="*/ 5190 w 624"/>
                <a:gd name="T87" fmla="*/ 173762 h 640"/>
                <a:gd name="T88" fmla="*/ 2162 w 624"/>
                <a:gd name="T89" fmla="*/ 161201 h 640"/>
                <a:gd name="T90" fmla="*/ 0 w 624"/>
                <a:gd name="T91" fmla="*/ 137125 h 640"/>
                <a:gd name="T92" fmla="*/ 0 w 624"/>
                <a:gd name="T93" fmla="*/ 122471 h 640"/>
                <a:gd name="T94" fmla="*/ 4325 w 624"/>
                <a:gd name="T95" fmla="*/ 110956 h 640"/>
                <a:gd name="T96" fmla="*/ 16435 w 624"/>
                <a:gd name="T97" fmla="*/ 102059 h 640"/>
                <a:gd name="T98" fmla="*/ 26382 w 624"/>
                <a:gd name="T99" fmla="*/ 90545 h 640"/>
                <a:gd name="T100" fmla="*/ 33302 w 624"/>
                <a:gd name="T101" fmla="*/ 40300 h 640"/>
                <a:gd name="T102" fmla="*/ 36329 w 624"/>
                <a:gd name="T103" fmla="*/ 22505 h 640"/>
                <a:gd name="T104" fmla="*/ 35464 w 624"/>
                <a:gd name="T105" fmla="*/ 418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23" name="Freeform 481">
              <a:extLst>
                <a:ext uri="{FF2B5EF4-FFF2-40B4-BE49-F238E27FC236}">
                  <a16:creationId xmlns:a16="http://schemas.microsoft.com/office/drawing/2014/main" id="{3B24FBF3-75D0-4866-B600-3A18F9C3E009}"/>
                </a:ext>
              </a:extLst>
            </p:cNvPr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9924268" y="2342082"/>
              <a:ext cx="24705" cy="61324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24" name="Freeform 482">
              <a:extLst>
                <a:ext uri="{FF2B5EF4-FFF2-40B4-BE49-F238E27FC236}">
                  <a16:creationId xmlns:a16="http://schemas.microsoft.com/office/drawing/2014/main" id="{DC6B1D68-AC35-4655-AE68-B2E4A81CBAE3}"/>
                </a:ext>
              </a:extLst>
            </p:cNvPr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9741037" y="2343786"/>
              <a:ext cx="183231" cy="134570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25" name="Freeform 483">
              <a:extLst>
                <a:ext uri="{FF2B5EF4-FFF2-40B4-BE49-F238E27FC236}">
                  <a16:creationId xmlns:a16="http://schemas.microsoft.com/office/drawing/2014/main" id="{A5FCF718-EAF9-4CA4-9669-80F239FC2C3B}"/>
                </a:ext>
              </a:extLst>
            </p:cNvPr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9701921" y="2723650"/>
              <a:ext cx="67939" cy="61324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26" name="Freeform 484">
              <a:extLst>
                <a:ext uri="{FF2B5EF4-FFF2-40B4-BE49-F238E27FC236}">
                  <a16:creationId xmlns:a16="http://schemas.microsoft.com/office/drawing/2014/main" id="{65BFB673-83F7-4063-A811-A2740E359B1F}"/>
                </a:ext>
              </a:extLst>
            </p:cNvPr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9631923" y="2738981"/>
              <a:ext cx="78233" cy="90281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27" name="Freeform 485">
              <a:extLst>
                <a:ext uri="{FF2B5EF4-FFF2-40B4-BE49-F238E27FC236}">
                  <a16:creationId xmlns:a16="http://schemas.microsoft.com/office/drawing/2014/main" id="{F705C022-0893-4707-A432-3781115FA6E1}"/>
                </a:ext>
              </a:extLst>
            </p:cNvPr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9652511" y="2483467"/>
              <a:ext cx="271757" cy="262328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31" name="Freeform 489">
              <a:extLst>
                <a:ext uri="{FF2B5EF4-FFF2-40B4-BE49-F238E27FC236}">
                  <a16:creationId xmlns:a16="http://schemas.microsoft.com/office/drawing/2014/main" id="{37C77E30-F9C7-4BF7-AFCD-E5756EBE358B}"/>
                </a:ext>
              </a:extLst>
            </p:cNvPr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7443457" y="1481851"/>
              <a:ext cx="53528" cy="61324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32" name="Freeform 490">
              <a:extLst>
                <a:ext uri="{FF2B5EF4-FFF2-40B4-BE49-F238E27FC236}">
                  <a16:creationId xmlns:a16="http://schemas.microsoft.com/office/drawing/2014/main" id="{E2DD0FE9-1B9C-4234-89BB-EC911BD4A1D5}"/>
                </a:ext>
              </a:extLst>
            </p:cNvPr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7326109" y="1330245"/>
              <a:ext cx="20588" cy="63028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33" name="Freeform 491">
              <a:extLst>
                <a:ext uri="{FF2B5EF4-FFF2-40B4-BE49-F238E27FC236}">
                  <a16:creationId xmlns:a16="http://schemas.microsoft.com/office/drawing/2014/main" id="{DE56DF9E-BD5A-444D-B08C-A96F6D017EBE}"/>
                </a:ext>
              </a:extLst>
            </p:cNvPr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7354932" y="1285957"/>
              <a:ext cx="18528" cy="64731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34" name="Freeform 492">
              <a:extLst>
                <a:ext uri="{FF2B5EF4-FFF2-40B4-BE49-F238E27FC236}">
                  <a16:creationId xmlns:a16="http://schemas.microsoft.com/office/drawing/2014/main" id="{84B9EE7F-DFB7-4444-B992-A677AA9EA3E4}"/>
                </a:ext>
              </a:extLst>
            </p:cNvPr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7542277" y="1410308"/>
              <a:ext cx="22647" cy="61324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41" name="Freeform 499">
              <a:extLst>
                <a:ext uri="{FF2B5EF4-FFF2-40B4-BE49-F238E27FC236}">
                  <a16:creationId xmlns:a16="http://schemas.microsoft.com/office/drawing/2014/main" id="{2736B9EA-AD72-4883-8229-638BFA4A4046}"/>
                </a:ext>
              </a:extLst>
            </p:cNvPr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8355490" y="1464817"/>
              <a:ext cx="80291" cy="63027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44" name="Freeform 502">
              <a:extLst>
                <a:ext uri="{FF2B5EF4-FFF2-40B4-BE49-F238E27FC236}">
                  <a16:creationId xmlns:a16="http://schemas.microsoft.com/office/drawing/2014/main" id="{7E0AE8C5-D6FF-4FA8-BA8B-3C055CC8E747}"/>
                </a:ext>
              </a:extLst>
            </p:cNvPr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8901062" y="1461410"/>
              <a:ext cx="82351" cy="63027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45" name="Freeform 503">
              <a:extLst>
                <a:ext uri="{FF2B5EF4-FFF2-40B4-BE49-F238E27FC236}">
                  <a16:creationId xmlns:a16="http://schemas.microsoft.com/office/drawing/2014/main" id="{952D8781-6552-49B7-AF1D-BEEE70DD1F5C}"/>
                </a:ext>
              </a:extLst>
            </p:cNvPr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8874299" y="1458003"/>
              <a:ext cx="26763" cy="63027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46" name="Line 504">
              <a:extLst>
                <a:ext uri="{FF2B5EF4-FFF2-40B4-BE49-F238E27FC236}">
                  <a16:creationId xmlns:a16="http://schemas.microsoft.com/office/drawing/2014/main" id="{F545300A-CAD6-47E2-8FCD-3475A95405EB}"/>
                </a:ext>
              </a:extLst>
            </p:cNvPr>
            <p:cNvSpPr>
              <a:spLocks noChangeShapeType="1"/>
            </p:cNvSpPr>
            <p:nvPr>
              <p:custDataLst>
                <p:tags r:id="rId329"/>
              </p:custDataLst>
            </p:nvPr>
          </p:nvSpPr>
          <p:spPr bwMode="auto">
            <a:xfrm flipV="1">
              <a:off x="8876357" y="1456299"/>
              <a:ext cx="0" cy="170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47" name="Freeform 505">
              <a:extLst>
                <a:ext uri="{FF2B5EF4-FFF2-40B4-BE49-F238E27FC236}">
                  <a16:creationId xmlns:a16="http://schemas.microsoft.com/office/drawing/2014/main" id="{6C9B36B2-F0F5-44E5-9F39-B7AAAC4D30D2}"/>
                </a:ext>
              </a:extLst>
            </p:cNvPr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7799624" y="1379646"/>
              <a:ext cx="14411" cy="59620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48" name="Freeform 506">
              <a:extLst>
                <a:ext uri="{FF2B5EF4-FFF2-40B4-BE49-F238E27FC236}">
                  <a16:creationId xmlns:a16="http://schemas.microsoft.com/office/drawing/2014/main" id="{2E90E55D-B02D-4E50-9E67-B8D61F57C765}"/>
                </a:ext>
              </a:extLst>
            </p:cNvPr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8771360" y="1456299"/>
              <a:ext cx="12353" cy="61324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49" name="Freeform 507">
              <a:extLst>
                <a:ext uri="{FF2B5EF4-FFF2-40B4-BE49-F238E27FC236}">
                  <a16:creationId xmlns:a16="http://schemas.microsoft.com/office/drawing/2014/main" id="{84A1A43C-C975-466E-AA63-B9F54C436E69}"/>
                </a:ext>
              </a:extLst>
            </p:cNvPr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8711655" y="1417120"/>
              <a:ext cx="12353" cy="61324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50" name="Freeform 508">
              <a:extLst>
                <a:ext uri="{FF2B5EF4-FFF2-40B4-BE49-F238E27FC236}">
                  <a16:creationId xmlns:a16="http://schemas.microsoft.com/office/drawing/2014/main" id="{391B7A0D-6C4F-4C5A-A6D8-C4F63559D640}"/>
                </a:ext>
              </a:extLst>
            </p:cNvPr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9360166" y="2028650"/>
              <a:ext cx="16470" cy="63028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51" name="Freeform 509">
              <a:extLst>
                <a:ext uri="{FF2B5EF4-FFF2-40B4-BE49-F238E27FC236}">
                  <a16:creationId xmlns:a16="http://schemas.microsoft.com/office/drawing/2014/main" id="{D9981FB9-5803-480F-B80E-3074706CF3FA}"/>
                </a:ext>
              </a:extLst>
            </p:cNvPr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9741037" y="1515920"/>
              <a:ext cx="72057" cy="63027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52" name="Freeform 510">
              <a:extLst>
                <a:ext uri="{FF2B5EF4-FFF2-40B4-BE49-F238E27FC236}">
                  <a16:creationId xmlns:a16="http://schemas.microsoft.com/office/drawing/2014/main" id="{F693F65D-2C63-40AF-A8B1-CC99A667BF2A}"/>
                </a:ext>
              </a:extLst>
            </p:cNvPr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9918091" y="1894081"/>
              <a:ext cx="18530" cy="61324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53" name="Freeform 511">
              <a:extLst>
                <a:ext uri="{FF2B5EF4-FFF2-40B4-BE49-F238E27FC236}">
                  <a16:creationId xmlns:a16="http://schemas.microsoft.com/office/drawing/2014/main" id="{D79759B1-BD11-405A-AB5E-19254E2260AF}"/>
                </a:ext>
              </a:extLst>
            </p:cNvPr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10111615" y="2015023"/>
              <a:ext cx="55587" cy="64731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54" name="Freeform 512">
              <a:extLst>
                <a:ext uri="{FF2B5EF4-FFF2-40B4-BE49-F238E27FC236}">
                  <a16:creationId xmlns:a16="http://schemas.microsoft.com/office/drawing/2014/main" id="{6699995C-208B-414E-88BB-E3949633B5A7}"/>
                </a:ext>
              </a:extLst>
            </p:cNvPr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10177496" y="2032058"/>
              <a:ext cx="24705" cy="63028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55" name="Freeform 513">
              <a:extLst>
                <a:ext uri="{FF2B5EF4-FFF2-40B4-BE49-F238E27FC236}">
                  <a16:creationId xmlns:a16="http://schemas.microsoft.com/office/drawing/2014/main" id="{4BC9DA0D-AE57-49D4-93FD-CDFE3002FFC3}"/>
                </a:ext>
              </a:extLst>
            </p:cNvPr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10002501" y="2168332"/>
              <a:ext cx="18528" cy="61324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56" name="Freeform 514">
              <a:extLst>
                <a:ext uri="{FF2B5EF4-FFF2-40B4-BE49-F238E27FC236}">
                  <a16:creationId xmlns:a16="http://schemas.microsoft.com/office/drawing/2014/main" id="{BCE50121-10D6-48C5-AC18-A004A1758F7B}"/>
                </a:ext>
              </a:extLst>
            </p:cNvPr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10016912" y="2198993"/>
              <a:ext cx="4118" cy="64731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57" name="Freeform 515">
              <a:extLst>
                <a:ext uri="{FF2B5EF4-FFF2-40B4-BE49-F238E27FC236}">
                  <a16:creationId xmlns:a16="http://schemas.microsoft.com/office/drawing/2014/main" id="{C9478426-36E7-4DA1-8889-A5F18BB3722D}"/>
                </a:ext>
              </a:extLst>
            </p:cNvPr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10000442" y="2287572"/>
              <a:ext cx="12353" cy="59620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58" name="Freeform 516">
              <a:extLst>
                <a:ext uri="{FF2B5EF4-FFF2-40B4-BE49-F238E27FC236}">
                  <a16:creationId xmlns:a16="http://schemas.microsoft.com/office/drawing/2014/main" id="{80B480E3-7530-49CB-8D98-9D49E211362A}"/>
                </a:ext>
              </a:extLst>
            </p:cNvPr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9971619" y="2325046"/>
              <a:ext cx="0" cy="63028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59" name="Freeform 517">
              <a:extLst>
                <a:ext uri="{FF2B5EF4-FFF2-40B4-BE49-F238E27FC236}">
                  <a16:creationId xmlns:a16="http://schemas.microsoft.com/office/drawing/2014/main" id="{67B89287-96B2-4E10-9F8A-1AA84EB71E35}"/>
                </a:ext>
              </a:extLst>
            </p:cNvPr>
            <p:cNvSpPr>
              <a:spLocks/>
            </p:cNvSpPr>
            <p:nvPr>
              <p:custDataLst>
                <p:tags r:id="rId342"/>
              </p:custDataLst>
            </p:nvPr>
          </p:nvSpPr>
          <p:spPr bwMode="auto">
            <a:xfrm>
              <a:off x="9971619" y="2325046"/>
              <a:ext cx="10294" cy="63028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60" name="Freeform 518">
              <a:extLst>
                <a:ext uri="{FF2B5EF4-FFF2-40B4-BE49-F238E27FC236}">
                  <a16:creationId xmlns:a16="http://schemas.microsoft.com/office/drawing/2014/main" id="{B6B33D53-1462-4BCC-89A5-706ED90D634B}"/>
                </a:ext>
              </a:extLst>
            </p:cNvPr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9652511" y="1882156"/>
              <a:ext cx="22646" cy="64731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61" name="Freeform 519">
              <a:extLst>
                <a:ext uri="{FF2B5EF4-FFF2-40B4-BE49-F238E27FC236}">
                  <a16:creationId xmlns:a16="http://schemas.microsoft.com/office/drawing/2014/main" id="{069102A1-3908-474D-8F86-AB35E2BE8471}"/>
                </a:ext>
              </a:extLst>
            </p:cNvPr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6171142" y="2032058"/>
              <a:ext cx="61763" cy="63028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62" name="Freeform 520">
              <a:extLst>
                <a:ext uri="{FF2B5EF4-FFF2-40B4-BE49-F238E27FC236}">
                  <a16:creationId xmlns:a16="http://schemas.microsoft.com/office/drawing/2014/main" id="{EC695A63-D1DE-430C-834C-51B55B830C3F}"/>
                </a:ext>
              </a:extLst>
            </p:cNvPr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6753772" y="1594277"/>
              <a:ext cx="55586" cy="63027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64" name="Freeform 522">
              <a:extLst>
                <a:ext uri="{FF2B5EF4-FFF2-40B4-BE49-F238E27FC236}">
                  <a16:creationId xmlns:a16="http://schemas.microsoft.com/office/drawing/2014/main" id="{3681FF1D-F26D-46BF-9DFF-10CA579BFF49}"/>
                </a:ext>
              </a:extLst>
            </p:cNvPr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6529367" y="1727144"/>
              <a:ext cx="41175" cy="59620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65" name="Freeform 523">
              <a:extLst>
                <a:ext uri="{FF2B5EF4-FFF2-40B4-BE49-F238E27FC236}">
                  <a16:creationId xmlns:a16="http://schemas.microsoft.com/office/drawing/2014/main" id="{7F2AAD16-8C2D-4426-8DE2-6949F276021E}"/>
                </a:ext>
              </a:extLst>
            </p:cNvPr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9518692" y="2045685"/>
              <a:ext cx="255287" cy="287880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366" name="Group 524">
              <a:extLst>
                <a:ext uri="{FF2B5EF4-FFF2-40B4-BE49-F238E27FC236}">
                  <a16:creationId xmlns:a16="http://schemas.microsoft.com/office/drawing/2014/main" id="{0D42F0C8-91F5-4F9E-8818-60AA5BF7CFF7}"/>
                </a:ext>
              </a:extLst>
            </p:cNvPr>
            <p:cNvGrpSpPr>
              <a:grpSpLocks/>
            </p:cNvGrpSpPr>
            <p:nvPr>
              <p:custDataLst>
                <p:tags r:id="rId348"/>
              </p:custDataLst>
            </p:nvPr>
          </p:nvGrpSpPr>
          <p:grpSpPr bwMode="auto">
            <a:xfrm>
              <a:off x="7949913" y="1997989"/>
              <a:ext cx="870858" cy="412230"/>
              <a:chOff x="4115" y="1551"/>
              <a:chExt cx="504" cy="244"/>
            </a:xfrm>
          </p:grpSpPr>
          <p:sp>
            <p:nvSpPr>
              <p:cNvPr id="391" name="Freeform 525">
                <a:extLst>
                  <a:ext uri="{FF2B5EF4-FFF2-40B4-BE49-F238E27FC236}">
                    <a16:creationId xmlns:a16="http://schemas.microsoft.com/office/drawing/2014/main" id="{2D7750E0-E293-4BF6-929A-05D45EC8FD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92" name="Freeform 526">
                <a:extLst>
                  <a:ext uri="{FF2B5EF4-FFF2-40B4-BE49-F238E27FC236}">
                    <a16:creationId xmlns:a16="http://schemas.microsoft.com/office/drawing/2014/main" id="{B0250AA0-C1E6-4565-87D5-D478D84ECC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367" name="Freeform 527">
              <a:extLst>
                <a:ext uri="{FF2B5EF4-FFF2-40B4-BE49-F238E27FC236}">
                  <a16:creationId xmlns:a16="http://schemas.microsoft.com/office/drawing/2014/main" id="{E8EF0B50-0A57-4C00-BFA4-8DCB8BC6DD16}"/>
                </a:ext>
              </a:extLst>
            </p:cNvPr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6727007" y="2802007"/>
              <a:ext cx="687627" cy="548504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68" name="Freeform 528">
              <a:extLst>
                <a:ext uri="{FF2B5EF4-FFF2-40B4-BE49-F238E27FC236}">
                  <a16:creationId xmlns:a16="http://schemas.microsoft.com/office/drawing/2014/main" id="{182C7E1E-22E7-4630-B7A1-82E7B2C61101}"/>
                </a:ext>
              </a:extLst>
            </p:cNvPr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6045558" y="2313123"/>
              <a:ext cx="74116" cy="61324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69" name="Freeform 529">
              <a:extLst>
                <a:ext uri="{FF2B5EF4-FFF2-40B4-BE49-F238E27FC236}">
                  <a16:creationId xmlns:a16="http://schemas.microsoft.com/office/drawing/2014/main" id="{47055622-9572-4019-83A1-8B457EC8BC98}"/>
                </a:ext>
              </a:extLst>
            </p:cNvPr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5707920" y="2541382"/>
              <a:ext cx="20588" cy="61324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70" name="Freeform 530">
              <a:extLst>
                <a:ext uri="{FF2B5EF4-FFF2-40B4-BE49-F238E27FC236}">
                  <a16:creationId xmlns:a16="http://schemas.microsoft.com/office/drawing/2014/main" id="{7603A7D0-1427-40C3-8635-8C7F04DC3066}"/>
                </a:ext>
              </a:extLst>
            </p:cNvPr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5178817" y="2912730"/>
              <a:ext cx="37058" cy="61324"/>
            </a:xfrm>
            <a:custGeom>
              <a:avLst/>
              <a:gdLst>
                <a:gd name="T0" fmla="*/ 28575 w 60"/>
                <a:gd name="T1" fmla="*/ 0 h 74"/>
                <a:gd name="T2" fmla="*/ 26670 w 60"/>
                <a:gd name="T3" fmla="*/ 3089 h 74"/>
                <a:gd name="T4" fmla="*/ 24289 w 60"/>
                <a:gd name="T5" fmla="*/ 7723 h 74"/>
                <a:gd name="T6" fmla="*/ 22860 w 60"/>
                <a:gd name="T7" fmla="*/ 11584 h 74"/>
                <a:gd name="T8" fmla="*/ 21908 w 60"/>
                <a:gd name="T9" fmla="*/ 16218 h 74"/>
                <a:gd name="T10" fmla="*/ 19526 w 60"/>
                <a:gd name="T11" fmla="*/ 23941 h 74"/>
                <a:gd name="T12" fmla="*/ 17621 w 60"/>
                <a:gd name="T13" fmla="*/ 32436 h 74"/>
                <a:gd name="T14" fmla="*/ 16669 w 60"/>
                <a:gd name="T15" fmla="*/ 36298 h 74"/>
                <a:gd name="T16" fmla="*/ 15240 w 60"/>
                <a:gd name="T17" fmla="*/ 39387 h 74"/>
                <a:gd name="T18" fmla="*/ 13811 w 60"/>
                <a:gd name="T19" fmla="*/ 43249 h 74"/>
                <a:gd name="T20" fmla="*/ 11906 w 60"/>
                <a:gd name="T21" fmla="*/ 46338 h 74"/>
                <a:gd name="T22" fmla="*/ 9525 w 60"/>
                <a:gd name="T23" fmla="*/ 50199 h 74"/>
                <a:gd name="T24" fmla="*/ 7144 w 60"/>
                <a:gd name="T25" fmla="*/ 53289 h 74"/>
                <a:gd name="T26" fmla="*/ 3810 w 60"/>
                <a:gd name="T27" fmla="*/ 55605 h 74"/>
                <a:gd name="T28" fmla="*/ 0 w 60"/>
                <a:gd name="T29" fmla="*/ 57150 h 74"/>
                <a:gd name="T30" fmla="*/ 2381 w 60"/>
                <a:gd name="T31" fmla="*/ 46338 h 74"/>
                <a:gd name="T32" fmla="*/ 5715 w 60"/>
                <a:gd name="T33" fmla="*/ 36298 h 74"/>
                <a:gd name="T34" fmla="*/ 9049 w 60"/>
                <a:gd name="T35" fmla="*/ 26258 h 74"/>
                <a:gd name="T36" fmla="*/ 12859 w 60"/>
                <a:gd name="T37" fmla="*/ 17763 h 74"/>
                <a:gd name="T38" fmla="*/ 17145 w 60"/>
                <a:gd name="T39" fmla="*/ 10812 h 74"/>
                <a:gd name="T40" fmla="*/ 20479 w 60"/>
                <a:gd name="T41" fmla="*/ 4634 h 74"/>
                <a:gd name="T42" fmla="*/ 22860 w 60"/>
                <a:gd name="T43" fmla="*/ 2317 h 74"/>
                <a:gd name="T44" fmla="*/ 24765 w 60"/>
                <a:gd name="T45" fmla="*/ 772 h 74"/>
                <a:gd name="T46" fmla="*/ 26670 w 60"/>
                <a:gd name="T47" fmla="*/ 0 h 74"/>
                <a:gd name="T48" fmla="*/ 28575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71" name="Freeform 531">
              <a:extLst>
                <a:ext uri="{FF2B5EF4-FFF2-40B4-BE49-F238E27FC236}">
                  <a16:creationId xmlns:a16="http://schemas.microsoft.com/office/drawing/2014/main" id="{E90304CA-DF47-4BBE-AB85-293186F5CE11}"/>
                </a:ext>
              </a:extLst>
            </p:cNvPr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5102644" y="2929764"/>
              <a:ext cx="30881" cy="64731"/>
            </a:xfrm>
            <a:custGeom>
              <a:avLst/>
              <a:gdLst>
                <a:gd name="T0" fmla="*/ 6586 w 47"/>
                <a:gd name="T1" fmla="*/ 10724 h 45"/>
                <a:gd name="T2" fmla="*/ 11146 w 47"/>
                <a:gd name="T3" fmla="*/ 10724 h 45"/>
                <a:gd name="T4" fmla="*/ 14186 w 47"/>
                <a:gd name="T5" fmla="*/ 8043 h 45"/>
                <a:gd name="T6" fmla="*/ 16212 w 47"/>
                <a:gd name="T7" fmla="*/ 6703 h 45"/>
                <a:gd name="T8" fmla="*/ 17732 w 47"/>
                <a:gd name="T9" fmla="*/ 4022 h 45"/>
                <a:gd name="T10" fmla="*/ 18746 w 47"/>
                <a:gd name="T11" fmla="*/ 1341 h 45"/>
                <a:gd name="T12" fmla="*/ 19759 w 47"/>
                <a:gd name="T13" fmla="*/ 0 h 45"/>
                <a:gd name="T14" fmla="*/ 21785 w 47"/>
                <a:gd name="T15" fmla="*/ 1341 h 45"/>
                <a:gd name="T16" fmla="*/ 23812 w 47"/>
                <a:gd name="T17" fmla="*/ 2681 h 45"/>
                <a:gd name="T18" fmla="*/ 23305 w 47"/>
                <a:gd name="T19" fmla="*/ 9384 h 45"/>
                <a:gd name="T20" fmla="*/ 23305 w 47"/>
                <a:gd name="T21" fmla="*/ 14746 h 45"/>
                <a:gd name="T22" fmla="*/ 22292 w 47"/>
                <a:gd name="T23" fmla="*/ 20108 h 45"/>
                <a:gd name="T24" fmla="*/ 21785 w 47"/>
                <a:gd name="T25" fmla="*/ 25471 h 45"/>
                <a:gd name="T26" fmla="*/ 18746 w 47"/>
                <a:gd name="T27" fmla="*/ 34854 h 45"/>
                <a:gd name="T28" fmla="*/ 15199 w 47"/>
                <a:gd name="T29" fmla="*/ 42898 h 45"/>
                <a:gd name="T30" fmla="*/ 12159 w 47"/>
                <a:gd name="T31" fmla="*/ 50941 h 45"/>
                <a:gd name="T32" fmla="*/ 8106 w 47"/>
                <a:gd name="T33" fmla="*/ 56303 h 45"/>
                <a:gd name="T34" fmla="*/ 3546 w 47"/>
                <a:gd name="T35" fmla="*/ 60325 h 45"/>
                <a:gd name="T36" fmla="*/ 0 w 47"/>
                <a:gd name="T37" fmla="*/ 60325 h 45"/>
                <a:gd name="T38" fmla="*/ 1013 w 47"/>
                <a:gd name="T39" fmla="*/ 50941 h 45"/>
                <a:gd name="T40" fmla="*/ 3040 w 47"/>
                <a:gd name="T41" fmla="*/ 34854 h 45"/>
                <a:gd name="T42" fmla="*/ 5573 w 47"/>
                <a:gd name="T43" fmla="*/ 20108 h 45"/>
                <a:gd name="T44" fmla="*/ 6586 w 47"/>
                <a:gd name="T45" fmla="*/ 10724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72" name="Freeform 532">
              <a:extLst>
                <a:ext uri="{FF2B5EF4-FFF2-40B4-BE49-F238E27FC236}">
                  <a16:creationId xmlns:a16="http://schemas.microsoft.com/office/drawing/2014/main" id="{C5D98C62-7C43-4746-AB31-546C842ABEA1}"/>
                </a:ext>
              </a:extLst>
            </p:cNvPr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5069704" y="2922951"/>
              <a:ext cx="8235" cy="61324"/>
            </a:xfrm>
            <a:custGeom>
              <a:avLst/>
              <a:gdLst>
                <a:gd name="T0" fmla="*/ 1465 w 26"/>
                <a:gd name="T1" fmla="*/ 57150 h 36"/>
                <a:gd name="T2" fmla="*/ 1221 w 26"/>
                <a:gd name="T3" fmla="*/ 47625 h 36"/>
                <a:gd name="T4" fmla="*/ 733 w 26"/>
                <a:gd name="T5" fmla="*/ 31750 h 36"/>
                <a:gd name="T6" fmla="*/ 244 w 26"/>
                <a:gd name="T7" fmla="*/ 15875 h 36"/>
                <a:gd name="T8" fmla="*/ 0 w 26"/>
                <a:gd name="T9" fmla="*/ 0 h 36"/>
                <a:gd name="T10" fmla="*/ 6350 w 26"/>
                <a:gd name="T11" fmla="*/ 0 h 36"/>
                <a:gd name="T12" fmla="*/ 6106 w 26"/>
                <a:gd name="T13" fmla="*/ 19050 h 36"/>
                <a:gd name="T14" fmla="*/ 5862 w 26"/>
                <a:gd name="T15" fmla="*/ 36513 h 36"/>
                <a:gd name="T16" fmla="*/ 5617 w 26"/>
                <a:gd name="T17" fmla="*/ 42863 h 36"/>
                <a:gd name="T18" fmla="*/ 5617 w 26"/>
                <a:gd name="T19" fmla="*/ 49213 h 36"/>
                <a:gd name="T20" fmla="*/ 5862 w 26"/>
                <a:gd name="T21" fmla="*/ 53975 h 36"/>
                <a:gd name="T22" fmla="*/ 6350 w 26"/>
                <a:gd name="T23" fmla="*/ 57150 h 36"/>
                <a:gd name="T24" fmla="*/ 1465 w 26"/>
                <a:gd name="T25" fmla="*/ 57150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73" name="Freeform 533">
              <a:extLst>
                <a:ext uri="{FF2B5EF4-FFF2-40B4-BE49-F238E27FC236}">
                  <a16:creationId xmlns:a16="http://schemas.microsoft.com/office/drawing/2014/main" id="{DE8C71D4-D950-484B-A2C6-9D23EF67870E}"/>
                </a:ext>
              </a:extLst>
            </p:cNvPr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6718772" y="2631664"/>
              <a:ext cx="226464" cy="170343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74" name="Freeform 534">
              <a:extLst>
                <a:ext uri="{FF2B5EF4-FFF2-40B4-BE49-F238E27FC236}">
                  <a16:creationId xmlns:a16="http://schemas.microsoft.com/office/drawing/2014/main" id="{3DFF0FDF-F6D3-46F1-A301-9EE88C578C9C}"/>
                </a:ext>
              </a:extLst>
            </p:cNvPr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9434283" y="3040486"/>
              <a:ext cx="55586" cy="85172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>
                <a:solidFill>
                  <a:prstClr val="black"/>
                </a:solidFill>
                <a:latin typeface="Arial"/>
              </a:endParaRPr>
            </a:p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>
                <a:solidFill>
                  <a:prstClr val="black"/>
                </a:solidFill>
                <a:latin typeface="Arial"/>
              </a:endParaRPr>
            </a:p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>
                <a:solidFill>
                  <a:prstClr val="black"/>
                </a:solidFill>
                <a:latin typeface="Arial"/>
              </a:endParaRPr>
            </a:p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>
                <a:solidFill>
                  <a:prstClr val="black"/>
                </a:solidFill>
                <a:latin typeface="Arial"/>
              </a:endParaRPr>
            </a:p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>
                <a:solidFill>
                  <a:prstClr val="black"/>
                </a:solidFill>
                <a:latin typeface="Arial"/>
              </a:endParaRPr>
            </a:p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>
                <a:solidFill>
                  <a:prstClr val="black"/>
                </a:solidFill>
                <a:latin typeface="Arial"/>
              </a:endParaRPr>
            </a:p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>
                <a:solidFill>
                  <a:prstClr val="black"/>
                </a:solidFill>
                <a:latin typeface="Arial"/>
              </a:endParaRPr>
            </a:p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>
                <a:solidFill>
                  <a:prstClr val="black"/>
                </a:solidFill>
                <a:latin typeface="Arial"/>
              </a:endParaRPr>
            </a:p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375" name="Group 535">
              <a:extLst>
                <a:ext uri="{FF2B5EF4-FFF2-40B4-BE49-F238E27FC236}">
                  <a16:creationId xmlns:a16="http://schemas.microsoft.com/office/drawing/2014/main" id="{1104434D-24CD-4CE7-977A-7626A6BCD6C3}"/>
                </a:ext>
              </a:extLst>
            </p:cNvPr>
            <p:cNvGrpSpPr>
              <a:grpSpLocks/>
            </p:cNvGrpSpPr>
            <p:nvPr>
              <p:custDataLst>
                <p:tags r:id="rId357"/>
              </p:custDataLst>
            </p:nvPr>
          </p:nvGrpSpPr>
          <p:grpSpPr bwMode="auto">
            <a:xfrm>
              <a:off x="6383195" y="2469838"/>
              <a:ext cx="625864" cy="216334"/>
              <a:chOff x="3289" y="1830"/>
              <a:chExt cx="363" cy="128"/>
            </a:xfrm>
          </p:grpSpPr>
          <p:sp>
            <p:nvSpPr>
              <p:cNvPr id="386" name="Freeform 536">
                <a:extLst>
                  <a:ext uri="{FF2B5EF4-FFF2-40B4-BE49-F238E27FC236}">
                    <a16:creationId xmlns:a16="http://schemas.microsoft.com/office/drawing/2014/main" id="{8E751EC7-8217-440D-BCE5-2048AEAC4F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87" name="Freeform 537">
                <a:extLst>
                  <a:ext uri="{FF2B5EF4-FFF2-40B4-BE49-F238E27FC236}">
                    <a16:creationId xmlns:a16="http://schemas.microsoft.com/office/drawing/2014/main" id="{B4403C19-468E-482B-AEFA-49E0BF516B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88" name="Freeform 538">
                <a:extLst>
                  <a:ext uri="{FF2B5EF4-FFF2-40B4-BE49-F238E27FC236}">
                    <a16:creationId xmlns:a16="http://schemas.microsoft.com/office/drawing/2014/main" id="{C9AA5DA0-086E-4EED-B7CF-D5922CBD0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89" name="Freeform 539">
                <a:extLst>
                  <a:ext uri="{FF2B5EF4-FFF2-40B4-BE49-F238E27FC236}">
                    <a16:creationId xmlns:a16="http://schemas.microsoft.com/office/drawing/2014/main" id="{BD40D959-8EF2-4B3C-BB18-1EA965EAD7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90" name="Freeform 540">
                <a:extLst>
                  <a:ext uri="{FF2B5EF4-FFF2-40B4-BE49-F238E27FC236}">
                    <a16:creationId xmlns:a16="http://schemas.microsoft.com/office/drawing/2014/main" id="{856C897F-AC97-4277-B8F4-2AB351FD97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C0C0C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376" name="Freeform 541">
              <a:extLst>
                <a:ext uri="{FF2B5EF4-FFF2-40B4-BE49-F238E27FC236}">
                  <a16:creationId xmlns:a16="http://schemas.microsoft.com/office/drawing/2014/main" id="{8ACEB56B-A68A-4867-805C-C7EAB4C9FD88}"/>
                </a:ext>
              </a:extLst>
            </p:cNvPr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3774741" y="3706527"/>
              <a:ext cx="129703" cy="131163"/>
            </a:xfrm>
            <a:custGeom>
              <a:avLst/>
              <a:gdLst>
                <a:gd name="T0" fmla="*/ 27880 w 226"/>
                <a:gd name="T1" fmla="*/ 121721 h 237"/>
                <a:gd name="T2" fmla="*/ 30092 w 226"/>
                <a:gd name="T3" fmla="*/ 122237 h 237"/>
                <a:gd name="T4" fmla="*/ 33190 w 226"/>
                <a:gd name="T5" fmla="*/ 121205 h 237"/>
                <a:gd name="T6" fmla="*/ 36730 w 226"/>
                <a:gd name="T7" fmla="*/ 120690 h 237"/>
                <a:gd name="T8" fmla="*/ 39386 w 226"/>
                <a:gd name="T9" fmla="*/ 118627 h 237"/>
                <a:gd name="T10" fmla="*/ 42483 w 226"/>
                <a:gd name="T11" fmla="*/ 115016 h 237"/>
                <a:gd name="T12" fmla="*/ 43811 w 226"/>
                <a:gd name="T13" fmla="*/ 110374 h 237"/>
                <a:gd name="T14" fmla="*/ 54432 w 226"/>
                <a:gd name="T15" fmla="*/ 107795 h 237"/>
                <a:gd name="T16" fmla="*/ 73461 w 226"/>
                <a:gd name="T17" fmla="*/ 105732 h 237"/>
                <a:gd name="T18" fmla="*/ 86294 w 226"/>
                <a:gd name="T19" fmla="*/ 102122 h 237"/>
                <a:gd name="T20" fmla="*/ 92490 w 226"/>
                <a:gd name="T21" fmla="*/ 98512 h 237"/>
                <a:gd name="T22" fmla="*/ 97358 w 226"/>
                <a:gd name="T23" fmla="*/ 93354 h 237"/>
                <a:gd name="T24" fmla="*/ 99570 w 226"/>
                <a:gd name="T25" fmla="*/ 86649 h 237"/>
                <a:gd name="T26" fmla="*/ 100013 w 226"/>
                <a:gd name="T27" fmla="*/ 78912 h 237"/>
                <a:gd name="T28" fmla="*/ 98685 w 226"/>
                <a:gd name="T29" fmla="*/ 72208 h 237"/>
                <a:gd name="T30" fmla="*/ 95145 w 226"/>
                <a:gd name="T31" fmla="*/ 63439 h 237"/>
                <a:gd name="T32" fmla="*/ 89835 w 226"/>
                <a:gd name="T33" fmla="*/ 51577 h 237"/>
                <a:gd name="T34" fmla="*/ 86737 w 226"/>
                <a:gd name="T35" fmla="*/ 43325 h 237"/>
                <a:gd name="T36" fmla="*/ 85409 w 226"/>
                <a:gd name="T37" fmla="*/ 38167 h 237"/>
                <a:gd name="T38" fmla="*/ 86294 w 226"/>
                <a:gd name="T39" fmla="*/ 30430 h 237"/>
                <a:gd name="T40" fmla="*/ 88507 w 226"/>
                <a:gd name="T41" fmla="*/ 22178 h 237"/>
                <a:gd name="T42" fmla="*/ 94260 w 226"/>
                <a:gd name="T43" fmla="*/ 12894 h 237"/>
                <a:gd name="T44" fmla="*/ 94260 w 226"/>
                <a:gd name="T45" fmla="*/ 7221 h 237"/>
                <a:gd name="T46" fmla="*/ 84524 w 226"/>
                <a:gd name="T47" fmla="*/ 3610 h 237"/>
                <a:gd name="T48" fmla="*/ 68150 w 226"/>
                <a:gd name="T49" fmla="*/ 1032 h 237"/>
                <a:gd name="T50" fmla="*/ 8851 w 226"/>
                <a:gd name="T51" fmla="*/ 3095 h 237"/>
                <a:gd name="T52" fmla="*/ 7966 w 226"/>
                <a:gd name="T53" fmla="*/ 15989 h 237"/>
                <a:gd name="T54" fmla="*/ 4425 w 226"/>
                <a:gd name="T55" fmla="*/ 27851 h 237"/>
                <a:gd name="T56" fmla="*/ 1328 w 226"/>
                <a:gd name="T57" fmla="*/ 40746 h 237"/>
                <a:gd name="T58" fmla="*/ 0 w 226"/>
                <a:gd name="T59" fmla="*/ 57250 h 237"/>
                <a:gd name="T60" fmla="*/ 1328 w 226"/>
                <a:gd name="T61" fmla="*/ 67050 h 237"/>
                <a:gd name="T62" fmla="*/ 4425 w 226"/>
                <a:gd name="T63" fmla="*/ 75302 h 237"/>
                <a:gd name="T64" fmla="*/ 13276 w 226"/>
                <a:gd name="T65" fmla="*/ 89228 h 237"/>
                <a:gd name="T66" fmla="*/ 22569 w 226"/>
                <a:gd name="T67" fmla="*/ 102638 h 237"/>
                <a:gd name="T68" fmla="*/ 25225 w 226"/>
                <a:gd name="T69" fmla="*/ 111406 h 237"/>
                <a:gd name="T70" fmla="*/ 26995 w 226"/>
                <a:gd name="T71" fmla="*/ 120690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77" name="Freeform 542">
              <a:extLst>
                <a:ext uri="{FF2B5EF4-FFF2-40B4-BE49-F238E27FC236}">
                  <a16:creationId xmlns:a16="http://schemas.microsoft.com/office/drawing/2014/main" id="{4BE7F1C9-3101-468D-B2BB-BB3DB755A353}"/>
                </a:ext>
              </a:extLst>
            </p:cNvPr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8890770" y="3101810"/>
              <a:ext cx="269698" cy="492292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78" name="Freeform 543">
              <a:extLst>
                <a:ext uri="{FF2B5EF4-FFF2-40B4-BE49-F238E27FC236}">
                  <a16:creationId xmlns:a16="http://schemas.microsoft.com/office/drawing/2014/main" id="{A5DF808E-F5F6-4925-BD08-39977D9BFEED}"/>
                </a:ext>
              </a:extLst>
            </p:cNvPr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9004002" y="3837691"/>
              <a:ext cx="32940" cy="61324"/>
            </a:xfrm>
            <a:custGeom>
              <a:avLst/>
              <a:gdLst>
                <a:gd name="T0" fmla="*/ 25400 w 59"/>
                <a:gd name="T1" fmla="*/ 11061 h 31"/>
                <a:gd name="T2" fmla="*/ 24539 w 59"/>
                <a:gd name="T3" fmla="*/ 20279 h 31"/>
                <a:gd name="T4" fmla="*/ 22817 w 59"/>
                <a:gd name="T5" fmla="*/ 27653 h 31"/>
                <a:gd name="T6" fmla="*/ 21095 w 59"/>
                <a:gd name="T7" fmla="*/ 35027 h 31"/>
                <a:gd name="T8" fmla="*/ 19373 w 59"/>
                <a:gd name="T9" fmla="*/ 44245 h 31"/>
                <a:gd name="T10" fmla="*/ 17220 w 59"/>
                <a:gd name="T11" fmla="*/ 49776 h 31"/>
                <a:gd name="T12" fmla="*/ 15498 w 59"/>
                <a:gd name="T13" fmla="*/ 53463 h 31"/>
                <a:gd name="T14" fmla="*/ 12915 w 59"/>
                <a:gd name="T15" fmla="*/ 57150 h 31"/>
                <a:gd name="T16" fmla="*/ 11193 w 59"/>
                <a:gd name="T17" fmla="*/ 57150 h 31"/>
                <a:gd name="T18" fmla="*/ 9041 w 59"/>
                <a:gd name="T19" fmla="*/ 57150 h 31"/>
                <a:gd name="T20" fmla="*/ 7319 w 59"/>
                <a:gd name="T21" fmla="*/ 55306 h 31"/>
                <a:gd name="T22" fmla="*/ 6027 w 59"/>
                <a:gd name="T23" fmla="*/ 53463 h 31"/>
                <a:gd name="T24" fmla="*/ 4736 w 59"/>
                <a:gd name="T25" fmla="*/ 49776 h 31"/>
                <a:gd name="T26" fmla="*/ 1722 w 59"/>
                <a:gd name="T27" fmla="*/ 36871 h 31"/>
                <a:gd name="T28" fmla="*/ 0 w 59"/>
                <a:gd name="T29" fmla="*/ 22123 h 31"/>
                <a:gd name="T30" fmla="*/ 431 w 59"/>
                <a:gd name="T31" fmla="*/ 16592 h 31"/>
                <a:gd name="T32" fmla="*/ 1292 w 59"/>
                <a:gd name="T33" fmla="*/ 11061 h 31"/>
                <a:gd name="T34" fmla="*/ 2153 w 59"/>
                <a:gd name="T35" fmla="*/ 7374 h 31"/>
                <a:gd name="T36" fmla="*/ 3444 w 59"/>
                <a:gd name="T37" fmla="*/ 5531 h 31"/>
                <a:gd name="T38" fmla="*/ 6888 w 59"/>
                <a:gd name="T39" fmla="*/ 1844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687 h 31"/>
                <a:gd name="T46" fmla="*/ 21956 w 59"/>
                <a:gd name="T47" fmla="*/ 7374 h 31"/>
                <a:gd name="T48" fmla="*/ 25400 w 59"/>
                <a:gd name="T49" fmla="*/ 11061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3282BE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79" name="Freeform 544">
              <a:extLst>
                <a:ext uri="{FF2B5EF4-FFF2-40B4-BE49-F238E27FC236}">
                  <a16:creationId xmlns:a16="http://schemas.microsoft.com/office/drawing/2014/main" id="{0CEF07DC-40C1-478A-8EB7-8FA2D353852F}"/>
                </a:ext>
              </a:extLst>
            </p:cNvPr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7307579" y="3042190"/>
              <a:ext cx="226464" cy="291286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80" name="Freeform 545">
              <a:extLst>
                <a:ext uri="{FF2B5EF4-FFF2-40B4-BE49-F238E27FC236}">
                  <a16:creationId xmlns:a16="http://schemas.microsoft.com/office/drawing/2014/main" id="{279C5C80-331A-4DF1-996A-2CDF2F50076C}"/>
                </a:ext>
              </a:extLst>
            </p:cNvPr>
            <p:cNvSpPr>
              <a:spLocks/>
            </p:cNvSpPr>
            <p:nvPr>
              <p:custDataLst>
                <p:tags r:id="rId362"/>
              </p:custDataLst>
            </p:nvPr>
          </p:nvSpPr>
          <p:spPr bwMode="auto">
            <a:xfrm>
              <a:off x="5656451" y="3100106"/>
              <a:ext cx="487928" cy="413932"/>
            </a:xfrm>
            <a:custGeom>
              <a:avLst/>
              <a:gdLst>
                <a:gd name="T0" fmla="*/ 100359 w 866"/>
                <a:gd name="T1" fmla="*/ 140751 h 740"/>
                <a:gd name="T2" fmla="*/ 106441 w 866"/>
                <a:gd name="T3" fmla="*/ 137623 h 740"/>
                <a:gd name="T4" fmla="*/ 118172 w 866"/>
                <a:gd name="T5" fmla="*/ 141794 h 740"/>
                <a:gd name="T6" fmla="*/ 284134 w 866"/>
                <a:gd name="T7" fmla="*/ 521 h 740"/>
                <a:gd name="T8" fmla="*/ 294995 w 866"/>
                <a:gd name="T9" fmla="*/ 3128 h 740"/>
                <a:gd name="T10" fmla="*/ 308897 w 866"/>
                <a:gd name="T11" fmla="*/ 10947 h 740"/>
                <a:gd name="T12" fmla="*/ 317152 w 866"/>
                <a:gd name="T13" fmla="*/ 18246 h 740"/>
                <a:gd name="T14" fmla="*/ 330186 w 866"/>
                <a:gd name="T15" fmla="*/ 29714 h 740"/>
                <a:gd name="T16" fmla="*/ 343654 w 866"/>
                <a:gd name="T17" fmla="*/ 30757 h 740"/>
                <a:gd name="T18" fmla="*/ 361032 w 866"/>
                <a:gd name="T19" fmla="*/ 22416 h 740"/>
                <a:gd name="T20" fmla="*/ 371025 w 866"/>
                <a:gd name="T21" fmla="*/ 86536 h 740"/>
                <a:gd name="T22" fmla="*/ 376238 w 866"/>
                <a:gd name="T23" fmla="*/ 106866 h 740"/>
                <a:gd name="T24" fmla="*/ 369287 w 866"/>
                <a:gd name="T25" fmla="*/ 156911 h 740"/>
                <a:gd name="T26" fmla="*/ 368418 w 866"/>
                <a:gd name="T27" fmla="*/ 196009 h 740"/>
                <a:gd name="T28" fmla="*/ 362335 w 866"/>
                <a:gd name="T29" fmla="*/ 219467 h 740"/>
                <a:gd name="T30" fmla="*/ 348433 w 866"/>
                <a:gd name="T31" fmla="*/ 243447 h 740"/>
                <a:gd name="T32" fmla="*/ 337572 w 866"/>
                <a:gd name="T33" fmla="*/ 260129 h 740"/>
                <a:gd name="T34" fmla="*/ 329317 w 866"/>
                <a:gd name="T35" fmla="*/ 295577 h 740"/>
                <a:gd name="T36" fmla="*/ 308897 w 866"/>
                <a:gd name="T37" fmla="*/ 327898 h 740"/>
                <a:gd name="T38" fmla="*/ 295429 w 866"/>
                <a:gd name="T39" fmla="*/ 336760 h 740"/>
                <a:gd name="T40" fmla="*/ 279789 w 866"/>
                <a:gd name="T41" fmla="*/ 332589 h 740"/>
                <a:gd name="T42" fmla="*/ 265452 w 866"/>
                <a:gd name="T43" fmla="*/ 325813 h 740"/>
                <a:gd name="T44" fmla="*/ 245902 w 866"/>
                <a:gd name="T45" fmla="*/ 329983 h 740"/>
                <a:gd name="T46" fmla="*/ 230261 w 866"/>
                <a:gd name="T47" fmla="*/ 343537 h 740"/>
                <a:gd name="T48" fmla="*/ 222006 w 866"/>
                <a:gd name="T49" fmla="*/ 354484 h 740"/>
                <a:gd name="T50" fmla="*/ 213317 w 866"/>
                <a:gd name="T51" fmla="*/ 356569 h 740"/>
                <a:gd name="T52" fmla="*/ 204194 w 866"/>
                <a:gd name="T53" fmla="*/ 348228 h 740"/>
                <a:gd name="T54" fmla="*/ 193767 w 866"/>
                <a:gd name="T55" fmla="*/ 333111 h 740"/>
                <a:gd name="T56" fmla="*/ 182906 w 866"/>
                <a:gd name="T57" fmla="*/ 331026 h 740"/>
                <a:gd name="T58" fmla="*/ 175954 w 866"/>
                <a:gd name="T59" fmla="*/ 337281 h 740"/>
                <a:gd name="T60" fmla="*/ 166831 w 866"/>
                <a:gd name="T61" fmla="*/ 339888 h 740"/>
                <a:gd name="T62" fmla="*/ 152059 w 866"/>
                <a:gd name="T63" fmla="*/ 332589 h 740"/>
                <a:gd name="T64" fmla="*/ 132943 w 866"/>
                <a:gd name="T65" fmla="*/ 316950 h 740"/>
                <a:gd name="T66" fmla="*/ 117737 w 866"/>
                <a:gd name="T67" fmla="*/ 314865 h 740"/>
                <a:gd name="T68" fmla="*/ 102966 w 866"/>
                <a:gd name="T69" fmla="*/ 323206 h 740"/>
                <a:gd name="T70" fmla="*/ 90801 w 866"/>
                <a:gd name="T71" fmla="*/ 340409 h 740"/>
                <a:gd name="T72" fmla="*/ 82546 w 866"/>
                <a:gd name="T73" fmla="*/ 360740 h 740"/>
                <a:gd name="T74" fmla="*/ 77333 w 866"/>
                <a:gd name="T75" fmla="*/ 374815 h 740"/>
                <a:gd name="T76" fmla="*/ 64734 w 866"/>
                <a:gd name="T77" fmla="*/ 365953 h 740"/>
                <a:gd name="T78" fmla="*/ 43445 w 866"/>
                <a:gd name="T79" fmla="*/ 385762 h 740"/>
                <a:gd name="T80" fmla="*/ 28674 w 866"/>
                <a:gd name="T81" fmla="*/ 364389 h 740"/>
                <a:gd name="T82" fmla="*/ 27805 w 866"/>
                <a:gd name="T83" fmla="*/ 335717 h 740"/>
                <a:gd name="T84" fmla="*/ 21723 w 866"/>
                <a:gd name="T85" fmla="*/ 319557 h 740"/>
                <a:gd name="T86" fmla="*/ 8689 w 866"/>
                <a:gd name="T87" fmla="*/ 306003 h 740"/>
                <a:gd name="T88" fmla="*/ 2172 w 866"/>
                <a:gd name="T89" fmla="*/ 290885 h 740"/>
                <a:gd name="T90" fmla="*/ 23026 w 866"/>
                <a:gd name="T91" fmla="*/ 276289 h 740"/>
                <a:gd name="T92" fmla="*/ 33019 w 866"/>
                <a:gd name="T93" fmla="*/ 270033 h 740"/>
                <a:gd name="T94" fmla="*/ 60389 w 866"/>
                <a:gd name="T95" fmla="*/ 265863 h 740"/>
                <a:gd name="T96" fmla="*/ 79071 w 866"/>
                <a:gd name="T97" fmla="*/ 260650 h 740"/>
                <a:gd name="T98" fmla="*/ 87325 w 866"/>
                <a:gd name="T99" fmla="*/ 247617 h 740"/>
                <a:gd name="T100" fmla="*/ 95146 w 866"/>
                <a:gd name="T101" fmla="*/ 221031 h 740"/>
                <a:gd name="T102" fmla="*/ 97318 w 866"/>
                <a:gd name="T103" fmla="*/ 191317 h 740"/>
                <a:gd name="T104" fmla="*/ 95146 w 866"/>
                <a:gd name="T105" fmla="*/ 166816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81" name="Freeform 546">
              <a:extLst>
                <a:ext uri="{FF2B5EF4-FFF2-40B4-BE49-F238E27FC236}">
                  <a16:creationId xmlns:a16="http://schemas.microsoft.com/office/drawing/2014/main" id="{29298273-48C2-4C18-9CD4-6A49F42D78E9}"/>
                </a:ext>
              </a:extLst>
            </p:cNvPr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5228228" y="2689581"/>
              <a:ext cx="389108" cy="279362"/>
            </a:xfrm>
            <a:custGeom>
              <a:avLst/>
              <a:gdLst>
                <a:gd name="T0" fmla="*/ 278945 w 697"/>
                <a:gd name="T1" fmla="*/ 27597 h 500"/>
                <a:gd name="T2" fmla="*/ 282819 w 697"/>
                <a:gd name="T3" fmla="*/ 83833 h 500"/>
                <a:gd name="T4" fmla="*/ 284541 w 697"/>
                <a:gd name="T5" fmla="*/ 86957 h 500"/>
                <a:gd name="T6" fmla="*/ 291429 w 697"/>
                <a:gd name="T7" fmla="*/ 92164 h 500"/>
                <a:gd name="T8" fmla="*/ 298747 w 697"/>
                <a:gd name="T9" fmla="*/ 98412 h 500"/>
                <a:gd name="T10" fmla="*/ 300038 w 697"/>
                <a:gd name="T11" fmla="*/ 103099 h 500"/>
                <a:gd name="T12" fmla="*/ 298747 w 697"/>
                <a:gd name="T13" fmla="*/ 109868 h 500"/>
                <a:gd name="T14" fmla="*/ 294872 w 697"/>
                <a:gd name="T15" fmla="*/ 112992 h 500"/>
                <a:gd name="T16" fmla="*/ 281958 w 697"/>
                <a:gd name="T17" fmla="*/ 113513 h 500"/>
                <a:gd name="T18" fmla="*/ 260435 w 697"/>
                <a:gd name="T19" fmla="*/ 118720 h 500"/>
                <a:gd name="T20" fmla="*/ 244077 w 697"/>
                <a:gd name="T21" fmla="*/ 130175 h 500"/>
                <a:gd name="T22" fmla="*/ 236328 w 697"/>
                <a:gd name="T23" fmla="*/ 139027 h 500"/>
                <a:gd name="T24" fmla="*/ 232024 w 697"/>
                <a:gd name="T25" fmla="*/ 149962 h 500"/>
                <a:gd name="T26" fmla="*/ 224275 w 697"/>
                <a:gd name="T27" fmla="*/ 157251 h 500"/>
                <a:gd name="T28" fmla="*/ 211361 w 697"/>
                <a:gd name="T29" fmla="*/ 168707 h 500"/>
                <a:gd name="T30" fmla="*/ 195864 w 697"/>
                <a:gd name="T31" fmla="*/ 183286 h 500"/>
                <a:gd name="T32" fmla="*/ 180798 w 697"/>
                <a:gd name="T33" fmla="*/ 192659 h 500"/>
                <a:gd name="T34" fmla="*/ 160135 w 697"/>
                <a:gd name="T35" fmla="*/ 196304 h 500"/>
                <a:gd name="T36" fmla="*/ 148082 w 697"/>
                <a:gd name="T37" fmla="*/ 197866 h 500"/>
                <a:gd name="T38" fmla="*/ 136029 w 697"/>
                <a:gd name="T39" fmla="*/ 206197 h 500"/>
                <a:gd name="T40" fmla="*/ 124836 w 697"/>
                <a:gd name="T41" fmla="*/ 217132 h 500"/>
                <a:gd name="T42" fmla="*/ 114075 w 697"/>
                <a:gd name="T43" fmla="*/ 221818 h 500"/>
                <a:gd name="T44" fmla="*/ 2152 w 697"/>
                <a:gd name="T45" fmla="*/ 258267 h 500"/>
                <a:gd name="T46" fmla="*/ 13775 w 697"/>
                <a:gd name="T47" fmla="*/ 253581 h 500"/>
                <a:gd name="T48" fmla="*/ 36590 w 697"/>
                <a:gd name="T49" fmla="*/ 246291 h 500"/>
                <a:gd name="T50" fmla="*/ 40034 w 697"/>
                <a:gd name="T51" fmla="*/ 239001 h 500"/>
                <a:gd name="T52" fmla="*/ 42617 w 697"/>
                <a:gd name="T53" fmla="*/ 228067 h 500"/>
                <a:gd name="T54" fmla="*/ 51226 w 697"/>
                <a:gd name="T55" fmla="*/ 219735 h 500"/>
                <a:gd name="T56" fmla="*/ 68875 w 697"/>
                <a:gd name="T57" fmla="*/ 207759 h 500"/>
                <a:gd name="T58" fmla="*/ 77915 w 697"/>
                <a:gd name="T59" fmla="*/ 198907 h 500"/>
                <a:gd name="T60" fmla="*/ 82650 w 697"/>
                <a:gd name="T61" fmla="*/ 185890 h 500"/>
                <a:gd name="T62" fmla="*/ 83081 w 697"/>
                <a:gd name="T63" fmla="*/ 164541 h 500"/>
                <a:gd name="T64" fmla="*/ 83942 w 697"/>
                <a:gd name="T65" fmla="*/ 132258 h 500"/>
                <a:gd name="T66" fmla="*/ 82650 w 697"/>
                <a:gd name="T67" fmla="*/ 99974 h 500"/>
                <a:gd name="T68" fmla="*/ 92121 w 697"/>
                <a:gd name="T69" fmla="*/ 98412 h 500"/>
                <a:gd name="T70" fmla="*/ 98147 w 697"/>
                <a:gd name="T71" fmla="*/ 93205 h 500"/>
                <a:gd name="T72" fmla="*/ 103743 w 697"/>
                <a:gd name="T73" fmla="*/ 85916 h 500"/>
                <a:gd name="T74" fmla="*/ 108479 w 697"/>
                <a:gd name="T75" fmla="*/ 79146 h 500"/>
                <a:gd name="T76" fmla="*/ 120962 w 697"/>
                <a:gd name="T77" fmla="*/ 76022 h 500"/>
                <a:gd name="T78" fmla="*/ 135168 w 697"/>
                <a:gd name="T79" fmla="*/ 74460 h 500"/>
                <a:gd name="T80" fmla="*/ 146360 w 697"/>
                <a:gd name="T81" fmla="*/ 68212 h 500"/>
                <a:gd name="T82" fmla="*/ 154969 w 697"/>
                <a:gd name="T83" fmla="*/ 56236 h 500"/>
                <a:gd name="T84" fmla="*/ 167023 w 697"/>
                <a:gd name="T85" fmla="*/ 24994 h 500"/>
                <a:gd name="T86" fmla="*/ 175202 w 697"/>
                <a:gd name="T87" fmla="*/ 6248 h 500"/>
                <a:gd name="T88" fmla="*/ 183380 w 697"/>
                <a:gd name="T89" fmla="*/ 4166 h 500"/>
                <a:gd name="T90" fmla="*/ 193281 w 697"/>
                <a:gd name="T91" fmla="*/ 10414 h 500"/>
                <a:gd name="T92" fmla="*/ 220401 w 697"/>
                <a:gd name="T93" fmla="*/ 9373 h 500"/>
                <a:gd name="T94" fmla="*/ 253978 w 697"/>
                <a:gd name="T95" fmla="*/ 6769 h 500"/>
                <a:gd name="T96" fmla="*/ 256991 w 697"/>
                <a:gd name="T97" fmla="*/ 8852 h 500"/>
                <a:gd name="T98" fmla="*/ 260435 w 697"/>
                <a:gd name="T99" fmla="*/ 18745 h 500"/>
                <a:gd name="T100" fmla="*/ 263018 w 697"/>
                <a:gd name="T101" fmla="*/ 26556 h 500"/>
                <a:gd name="T102" fmla="*/ 266031 w 697"/>
                <a:gd name="T103" fmla="*/ 2603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82" name="Freeform 547">
              <a:extLst>
                <a:ext uri="{FF2B5EF4-FFF2-40B4-BE49-F238E27FC236}">
                  <a16:creationId xmlns:a16="http://schemas.microsoft.com/office/drawing/2014/main" id="{559EA270-8CB3-4244-AE0B-EC70AFF0CB09}"/>
                </a:ext>
              </a:extLst>
            </p:cNvPr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6136145" y="1541469"/>
              <a:ext cx="306756" cy="98799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84" name="Freeform 549">
              <a:extLst>
                <a:ext uri="{FF2B5EF4-FFF2-40B4-BE49-F238E27FC236}">
                  <a16:creationId xmlns:a16="http://schemas.microsoft.com/office/drawing/2014/main" id="{CC7410D9-150C-42A7-AE91-7A974E8A83AE}"/>
                </a:ext>
              </a:extLst>
            </p:cNvPr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6984371" y="1505704"/>
              <a:ext cx="82351" cy="61324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85" name="Freeform 550">
              <a:extLst>
                <a:ext uri="{FF2B5EF4-FFF2-40B4-BE49-F238E27FC236}">
                  <a16:creationId xmlns:a16="http://schemas.microsoft.com/office/drawing/2014/main" id="{9CAA9DF1-47BA-4E5B-BA6D-7B808ED20102}"/>
                </a:ext>
              </a:extLst>
            </p:cNvPr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7031712" y="1514228"/>
              <a:ext cx="168819" cy="61324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cxnSp>
        <p:nvCxnSpPr>
          <p:cNvPr id="553" name="Straight Connector 552">
            <a:extLst>
              <a:ext uri="{FF2B5EF4-FFF2-40B4-BE49-F238E27FC236}">
                <a16:creationId xmlns:a16="http://schemas.microsoft.com/office/drawing/2014/main" id="{444DD7C5-2D63-449A-B46E-FF01F3CE19FE}"/>
              </a:ext>
            </a:extLst>
          </p:cNvPr>
          <p:cNvCxnSpPr/>
          <p:nvPr/>
        </p:nvCxnSpPr>
        <p:spPr>
          <a:xfrm>
            <a:off x="4549395" y="6434851"/>
            <a:ext cx="3088289" cy="0"/>
          </a:xfrm>
          <a:prstGeom prst="line">
            <a:avLst/>
          </a:prstGeom>
          <a:ln w="12700">
            <a:solidFill>
              <a:srgbClr val="0078D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4" name="Straight Connector 553">
            <a:extLst>
              <a:ext uri="{FF2B5EF4-FFF2-40B4-BE49-F238E27FC236}">
                <a16:creationId xmlns:a16="http://schemas.microsoft.com/office/drawing/2014/main" id="{BD1774E5-F152-442B-93B8-94F36F5B7566}"/>
              </a:ext>
            </a:extLst>
          </p:cNvPr>
          <p:cNvCxnSpPr>
            <a:cxnSpLocks/>
          </p:cNvCxnSpPr>
          <p:nvPr/>
        </p:nvCxnSpPr>
        <p:spPr>
          <a:xfrm>
            <a:off x="7994808" y="6434851"/>
            <a:ext cx="3108960" cy="0"/>
          </a:xfrm>
          <a:prstGeom prst="line">
            <a:avLst/>
          </a:prstGeom>
          <a:ln w="12700">
            <a:solidFill>
              <a:srgbClr val="0078D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7" name="TextBox 556">
            <a:extLst>
              <a:ext uri="{FF2B5EF4-FFF2-40B4-BE49-F238E27FC236}">
                <a16:creationId xmlns:a16="http://schemas.microsoft.com/office/drawing/2014/main" id="{694138BD-2644-4568-B675-966EA6BCFEBF}"/>
              </a:ext>
            </a:extLst>
          </p:cNvPr>
          <p:cNvSpPr txBox="1"/>
          <p:nvPr/>
        </p:nvSpPr>
        <p:spPr>
          <a:xfrm>
            <a:off x="4786163" y="5972854"/>
            <a:ext cx="2568332" cy="3639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22 countries, N=11,067 </a:t>
            </a:r>
          </a:p>
        </p:txBody>
      </p:sp>
      <p:sp>
        <p:nvSpPr>
          <p:cNvPr id="558" name="TextBox 557">
            <a:extLst>
              <a:ext uri="{FF2B5EF4-FFF2-40B4-BE49-F238E27FC236}">
                <a16:creationId xmlns:a16="http://schemas.microsoft.com/office/drawing/2014/main" id="{0AAE56FD-E5FB-4304-8F41-9E5ECC041286}"/>
              </a:ext>
            </a:extLst>
          </p:cNvPr>
          <p:cNvSpPr txBox="1"/>
          <p:nvPr/>
        </p:nvSpPr>
        <p:spPr>
          <a:xfrm>
            <a:off x="365048" y="5972854"/>
            <a:ext cx="37701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Web survey, Adults 18-74, Teens 13-17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78E2633-664A-4A0B-BB19-1D16BD690B54}"/>
              </a:ext>
            </a:extLst>
          </p:cNvPr>
          <p:cNvGrpSpPr/>
          <p:nvPr/>
        </p:nvGrpSpPr>
        <p:grpSpPr>
          <a:xfrm>
            <a:off x="447024" y="5890390"/>
            <a:ext cx="3840480" cy="544461"/>
            <a:chOff x="499278" y="5890390"/>
            <a:chExt cx="3749040" cy="544461"/>
          </a:xfrm>
        </p:grpSpPr>
        <p:cxnSp>
          <p:nvCxnSpPr>
            <p:cNvPr id="552" name="Straight Connector 551">
              <a:extLst>
                <a:ext uri="{FF2B5EF4-FFF2-40B4-BE49-F238E27FC236}">
                  <a16:creationId xmlns:a16="http://schemas.microsoft.com/office/drawing/2014/main" id="{6006CB4E-4779-4822-8D74-38171FA6AD64}"/>
                </a:ext>
              </a:extLst>
            </p:cNvPr>
            <p:cNvCxnSpPr>
              <a:cxnSpLocks/>
            </p:cNvCxnSpPr>
            <p:nvPr/>
          </p:nvCxnSpPr>
          <p:spPr>
            <a:xfrm>
              <a:off x="499278" y="6434851"/>
              <a:ext cx="3749040" cy="0"/>
            </a:xfrm>
            <a:prstGeom prst="line">
              <a:avLst/>
            </a:prstGeom>
            <a:ln w="12700">
              <a:solidFill>
                <a:srgbClr val="0121CF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9" name="Straight Connector 558">
              <a:extLst>
                <a:ext uri="{FF2B5EF4-FFF2-40B4-BE49-F238E27FC236}">
                  <a16:creationId xmlns:a16="http://schemas.microsoft.com/office/drawing/2014/main" id="{D15AE065-C3DE-482D-BCF4-09661360DC40}"/>
                </a:ext>
              </a:extLst>
            </p:cNvPr>
            <p:cNvCxnSpPr>
              <a:cxnSpLocks/>
            </p:cNvCxnSpPr>
            <p:nvPr/>
          </p:nvCxnSpPr>
          <p:spPr>
            <a:xfrm>
              <a:off x="499278" y="5890390"/>
              <a:ext cx="3749040" cy="0"/>
            </a:xfrm>
            <a:prstGeom prst="line">
              <a:avLst/>
            </a:prstGeom>
            <a:ln w="12700">
              <a:solidFill>
                <a:srgbClr val="0078D4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60" name="Straight Connector 559">
            <a:extLst>
              <a:ext uri="{FF2B5EF4-FFF2-40B4-BE49-F238E27FC236}">
                <a16:creationId xmlns:a16="http://schemas.microsoft.com/office/drawing/2014/main" id="{4AADDFFB-7D94-4BC8-AF77-68C74F0AAD55}"/>
              </a:ext>
            </a:extLst>
          </p:cNvPr>
          <p:cNvCxnSpPr/>
          <p:nvPr/>
        </p:nvCxnSpPr>
        <p:spPr>
          <a:xfrm>
            <a:off x="4537713" y="5890390"/>
            <a:ext cx="3088289" cy="0"/>
          </a:xfrm>
          <a:prstGeom prst="line">
            <a:avLst/>
          </a:prstGeom>
          <a:ln w="12700">
            <a:solidFill>
              <a:srgbClr val="0078D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Straight Connector 560">
            <a:extLst>
              <a:ext uri="{FF2B5EF4-FFF2-40B4-BE49-F238E27FC236}">
                <a16:creationId xmlns:a16="http://schemas.microsoft.com/office/drawing/2014/main" id="{C57996DC-A0A2-4F9B-9BFD-56F2B0E76D66}"/>
              </a:ext>
            </a:extLst>
          </p:cNvPr>
          <p:cNvCxnSpPr>
            <a:cxnSpLocks/>
          </p:cNvCxnSpPr>
          <p:nvPr/>
        </p:nvCxnSpPr>
        <p:spPr>
          <a:xfrm>
            <a:off x="7983126" y="5890390"/>
            <a:ext cx="3108960" cy="0"/>
          </a:xfrm>
          <a:prstGeom prst="line">
            <a:avLst/>
          </a:prstGeom>
          <a:ln w="12700">
            <a:solidFill>
              <a:srgbClr val="0078D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4" name="Straight Arrow Connector 563">
            <a:extLst>
              <a:ext uri="{FF2B5EF4-FFF2-40B4-BE49-F238E27FC236}">
                <a16:creationId xmlns:a16="http://schemas.microsoft.com/office/drawing/2014/main" id="{17693C0D-E968-410F-BB27-1A700FCCB79E}"/>
              </a:ext>
            </a:extLst>
          </p:cNvPr>
          <p:cNvCxnSpPr>
            <a:cxnSpLocks/>
          </p:cNvCxnSpPr>
          <p:nvPr/>
        </p:nvCxnSpPr>
        <p:spPr>
          <a:xfrm>
            <a:off x="4090875" y="4338500"/>
            <a:ext cx="612694" cy="0"/>
          </a:xfrm>
          <a:prstGeom prst="straightConnector1">
            <a:avLst/>
          </a:prstGeom>
          <a:ln w="9525">
            <a:solidFill>
              <a:schemeClr val="tx1"/>
            </a:solidFill>
            <a:headEnd type="oval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5" name="TextBox 564">
            <a:extLst>
              <a:ext uri="{FF2B5EF4-FFF2-40B4-BE49-F238E27FC236}">
                <a16:creationId xmlns:a16="http://schemas.microsoft.com/office/drawing/2014/main" id="{F8CD0FE8-97C3-4108-AC63-2DF59501978E}"/>
              </a:ext>
            </a:extLst>
          </p:cNvPr>
          <p:cNvSpPr txBox="1"/>
          <p:nvPr/>
        </p:nvSpPr>
        <p:spPr>
          <a:xfrm>
            <a:off x="4752443" y="4269250"/>
            <a:ext cx="27251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9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azil</a:t>
            </a:r>
          </a:p>
        </p:txBody>
      </p:sp>
      <p:grpSp>
        <p:nvGrpSpPr>
          <p:cNvPr id="567" name="Group 566">
            <a:extLst>
              <a:ext uri="{FF2B5EF4-FFF2-40B4-BE49-F238E27FC236}">
                <a16:creationId xmlns:a16="http://schemas.microsoft.com/office/drawing/2014/main" id="{57A05CD3-08C5-4184-8325-7844F881C149}"/>
              </a:ext>
            </a:extLst>
          </p:cNvPr>
          <p:cNvGrpSpPr/>
          <p:nvPr/>
        </p:nvGrpSpPr>
        <p:grpSpPr>
          <a:xfrm>
            <a:off x="3686175" y="5109631"/>
            <a:ext cx="1160102" cy="138499"/>
            <a:chOff x="4090875" y="4269250"/>
            <a:chExt cx="1160102" cy="138499"/>
          </a:xfrm>
        </p:grpSpPr>
        <p:cxnSp>
          <p:nvCxnSpPr>
            <p:cNvPr id="568" name="Straight Arrow Connector 567">
              <a:extLst>
                <a:ext uri="{FF2B5EF4-FFF2-40B4-BE49-F238E27FC236}">
                  <a16:creationId xmlns:a16="http://schemas.microsoft.com/office/drawing/2014/main" id="{DE0AC52E-4124-467E-AFD2-632ABA9C6432}"/>
                </a:ext>
              </a:extLst>
            </p:cNvPr>
            <p:cNvCxnSpPr/>
            <p:nvPr/>
          </p:nvCxnSpPr>
          <p:spPr>
            <a:xfrm>
              <a:off x="4090875" y="4338500"/>
              <a:ext cx="61269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oval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9" name="TextBox 568">
              <a:extLst>
                <a:ext uri="{FF2B5EF4-FFF2-40B4-BE49-F238E27FC236}">
                  <a16:creationId xmlns:a16="http://schemas.microsoft.com/office/drawing/2014/main" id="{62F9729C-0EB0-47B2-9064-5DE6BEB82CE3}"/>
                </a:ext>
              </a:extLst>
            </p:cNvPr>
            <p:cNvSpPr txBox="1"/>
            <p:nvPr/>
          </p:nvSpPr>
          <p:spPr>
            <a:xfrm>
              <a:off x="4752443" y="4269250"/>
              <a:ext cx="498534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9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rgentina</a:t>
              </a:r>
            </a:p>
          </p:txBody>
        </p:sp>
      </p:grpSp>
      <p:cxnSp>
        <p:nvCxnSpPr>
          <p:cNvPr id="571" name="Straight Arrow Connector 570">
            <a:extLst>
              <a:ext uri="{FF2B5EF4-FFF2-40B4-BE49-F238E27FC236}">
                <a16:creationId xmlns:a16="http://schemas.microsoft.com/office/drawing/2014/main" id="{673ED1DF-C7AF-4246-9327-788971004D49}"/>
              </a:ext>
            </a:extLst>
          </p:cNvPr>
          <p:cNvCxnSpPr/>
          <p:nvPr/>
        </p:nvCxnSpPr>
        <p:spPr>
          <a:xfrm>
            <a:off x="2673349" y="2701246"/>
            <a:ext cx="822960" cy="0"/>
          </a:xfrm>
          <a:prstGeom prst="straightConnector1">
            <a:avLst/>
          </a:prstGeom>
          <a:ln w="3175">
            <a:solidFill>
              <a:schemeClr val="tx1"/>
            </a:solidFill>
            <a:headEnd type="oval" w="med" len="med"/>
            <a:tailEnd type="non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2" name="TextBox 571">
            <a:extLst>
              <a:ext uri="{FF2B5EF4-FFF2-40B4-BE49-F238E27FC236}">
                <a16:creationId xmlns:a16="http://schemas.microsoft.com/office/drawing/2014/main" id="{6CFABA39-55E5-482C-AF5C-44F402D6A59D}"/>
              </a:ext>
            </a:extLst>
          </p:cNvPr>
          <p:cNvSpPr txBox="1"/>
          <p:nvPr/>
        </p:nvSpPr>
        <p:spPr>
          <a:xfrm>
            <a:off x="3526515" y="2631996"/>
            <a:ext cx="67807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9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United States</a:t>
            </a:r>
          </a:p>
        </p:txBody>
      </p:sp>
      <p:grpSp>
        <p:nvGrpSpPr>
          <p:cNvPr id="579" name="Group 578">
            <a:extLst>
              <a:ext uri="{FF2B5EF4-FFF2-40B4-BE49-F238E27FC236}">
                <a16:creationId xmlns:a16="http://schemas.microsoft.com/office/drawing/2014/main" id="{28E2D47E-71F2-4EF3-BA81-974CBEAB1548}"/>
              </a:ext>
            </a:extLst>
          </p:cNvPr>
          <p:cNvGrpSpPr/>
          <p:nvPr/>
        </p:nvGrpSpPr>
        <p:grpSpPr>
          <a:xfrm>
            <a:off x="9604139" y="3378520"/>
            <a:ext cx="973465" cy="138499"/>
            <a:chOff x="9604139" y="3378520"/>
            <a:chExt cx="973465" cy="138499"/>
          </a:xfrm>
        </p:grpSpPr>
        <p:cxnSp>
          <p:nvCxnSpPr>
            <p:cNvPr id="577" name="Straight Arrow Connector 576">
              <a:extLst>
                <a:ext uri="{FF2B5EF4-FFF2-40B4-BE49-F238E27FC236}">
                  <a16:creationId xmlns:a16="http://schemas.microsoft.com/office/drawing/2014/main" id="{5A2C45C8-6423-4FB7-87E0-29579929C8C0}"/>
                </a:ext>
              </a:extLst>
            </p:cNvPr>
            <p:cNvCxnSpPr/>
            <p:nvPr/>
          </p:nvCxnSpPr>
          <p:spPr>
            <a:xfrm>
              <a:off x="9604139" y="3466345"/>
              <a:ext cx="35963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oval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8" name="TextBox 577">
              <a:extLst>
                <a:ext uri="{FF2B5EF4-FFF2-40B4-BE49-F238E27FC236}">
                  <a16:creationId xmlns:a16="http://schemas.microsoft.com/office/drawing/2014/main" id="{30A4B1E7-E874-45A6-8C67-C7A9B1588A88}"/>
                </a:ext>
              </a:extLst>
            </p:cNvPr>
            <p:cNvSpPr txBox="1"/>
            <p:nvPr/>
          </p:nvSpPr>
          <p:spPr>
            <a:xfrm>
              <a:off x="10027773" y="3378520"/>
              <a:ext cx="54983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9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hilippines</a:t>
              </a:r>
            </a:p>
          </p:txBody>
        </p:sp>
      </p:grpSp>
      <p:grpSp>
        <p:nvGrpSpPr>
          <p:cNvPr id="580" name="Group 579">
            <a:extLst>
              <a:ext uri="{FF2B5EF4-FFF2-40B4-BE49-F238E27FC236}">
                <a16:creationId xmlns:a16="http://schemas.microsoft.com/office/drawing/2014/main" id="{F2F88B17-72B9-4475-B7AC-6946D2AC2199}"/>
              </a:ext>
            </a:extLst>
          </p:cNvPr>
          <p:cNvGrpSpPr/>
          <p:nvPr/>
        </p:nvGrpSpPr>
        <p:grpSpPr>
          <a:xfrm>
            <a:off x="10189848" y="4680009"/>
            <a:ext cx="864460" cy="138499"/>
            <a:chOff x="9604139" y="3378520"/>
            <a:chExt cx="864460" cy="138499"/>
          </a:xfrm>
        </p:grpSpPr>
        <p:cxnSp>
          <p:nvCxnSpPr>
            <p:cNvPr id="581" name="Straight Arrow Connector 580">
              <a:extLst>
                <a:ext uri="{FF2B5EF4-FFF2-40B4-BE49-F238E27FC236}">
                  <a16:creationId xmlns:a16="http://schemas.microsoft.com/office/drawing/2014/main" id="{695A7E2F-FBC6-4F84-9090-F7112642EC4F}"/>
                </a:ext>
              </a:extLst>
            </p:cNvPr>
            <p:cNvCxnSpPr/>
            <p:nvPr/>
          </p:nvCxnSpPr>
          <p:spPr>
            <a:xfrm>
              <a:off x="9604139" y="3466345"/>
              <a:ext cx="35963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oval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2" name="TextBox 581">
              <a:extLst>
                <a:ext uri="{FF2B5EF4-FFF2-40B4-BE49-F238E27FC236}">
                  <a16:creationId xmlns:a16="http://schemas.microsoft.com/office/drawing/2014/main" id="{EB04BF0D-8F85-4673-84F8-E365FBA79A9F}"/>
                </a:ext>
              </a:extLst>
            </p:cNvPr>
            <p:cNvSpPr txBox="1"/>
            <p:nvPr/>
          </p:nvSpPr>
          <p:spPr>
            <a:xfrm>
              <a:off x="10027773" y="3378520"/>
              <a:ext cx="44082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9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ustralia</a:t>
              </a:r>
            </a:p>
          </p:txBody>
        </p:sp>
      </p:grpSp>
      <p:grpSp>
        <p:nvGrpSpPr>
          <p:cNvPr id="606" name="Group 605">
            <a:extLst>
              <a:ext uri="{FF2B5EF4-FFF2-40B4-BE49-F238E27FC236}">
                <a16:creationId xmlns:a16="http://schemas.microsoft.com/office/drawing/2014/main" id="{6BD8362D-FC54-4127-A396-0C1D43D114E7}"/>
              </a:ext>
            </a:extLst>
          </p:cNvPr>
          <p:cNvGrpSpPr/>
          <p:nvPr/>
        </p:nvGrpSpPr>
        <p:grpSpPr>
          <a:xfrm>
            <a:off x="5768009" y="866449"/>
            <a:ext cx="816383" cy="1280161"/>
            <a:chOff x="5383601" y="1114334"/>
            <a:chExt cx="816383" cy="1450729"/>
          </a:xfrm>
        </p:grpSpPr>
        <p:cxnSp>
          <p:nvCxnSpPr>
            <p:cNvPr id="587" name="Straight Arrow Connector 586">
              <a:extLst>
                <a:ext uri="{FF2B5EF4-FFF2-40B4-BE49-F238E27FC236}">
                  <a16:creationId xmlns:a16="http://schemas.microsoft.com/office/drawing/2014/main" id="{99B1B914-360D-4134-ACAE-15878D2C64A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383601" y="1193463"/>
              <a:ext cx="4755" cy="137160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none" w="med" len="med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1" name="TextBox 590">
              <a:extLst>
                <a:ext uri="{FF2B5EF4-FFF2-40B4-BE49-F238E27FC236}">
                  <a16:creationId xmlns:a16="http://schemas.microsoft.com/office/drawing/2014/main" id="{51C545A1-7306-4BD1-B8D6-412D7193ACE1}"/>
                </a:ext>
              </a:extLst>
            </p:cNvPr>
            <p:cNvSpPr txBox="1"/>
            <p:nvPr/>
          </p:nvSpPr>
          <p:spPr>
            <a:xfrm>
              <a:off x="5578019" y="1114334"/>
              <a:ext cx="62196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9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Netherlands</a:t>
              </a:r>
            </a:p>
          </p:txBody>
        </p:sp>
        <p:cxnSp>
          <p:nvCxnSpPr>
            <p:cNvPr id="594" name="Straight Connector 593">
              <a:extLst>
                <a:ext uri="{FF2B5EF4-FFF2-40B4-BE49-F238E27FC236}">
                  <a16:creationId xmlns:a16="http://schemas.microsoft.com/office/drawing/2014/main" id="{03932A0D-C23B-41ED-998A-12C8A8BB6DC6}"/>
                </a:ext>
              </a:extLst>
            </p:cNvPr>
            <p:cNvCxnSpPr>
              <a:cxnSpLocks/>
            </p:cNvCxnSpPr>
            <p:nvPr/>
          </p:nvCxnSpPr>
          <p:spPr>
            <a:xfrm>
              <a:off x="5392454" y="1201001"/>
              <a:ext cx="159438" cy="1"/>
            </a:xfrm>
            <a:prstGeom prst="line">
              <a:avLst/>
            </a:prstGeom>
            <a:ln w="3175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5" name="Group 604">
            <a:extLst>
              <a:ext uri="{FF2B5EF4-FFF2-40B4-BE49-F238E27FC236}">
                <a16:creationId xmlns:a16="http://schemas.microsoft.com/office/drawing/2014/main" id="{8A42727E-69EC-4418-A4FE-C6F38C5B236D}"/>
              </a:ext>
            </a:extLst>
          </p:cNvPr>
          <p:cNvGrpSpPr/>
          <p:nvPr/>
        </p:nvGrpSpPr>
        <p:grpSpPr>
          <a:xfrm>
            <a:off x="5596200" y="687839"/>
            <a:ext cx="1060813" cy="1444870"/>
            <a:chOff x="5570031" y="1358247"/>
            <a:chExt cx="1060813" cy="1444870"/>
          </a:xfrm>
        </p:grpSpPr>
        <p:cxnSp>
          <p:nvCxnSpPr>
            <p:cNvPr id="595" name="Straight Arrow Connector 594">
              <a:extLst>
                <a:ext uri="{FF2B5EF4-FFF2-40B4-BE49-F238E27FC236}">
                  <a16:creationId xmlns:a16="http://schemas.microsoft.com/office/drawing/2014/main" id="{BC48973E-0F43-4CD7-994C-514B4A35BF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70031" y="1431517"/>
              <a:ext cx="4755" cy="137160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none" w="med" len="med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6" name="Straight Connector 595">
              <a:extLst>
                <a:ext uri="{FF2B5EF4-FFF2-40B4-BE49-F238E27FC236}">
                  <a16:creationId xmlns:a16="http://schemas.microsoft.com/office/drawing/2014/main" id="{F67E6082-EC34-41FF-B14E-E17D967961C1}"/>
                </a:ext>
              </a:extLst>
            </p:cNvPr>
            <p:cNvCxnSpPr>
              <a:cxnSpLocks/>
            </p:cNvCxnSpPr>
            <p:nvPr/>
          </p:nvCxnSpPr>
          <p:spPr>
            <a:xfrm>
              <a:off x="5570981" y="1429462"/>
              <a:ext cx="159438" cy="1"/>
            </a:xfrm>
            <a:prstGeom prst="line">
              <a:avLst/>
            </a:prstGeom>
            <a:ln w="3175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7" name="TextBox 596">
              <a:extLst>
                <a:ext uri="{FF2B5EF4-FFF2-40B4-BE49-F238E27FC236}">
                  <a16:creationId xmlns:a16="http://schemas.microsoft.com/office/drawing/2014/main" id="{DC349CD8-FA57-4C76-8521-E5F22372E463}"/>
                </a:ext>
              </a:extLst>
            </p:cNvPr>
            <p:cNvSpPr txBox="1"/>
            <p:nvPr/>
          </p:nvSpPr>
          <p:spPr>
            <a:xfrm>
              <a:off x="5798885" y="1358247"/>
              <a:ext cx="831959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9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United Kingdom</a:t>
              </a:r>
            </a:p>
          </p:txBody>
        </p:sp>
      </p:grpSp>
      <p:grpSp>
        <p:nvGrpSpPr>
          <p:cNvPr id="604" name="Group 603">
            <a:extLst>
              <a:ext uri="{FF2B5EF4-FFF2-40B4-BE49-F238E27FC236}">
                <a16:creationId xmlns:a16="http://schemas.microsoft.com/office/drawing/2014/main" id="{5F0F3943-AD44-4644-B2A3-A0878EFD8CC5}"/>
              </a:ext>
            </a:extLst>
          </p:cNvPr>
          <p:cNvGrpSpPr/>
          <p:nvPr/>
        </p:nvGrpSpPr>
        <p:grpSpPr>
          <a:xfrm>
            <a:off x="3416972" y="2254102"/>
            <a:ext cx="1236284" cy="138499"/>
            <a:chOff x="3416972" y="2184430"/>
            <a:chExt cx="1236284" cy="138499"/>
          </a:xfrm>
        </p:grpSpPr>
        <p:cxnSp>
          <p:nvCxnSpPr>
            <p:cNvPr id="601" name="Straight Arrow Connector 600">
              <a:extLst>
                <a:ext uri="{FF2B5EF4-FFF2-40B4-BE49-F238E27FC236}">
                  <a16:creationId xmlns:a16="http://schemas.microsoft.com/office/drawing/2014/main" id="{D8D977E8-C096-4957-B547-8F2F96200BAB}"/>
                </a:ext>
              </a:extLst>
            </p:cNvPr>
            <p:cNvCxnSpPr/>
            <p:nvPr/>
          </p:nvCxnSpPr>
          <p:spPr>
            <a:xfrm>
              <a:off x="3416972" y="2253680"/>
              <a:ext cx="82296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oval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2" name="TextBox 601">
              <a:extLst>
                <a:ext uri="{FF2B5EF4-FFF2-40B4-BE49-F238E27FC236}">
                  <a16:creationId xmlns:a16="http://schemas.microsoft.com/office/drawing/2014/main" id="{0E11F598-0C07-41E3-A38C-EDBD8573A02F}"/>
                </a:ext>
              </a:extLst>
            </p:cNvPr>
            <p:cNvSpPr txBox="1"/>
            <p:nvPr/>
          </p:nvSpPr>
          <p:spPr>
            <a:xfrm>
              <a:off x="4270138" y="2184430"/>
              <a:ext cx="383118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9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Canada</a:t>
              </a:r>
            </a:p>
          </p:txBody>
        </p:sp>
      </p:grpSp>
      <p:grpSp>
        <p:nvGrpSpPr>
          <p:cNvPr id="653" name="Group 652">
            <a:extLst>
              <a:ext uri="{FF2B5EF4-FFF2-40B4-BE49-F238E27FC236}">
                <a16:creationId xmlns:a16="http://schemas.microsoft.com/office/drawing/2014/main" id="{330B510E-60CA-4200-95D9-10C13777F33B}"/>
              </a:ext>
            </a:extLst>
          </p:cNvPr>
          <p:cNvGrpSpPr/>
          <p:nvPr/>
        </p:nvGrpSpPr>
        <p:grpSpPr>
          <a:xfrm>
            <a:off x="7864784" y="3437002"/>
            <a:ext cx="258229" cy="455453"/>
            <a:chOff x="7864784" y="3437002"/>
            <a:chExt cx="258229" cy="455453"/>
          </a:xfrm>
        </p:grpSpPr>
        <p:cxnSp>
          <p:nvCxnSpPr>
            <p:cNvPr id="584" name="Straight Arrow Connector 583">
              <a:extLst>
                <a:ext uri="{FF2B5EF4-FFF2-40B4-BE49-F238E27FC236}">
                  <a16:creationId xmlns:a16="http://schemas.microsoft.com/office/drawing/2014/main" id="{B31E7377-01F4-4D7A-B350-3762238C2A3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949913" y="3439090"/>
              <a:ext cx="1731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oval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5" name="TextBox 584">
              <a:extLst>
                <a:ext uri="{FF2B5EF4-FFF2-40B4-BE49-F238E27FC236}">
                  <a16:creationId xmlns:a16="http://schemas.microsoft.com/office/drawing/2014/main" id="{689C100C-B909-47A0-9B2F-E19EBF5D97A4}"/>
                </a:ext>
              </a:extLst>
            </p:cNvPr>
            <p:cNvSpPr txBox="1"/>
            <p:nvPr/>
          </p:nvSpPr>
          <p:spPr>
            <a:xfrm>
              <a:off x="7864784" y="3753956"/>
              <a:ext cx="250068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9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ndia</a:t>
              </a:r>
            </a:p>
          </p:txBody>
        </p:sp>
        <p:cxnSp>
          <p:nvCxnSpPr>
            <p:cNvPr id="609" name="Straight Connector 608">
              <a:extLst>
                <a:ext uri="{FF2B5EF4-FFF2-40B4-BE49-F238E27FC236}">
                  <a16:creationId xmlns:a16="http://schemas.microsoft.com/office/drawing/2014/main" id="{BAF2AB9E-AB6C-4D78-BBC1-C9E2E3D61632}"/>
                </a:ext>
              </a:extLst>
            </p:cNvPr>
            <p:cNvCxnSpPr>
              <a:cxnSpLocks/>
            </p:cNvCxnSpPr>
            <p:nvPr/>
          </p:nvCxnSpPr>
          <p:spPr>
            <a:xfrm>
              <a:off x="7940714" y="3437002"/>
              <a:ext cx="4603" cy="282471"/>
            </a:xfrm>
            <a:prstGeom prst="line">
              <a:avLst/>
            </a:prstGeom>
            <a:ln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11" name="Straight Arrow Connector 610">
            <a:extLst>
              <a:ext uri="{FF2B5EF4-FFF2-40B4-BE49-F238E27FC236}">
                <a16:creationId xmlns:a16="http://schemas.microsoft.com/office/drawing/2014/main" id="{C7932A99-A20B-4CB3-A734-51425227E922}"/>
              </a:ext>
            </a:extLst>
          </p:cNvPr>
          <p:cNvCxnSpPr>
            <a:cxnSpLocks/>
          </p:cNvCxnSpPr>
          <p:nvPr/>
        </p:nvCxnSpPr>
        <p:spPr>
          <a:xfrm flipH="1">
            <a:off x="5308431" y="2327931"/>
            <a:ext cx="274320" cy="0"/>
          </a:xfrm>
          <a:prstGeom prst="straightConnector1">
            <a:avLst/>
          </a:prstGeom>
          <a:ln w="3175">
            <a:solidFill>
              <a:schemeClr val="tx1"/>
            </a:solidFill>
            <a:headEnd type="oval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5" name="TextBox 614">
            <a:extLst>
              <a:ext uri="{FF2B5EF4-FFF2-40B4-BE49-F238E27FC236}">
                <a16:creationId xmlns:a16="http://schemas.microsoft.com/office/drawing/2014/main" id="{3D5E4C04-62BE-4A95-B1BE-2A73EA19D338}"/>
              </a:ext>
            </a:extLst>
          </p:cNvPr>
          <p:cNvSpPr txBox="1"/>
          <p:nvPr/>
        </p:nvSpPr>
        <p:spPr>
          <a:xfrm>
            <a:off x="4944827" y="2246358"/>
            <a:ext cx="33502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9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rance</a:t>
            </a:r>
          </a:p>
        </p:txBody>
      </p:sp>
      <p:grpSp>
        <p:nvGrpSpPr>
          <p:cNvPr id="624" name="Group 623">
            <a:extLst>
              <a:ext uri="{FF2B5EF4-FFF2-40B4-BE49-F238E27FC236}">
                <a16:creationId xmlns:a16="http://schemas.microsoft.com/office/drawing/2014/main" id="{05D6452D-4C49-45F4-B5C4-4892D8BC6448}"/>
              </a:ext>
            </a:extLst>
          </p:cNvPr>
          <p:cNvGrpSpPr/>
          <p:nvPr/>
        </p:nvGrpSpPr>
        <p:grpSpPr>
          <a:xfrm>
            <a:off x="2480247" y="4188983"/>
            <a:ext cx="736569" cy="138499"/>
            <a:chOff x="2480247" y="4188983"/>
            <a:chExt cx="736569" cy="138499"/>
          </a:xfrm>
        </p:grpSpPr>
        <p:cxnSp>
          <p:nvCxnSpPr>
            <p:cNvPr id="617" name="Straight Arrow Connector 616">
              <a:extLst>
                <a:ext uri="{FF2B5EF4-FFF2-40B4-BE49-F238E27FC236}">
                  <a16:creationId xmlns:a16="http://schemas.microsoft.com/office/drawing/2014/main" id="{D41BC386-5806-4ED4-A99C-D9A2E5986E19}"/>
                </a:ext>
              </a:extLst>
            </p:cNvPr>
            <p:cNvCxnSpPr/>
            <p:nvPr/>
          </p:nvCxnSpPr>
          <p:spPr>
            <a:xfrm flipH="1">
              <a:off x="2792711" y="4265253"/>
              <a:ext cx="424105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oval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8" name="TextBox 617">
              <a:extLst>
                <a:ext uri="{FF2B5EF4-FFF2-40B4-BE49-F238E27FC236}">
                  <a16:creationId xmlns:a16="http://schemas.microsoft.com/office/drawing/2014/main" id="{EDC3B0E9-2550-4DDA-8744-F839E9665052}"/>
                </a:ext>
              </a:extLst>
            </p:cNvPr>
            <p:cNvSpPr txBox="1"/>
            <p:nvPr/>
          </p:nvSpPr>
          <p:spPr>
            <a:xfrm>
              <a:off x="2480247" y="4188983"/>
              <a:ext cx="230832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9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eru</a:t>
              </a:r>
            </a:p>
          </p:txBody>
        </p:sp>
      </p:grpSp>
      <p:grpSp>
        <p:nvGrpSpPr>
          <p:cNvPr id="625" name="Group 624">
            <a:extLst>
              <a:ext uri="{FF2B5EF4-FFF2-40B4-BE49-F238E27FC236}">
                <a16:creationId xmlns:a16="http://schemas.microsoft.com/office/drawing/2014/main" id="{FD04319C-CC21-4A5E-98BA-8588258B9C24}"/>
              </a:ext>
            </a:extLst>
          </p:cNvPr>
          <p:cNvGrpSpPr/>
          <p:nvPr/>
        </p:nvGrpSpPr>
        <p:grpSpPr>
          <a:xfrm>
            <a:off x="2702593" y="4880519"/>
            <a:ext cx="736569" cy="138499"/>
            <a:chOff x="2480247" y="4188983"/>
            <a:chExt cx="736569" cy="138499"/>
          </a:xfrm>
        </p:grpSpPr>
        <p:cxnSp>
          <p:nvCxnSpPr>
            <p:cNvPr id="626" name="Straight Arrow Connector 625">
              <a:extLst>
                <a:ext uri="{FF2B5EF4-FFF2-40B4-BE49-F238E27FC236}">
                  <a16:creationId xmlns:a16="http://schemas.microsoft.com/office/drawing/2014/main" id="{6F22ECB9-6602-43B7-B77C-9A4CAAA9D885}"/>
                </a:ext>
              </a:extLst>
            </p:cNvPr>
            <p:cNvCxnSpPr/>
            <p:nvPr/>
          </p:nvCxnSpPr>
          <p:spPr>
            <a:xfrm flipH="1">
              <a:off x="2792711" y="4265253"/>
              <a:ext cx="424105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oval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7" name="TextBox 626">
              <a:extLst>
                <a:ext uri="{FF2B5EF4-FFF2-40B4-BE49-F238E27FC236}">
                  <a16:creationId xmlns:a16="http://schemas.microsoft.com/office/drawing/2014/main" id="{9957BB7F-6D4E-4BB9-927B-D8CE7CE8B518}"/>
                </a:ext>
              </a:extLst>
            </p:cNvPr>
            <p:cNvSpPr txBox="1"/>
            <p:nvPr/>
          </p:nvSpPr>
          <p:spPr>
            <a:xfrm>
              <a:off x="2480247" y="4188983"/>
              <a:ext cx="253274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9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Chile</a:t>
              </a:r>
            </a:p>
          </p:txBody>
        </p:sp>
      </p:grpSp>
      <p:grpSp>
        <p:nvGrpSpPr>
          <p:cNvPr id="628" name="Group 627">
            <a:extLst>
              <a:ext uri="{FF2B5EF4-FFF2-40B4-BE49-F238E27FC236}">
                <a16:creationId xmlns:a16="http://schemas.microsoft.com/office/drawing/2014/main" id="{7EA61AFF-B917-40DA-B10E-F2EBE6E57D29}"/>
              </a:ext>
            </a:extLst>
          </p:cNvPr>
          <p:cNvGrpSpPr/>
          <p:nvPr/>
        </p:nvGrpSpPr>
        <p:grpSpPr>
          <a:xfrm>
            <a:off x="2319301" y="3732253"/>
            <a:ext cx="963003" cy="138499"/>
            <a:chOff x="2253813" y="4188983"/>
            <a:chExt cx="963003" cy="138499"/>
          </a:xfrm>
        </p:grpSpPr>
        <p:cxnSp>
          <p:nvCxnSpPr>
            <p:cNvPr id="629" name="Straight Arrow Connector 628">
              <a:extLst>
                <a:ext uri="{FF2B5EF4-FFF2-40B4-BE49-F238E27FC236}">
                  <a16:creationId xmlns:a16="http://schemas.microsoft.com/office/drawing/2014/main" id="{AC1B7169-9AAB-44C0-9170-EF18F3877E79}"/>
                </a:ext>
              </a:extLst>
            </p:cNvPr>
            <p:cNvCxnSpPr/>
            <p:nvPr/>
          </p:nvCxnSpPr>
          <p:spPr>
            <a:xfrm flipH="1">
              <a:off x="2792711" y="4265253"/>
              <a:ext cx="424105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oval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0" name="TextBox 629">
              <a:extLst>
                <a:ext uri="{FF2B5EF4-FFF2-40B4-BE49-F238E27FC236}">
                  <a16:creationId xmlns:a16="http://schemas.microsoft.com/office/drawing/2014/main" id="{9061BDAA-4A3F-4ED5-AD16-5326A7D7CC1F}"/>
                </a:ext>
              </a:extLst>
            </p:cNvPr>
            <p:cNvSpPr txBox="1"/>
            <p:nvPr/>
          </p:nvSpPr>
          <p:spPr>
            <a:xfrm>
              <a:off x="2253813" y="4188983"/>
              <a:ext cx="487313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9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Colombia</a:t>
              </a:r>
            </a:p>
          </p:txBody>
        </p:sp>
      </p:grpSp>
      <p:grpSp>
        <p:nvGrpSpPr>
          <p:cNvPr id="631" name="Group 630">
            <a:extLst>
              <a:ext uri="{FF2B5EF4-FFF2-40B4-BE49-F238E27FC236}">
                <a16:creationId xmlns:a16="http://schemas.microsoft.com/office/drawing/2014/main" id="{07494DD7-20F2-416E-99DE-8654783FF5A9}"/>
              </a:ext>
            </a:extLst>
          </p:cNvPr>
          <p:cNvGrpSpPr/>
          <p:nvPr/>
        </p:nvGrpSpPr>
        <p:grpSpPr>
          <a:xfrm>
            <a:off x="1573958" y="3109216"/>
            <a:ext cx="841077" cy="138499"/>
            <a:chOff x="2375739" y="4188983"/>
            <a:chExt cx="841077" cy="138499"/>
          </a:xfrm>
        </p:grpSpPr>
        <p:cxnSp>
          <p:nvCxnSpPr>
            <p:cNvPr id="632" name="Straight Arrow Connector 631">
              <a:extLst>
                <a:ext uri="{FF2B5EF4-FFF2-40B4-BE49-F238E27FC236}">
                  <a16:creationId xmlns:a16="http://schemas.microsoft.com/office/drawing/2014/main" id="{246A7F03-3DD1-46DB-A6C1-8592564C6DB3}"/>
                </a:ext>
              </a:extLst>
            </p:cNvPr>
            <p:cNvCxnSpPr/>
            <p:nvPr/>
          </p:nvCxnSpPr>
          <p:spPr>
            <a:xfrm flipH="1">
              <a:off x="2792711" y="4265253"/>
              <a:ext cx="424105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oval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3" name="TextBox 632">
              <a:extLst>
                <a:ext uri="{FF2B5EF4-FFF2-40B4-BE49-F238E27FC236}">
                  <a16:creationId xmlns:a16="http://schemas.microsoft.com/office/drawing/2014/main" id="{AB471C68-45A2-497C-9CDA-24E6AF381D1E}"/>
                </a:ext>
              </a:extLst>
            </p:cNvPr>
            <p:cNvSpPr txBox="1"/>
            <p:nvPr/>
          </p:nvSpPr>
          <p:spPr>
            <a:xfrm>
              <a:off x="2375739" y="4188983"/>
              <a:ext cx="36548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9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Mexico</a:t>
              </a:r>
            </a:p>
          </p:txBody>
        </p:sp>
      </p:grpSp>
      <p:grpSp>
        <p:nvGrpSpPr>
          <p:cNvPr id="634" name="Group 633">
            <a:extLst>
              <a:ext uri="{FF2B5EF4-FFF2-40B4-BE49-F238E27FC236}">
                <a16:creationId xmlns:a16="http://schemas.microsoft.com/office/drawing/2014/main" id="{A796139F-EBD0-4ACE-B49C-6D80558ED771}"/>
              </a:ext>
            </a:extLst>
          </p:cNvPr>
          <p:cNvGrpSpPr/>
          <p:nvPr/>
        </p:nvGrpSpPr>
        <p:grpSpPr>
          <a:xfrm>
            <a:off x="7630516" y="1109453"/>
            <a:ext cx="549455" cy="713350"/>
            <a:chOff x="5570031" y="1358247"/>
            <a:chExt cx="549455" cy="713350"/>
          </a:xfrm>
        </p:grpSpPr>
        <p:cxnSp>
          <p:nvCxnSpPr>
            <p:cNvPr id="635" name="Straight Arrow Connector 634">
              <a:extLst>
                <a:ext uri="{FF2B5EF4-FFF2-40B4-BE49-F238E27FC236}">
                  <a16:creationId xmlns:a16="http://schemas.microsoft.com/office/drawing/2014/main" id="{58BA688D-63BC-4535-A50B-A9A79CE1398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70031" y="1431517"/>
              <a:ext cx="4755" cy="64008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none" w="med" len="med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6" name="Straight Connector 635">
              <a:extLst>
                <a:ext uri="{FF2B5EF4-FFF2-40B4-BE49-F238E27FC236}">
                  <a16:creationId xmlns:a16="http://schemas.microsoft.com/office/drawing/2014/main" id="{4CF06042-1593-4161-8D40-42E96DECF69C}"/>
                </a:ext>
              </a:extLst>
            </p:cNvPr>
            <p:cNvCxnSpPr>
              <a:cxnSpLocks/>
            </p:cNvCxnSpPr>
            <p:nvPr/>
          </p:nvCxnSpPr>
          <p:spPr>
            <a:xfrm>
              <a:off x="5570981" y="1429462"/>
              <a:ext cx="159438" cy="1"/>
            </a:xfrm>
            <a:prstGeom prst="line">
              <a:avLst/>
            </a:prstGeom>
            <a:ln w="3175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7" name="TextBox 636">
              <a:extLst>
                <a:ext uri="{FF2B5EF4-FFF2-40B4-BE49-F238E27FC236}">
                  <a16:creationId xmlns:a16="http://schemas.microsoft.com/office/drawing/2014/main" id="{A3641FAA-0E78-4159-ABB9-2F5A83014B86}"/>
                </a:ext>
              </a:extLst>
            </p:cNvPr>
            <p:cNvSpPr txBox="1"/>
            <p:nvPr/>
          </p:nvSpPr>
          <p:spPr>
            <a:xfrm>
              <a:off x="5798885" y="1358247"/>
              <a:ext cx="32060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9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Russia</a:t>
              </a:r>
            </a:p>
          </p:txBody>
        </p:sp>
      </p:grpSp>
      <p:grpSp>
        <p:nvGrpSpPr>
          <p:cNvPr id="638" name="Group 637">
            <a:extLst>
              <a:ext uri="{FF2B5EF4-FFF2-40B4-BE49-F238E27FC236}">
                <a16:creationId xmlns:a16="http://schemas.microsoft.com/office/drawing/2014/main" id="{107A42B4-C97F-4A2E-B79E-44103432076F}"/>
              </a:ext>
            </a:extLst>
          </p:cNvPr>
          <p:cNvGrpSpPr/>
          <p:nvPr/>
        </p:nvGrpSpPr>
        <p:grpSpPr>
          <a:xfrm>
            <a:off x="4722017" y="2034300"/>
            <a:ext cx="691292" cy="138499"/>
            <a:chOff x="2375739" y="4188983"/>
            <a:chExt cx="691292" cy="138499"/>
          </a:xfrm>
        </p:grpSpPr>
        <p:cxnSp>
          <p:nvCxnSpPr>
            <p:cNvPr id="639" name="Straight Arrow Connector 638">
              <a:extLst>
                <a:ext uri="{FF2B5EF4-FFF2-40B4-BE49-F238E27FC236}">
                  <a16:creationId xmlns:a16="http://schemas.microsoft.com/office/drawing/2014/main" id="{367E33E2-FE0F-4402-8444-53D16F71C8AC}"/>
                </a:ext>
              </a:extLst>
            </p:cNvPr>
            <p:cNvCxnSpPr/>
            <p:nvPr/>
          </p:nvCxnSpPr>
          <p:spPr>
            <a:xfrm flipH="1">
              <a:off x="2792711" y="4265253"/>
              <a:ext cx="274320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oval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0" name="TextBox 639">
              <a:extLst>
                <a:ext uri="{FF2B5EF4-FFF2-40B4-BE49-F238E27FC236}">
                  <a16:creationId xmlns:a16="http://schemas.microsoft.com/office/drawing/2014/main" id="{2B34F524-6465-4165-8709-067B577A6AE6}"/>
                </a:ext>
              </a:extLst>
            </p:cNvPr>
            <p:cNvSpPr txBox="1"/>
            <p:nvPr/>
          </p:nvSpPr>
          <p:spPr>
            <a:xfrm>
              <a:off x="2375739" y="4188983"/>
              <a:ext cx="351058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9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reland</a:t>
              </a:r>
            </a:p>
          </p:txBody>
        </p:sp>
      </p:grpSp>
      <p:grpSp>
        <p:nvGrpSpPr>
          <p:cNvPr id="641" name="Group 640">
            <a:extLst>
              <a:ext uri="{FF2B5EF4-FFF2-40B4-BE49-F238E27FC236}">
                <a16:creationId xmlns:a16="http://schemas.microsoft.com/office/drawing/2014/main" id="{514BAE78-2EC6-4E75-B3C8-7D3738535B95}"/>
              </a:ext>
            </a:extLst>
          </p:cNvPr>
          <p:cNvGrpSpPr/>
          <p:nvPr/>
        </p:nvGrpSpPr>
        <p:grpSpPr>
          <a:xfrm>
            <a:off x="5920905" y="1028427"/>
            <a:ext cx="654480" cy="1097280"/>
            <a:chOff x="5383601" y="1094596"/>
            <a:chExt cx="654480" cy="1450728"/>
          </a:xfrm>
        </p:grpSpPr>
        <p:cxnSp>
          <p:nvCxnSpPr>
            <p:cNvPr id="642" name="Straight Arrow Connector 641">
              <a:extLst>
                <a:ext uri="{FF2B5EF4-FFF2-40B4-BE49-F238E27FC236}">
                  <a16:creationId xmlns:a16="http://schemas.microsoft.com/office/drawing/2014/main" id="{2F2E5220-FCCF-4774-9191-5BA1324B9F3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383601" y="1173724"/>
              <a:ext cx="4755" cy="137160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none" w="med" len="med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3" name="TextBox 642">
              <a:extLst>
                <a:ext uri="{FF2B5EF4-FFF2-40B4-BE49-F238E27FC236}">
                  <a16:creationId xmlns:a16="http://schemas.microsoft.com/office/drawing/2014/main" id="{A6C3BC80-56B3-41A4-AC3A-47AD2544FB87}"/>
                </a:ext>
              </a:extLst>
            </p:cNvPr>
            <p:cNvSpPr txBox="1"/>
            <p:nvPr/>
          </p:nvSpPr>
          <p:spPr>
            <a:xfrm>
              <a:off x="5578019" y="1094596"/>
              <a:ext cx="460062" cy="18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9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Germany</a:t>
              </a:r>
            </a:p>
          </p:txBody>
        </p:sp>
        <p:cxnSp>
          <p:nvCxnSpPr>
            <p:cNvPr id="644" name="Straight Connector 643">
              <a:extLst>
                <a:ext uri="{FF2B5EF4-FFF2-40B4-BE49-F238E27FC236}">
                  <a16:creationId xmlns:a16="http://schemas.microsoft.com/office/drawing/2014/main" id="{91E57E63-BD61-4639-BA2F-2CEA2B1905AD}"/>
                </a:ext>
              </a:extLst>
            </p:cNvPr>
            <p:cNvCxnSpPr>
              <a:cxnSpLocks/>
            </p:cNvCxnSpPr>
            <p:nvPr/>
          </p:nvCxnSpPr>
          <p:spPr>
            <a:xfrm>
              <a:off x="5392454" y="1169749"/>
              <a:ext cx="159438" cy="1"/>
            </a:xfrm>
            <a:prstGeom prst="line">
              <a:avLst/>
            </a:prstGeom>
            <a:ln w="3175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5" name="Group 644">
            <a:extLst>
              <a:ext uri="{FF2B5EF4-FFF2-40B4-BE49-F238E27FC236}">
                <a16:creationId xmlns:a16="http://schemas.microsoft.com/office/drawing/2014/main" id="{5F6729AE-44EB-4B22-AA96-83D523555F84}"/>
              </a:ext>
            </a:extLst>
          </p:cNvPr>
          <p:cNvGrpSpPr/>
          <p:nvPr/>
        </p:nvGrpSpPr>
        <p:grpSpPr>
          <a:xfrm>
            <a:off x="6014093" y="1184134"/>
            <a:ext cx="593566" cy="731520"/>
            <a:chOff x="5383601" y="1094596"/>
            <a:chExt cx="593566" cy="1450728"/>
          </a:xfrm>
        </p:grpSpPr>
        <p:cxnSp>
          <p:nvCxnSpPr>
            <p:cNvPr id="646" name="Straight Arrow Connector 645">
              <a:extLst>
                <a:ext uri="{FF2B5EF4-FFF2-40B4-BE49-F238E27FC236}">
                  <a16:creationId xmlns:a16="http://schemas.microsoft.com/office/drawing/2014/main" id="{C6A5838E-B2B2-4EB4-B68B-9CB32DDF805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383601" y="1173724"/>
              <a:ext cx="4755" cy="137160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none" w="med" len="med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7" name="TextBox 646">
              <a:extLst>
                <a:ext uri="{FF2B5EF4-FFF2-40B4-BE49-F238E27FC236}">
                  <a16:creationId xmlns:a16="http://schemas.microsoft.com/office/drawing/2014/main" id="{F398844E-2611-400A-9A6E-B14176A14A92}"/>
                </a:ext>
              </a:extLst>
            </p:cNvPr>
            <p:cNvSpPr txBox="1"/>
            <p:nvPr/>
          </p:nvSpPr>
          <p:spPr>
            <a:xfrm>
              <a:off x="5578019" y="1094596"/>
              <a:ext cx="399148" cy="2746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9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weden</a:t>
              </a:r>
            </a:p>
          </p:txBody>
        </p:sp>
        <p:cxnSp>
          <p:nvCxnSpPr>
            <p:cNvPr id="648" name="Straight Connector 647">
              <a:extLst>
                <a:ext uri="{FF2B5EF4-FFF2-40B4-BE49-F238E27FC236}">
                  <a16:creationId xmlns:a16="http://schemas.microsoft.com/office/drawing/2014/main" id="{3EF48141-B0C4-4EA2-878C-6A2009AB9BCE}"/>
                </a:ext>
              </a:extLst>
            </p:cNvPr>
            <p:cNvCxnSpPr>
              <a:cxnSpLocks/>
            </p:cNvCxnSpPr>
            <p:nvPr/>
          </p:nvCxnSpPr>
          <p:spPr>
            <a:xfrm>
              <a:off x="5392454" y="1181263"/>
              <a:ext cx="159438" cy="1"/>
            </a:xfrm>
            <a:prstGeom prst="line">
              <a:avLst/>
            </a:prstGeom>
            <a:ln w="3175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9" name="Group 648">
            <a:extLst>
              <a:ext uri="{FF2B5EF4-FFF2-40B4-BE49-F238E27FC236}">
                <a16:creationId xmlns:a16="http://schemas.microsoft.com/office/drawing/2014/main" id="{B23DF38B-8597-45BA-9926-54DD7F5D3AF0}"/>
              </a:ext>
            </a:extLst>
          </p:cNvPr>
          <p:cNvGrpSpPr/>
          <p:nvPr/>
        </p:nvGrpSpPr>
        <p:grpSpPr>
          <a:xfrm>
            <a:off x="6200735" y="1345379"/>
            <a:ext cx="545476" cy="766356"/>
            <a:chOff x="5383601" y="1025512"/>
            <a:chExt cx="545476" cy="1519812"/>
          </a:xfrm>
        </p:grpSpPr>
        <p:cxnSp>
          <p:nvCxnSpPr>
            <p:cNvPr id="650" name="Straight Arrow Connector 649">
              <a:extLst>
                <a:ext uri="{FF2B5EF4-FFF2-40B4-BE49-F238E27FC236}">
                  <a16:creationId xmlns:a16="http://schemas.microsoft.com/office/drawing/2014/main" id="{A792EC8C-0019-4BAA-9DEE-6B4F4CB3F31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383601" y="1173724"/>
              <a:ext cx="4755" cy="137160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none" w="med" len="med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1" name="TextBox 650">
              <a:extLst>
                <a:ext uri="{FF2B5EF4-FFF2-40B4-BE49-F238E27FC236}">
                  <a16:creationId xmlns:a16="http://schemas.microsoft.com/office/drawing/2014/main" id="{B25702DD-09A5-447E-B201-9198D9BF69B7}"/>
                </a:ext>
              </a:extLst>
            </p:cNvPr>
            <p:cNvSpPr txBox="1"/>
            <p:nvPr/>
          </p:nvSpPr>
          <p:spPr>
            <a:xfrm>
              <a:off x="5578019" y="1025512"/>
              <a:ext cx="351058" cy="27466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9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oland</a:t>
              </a:r>
            </a:p>
          </p:txBody>
        </p:sp>
        <p:cxnSp>
          <p:nvCxnSpPr>
            <p:cNvPr id="652" name="Straight Connector 651">
              <a:extLst>
                <a:ext uri="{FF2B5EF4-FFF2-40B4-BE49-F238E27FC236}">
                  <a16:creationId xmlns:a16="http://schemas.microsoft.com/office/drawing/2014/main" id="{F99F37BB-BBA3-4FC4-B834-E788DE70F3FB}"/>
                </a:ext>
              </a:extLst>
            </p:cNvPr>
            <p:cNvCxnSpPr>
              <a:cxnSpLocks/>
            </p:cNvCxnSpPr>
            <p:nvPr/>
          </p:nvCxnSpPr>
          <p:spPr>
            <a:xfrm>
              <a:off x="5392454" y="1163991"/>
              <a:ext cx="159438" cy="2"/>
            </a:xfrm>
            <a:prstGeom prst="line">
              <a:avLst/>
            </a:prstGeom>
            <a:ln w="3175"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4" name="Group 653">
            <a:extLst>
              <a:ext uri="{FF2B5EF4-FFF2-40B4-BE49-F238E27FC236}">
                <a16:creationId xmlns:a16="http://schemas.microsoft.com/office/drawing/2014/main" id="{C514F0CF-C4FB-4C19-8503-497ABB0F5F15}"/>
              </a:ext>
            </a:extLst>
          </p:cNvPr>
          <p:cNvGrpSpPr/>
          <p:nvPr/>
        </p:nvGrpSpPr>
        <p:grpSpPr>
          <a:xfrm>
            <a:off x="8775001" y="3875698"/>
            <a:ext cx="516167" cy="455453"/>
            <a:chOff x="7864784" y="3437002"/>
            <a:chExt cx="516167" cy="455453"/>
          </a:xfrm>
        </p:grpSpPr>
        <p:cxnSp>
          <p:nvCxnSpPr>
            <p:cNvPr id="655" name="Straight Arrow Connector 654">
              <a:extLst>
                <a:ext uri="{FF2B5EF4-FFF2-40B4-BE49-F238E27FC236}">
                  <a16:creationId xmlns:a16="http://schemas.microsoft.com/office/drawing/2014/main" id="{ECE87B35-308D-4F08-AF9F-B21379CCE50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949913" y="3439090"/>
              <a:ext cx="1731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oval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6" name="TextBox 655">
              <a:extLst>
                <a:ext uri="{FF2B5EF4-FFF2-40B4-BE49-F238E27FC236}">
                  <a16:creationId xmlns:a16="http://schemas.microsoft.com/office/drawing/2014/main" id="{31320C9E-140D-4120-A997-48E66DE27096}"/>
                </a:ext>
              </a:extLst>
            </p:cNvPr>
            <p:cNvSpPr txBox="1"/>
            <p:nvPr/>
          </p:nvSpPr>
          <p:spPr>
            <a:xfrm>
              <a:off x="7864784" y="3753956"/>
              <a:ext cx="51616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9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ingapore</a:t>
              </a:r>
            </a:p>
          </p:txBody>
        </p:sp>
        <p:cxnSp>
          <p:nvCxnSpPr>
            <p:cNvPr id="657" name="Straight Connector 656">
              <a:extLst>
                <a:ext uri="{FF2B5EF4-FFF2-40B4-BE49-F238E27FC236}">
                  <a16:creationId xmlns:a16="http://schemas.microsoft.com/office/drawing/2014/main" id="{57D6BCFE-12AC-4494-8B43-D86D23618397}"/>
                </a:ext>
              </a:extLst>
            </p:cNvPr>
            <p:cNvCxnSpPr>
              <a:cxnSpLocks/>
            </p:cNvCxnSpPr>
            <p:nvPr/>
          </p:nvCxnSpPr>
          <p:spPr>
            <a:xfrm>
              <a:off x="7940714" y="3437002"/>
              <a:ext cx="4603" cy="282471"/>
            </a:xfrm>
            <a:prstGeom prst="line">
              <a:avLst/>
            </a:prstGeom>
            <a:ln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5" name="Group 554">
            <a:extLst>
              <a:ext uri="{FF2B5EF4-FFF2-40B4-BE49-F238E27FC236}">
                <a16:creationId xmlns:a16="http://schemas.microsoft.com/office/drawing/2014/main" id="{6B434498-BD0D-4C24-8215-C88D1E114EF9}"/>
              </a:ext>
            </a:extLst>
          </p:cNvPr>
          <p:cNvGrpSpPr/>
          <p:nvPr/>
        </p:nvGrpSpPr>
        <p:grpSpPr>
          <a:xfrm>
            <a:off x="4614450" y="2286000"/>
            <a:ext cx="1605072" cy="610225"/>
            <a:chOff x="4614450" y="2286000"/>
            <a:chExt cx="1605072" cy="610225"/>
          </a:xfrm>
        </p:grpSpPr>
        <p:sp>
          <p:nvSpPr>
            <p:cNvPr id="620" name="TextBox 619">
              <a:extLst>
                <a:ext uri="{FF2B5EF4-FFF2-40B4-BE49-F238E27FC236}">
                  <a16:creationId xmlns:a16="http://schemas.microsoft.com/office/drawing/2014/main" id="{8353AA23-CB89-4D21-B805-775B86255283}"/>
                </a:ext>
              </a:extLst>
            </p:cNvPr>
            <p:cNvSpPr txBox="1"/>
            <p:nvPr/>
          </p:nvSpPr>
          <p:spPr>
            <a:xfrm>
              <a:off x="4614450" y="2757726"/>
              <a:ext cx="436017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9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Hungary</a:t>
              </a:r>
            </a:p>
          </p:txBody>
        </p:sp>
        <p:cxnSp>
          <p:nvCxnSpPr>
            <p:cNvPr id="659" name="Straight Arrow Connector 658">
              <a:extLst>
                <a:ext uri="{FF2B5EF4-FFF2-40B4-BE49-F238E27FC236}">
                  <a16:creationId xmlns:a16="http://schemas.microsoft.com/office/drawing/2014/main" id="{CE5E46CF-FDCE-4D48-A013-599333E6D5D6}"/>
                </a:ext>
              </a:extLst>
            </p:cNvPr>
            <p:cNvCxnSpPr/>
            <p:nvPr/>
          </p:nvCxnSpPr>
          <p:spPr>
            <a:xfrm>
              <a:off x="6219522" y="2286000"/>
              <a:ext cx="0" cy="548640"/>
            </a:xfrm>
            <a:prstGeom prst="straightConnector1">
              <a:avLst/>
            </a:prstGeom>
            <a:ln>
              <a:solidFill>
                <a:schemeClr val="tx1"/>
              </a:solidFill>
              <a:headEnd type="oval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1" name="Straight Connector 660">
              <a:extLst>
                <a:ext uri="{FF2B5EF4-FFF2-40B4-BE49-F238E27FC236}">
                  <a16:creationId xmlns:a16="http://schemas.microsoft.com/office/drawing/2014/main" id="{00B58D36-1F76-4B17-931B-779872EBF30D}"/>
                </a:ext>
              </a:extLst>
            </p:cNvPr>
            <p:cNvCxnSpPr/>
            <p:nvPr/>
          </p:nvCxnSpPr>
          <p:spPr>
            <a:xfrm>
              <a:off x="5100666" y="2822652"/>
              <a:ext cx="1115850" cy="10221"/>
            </a:xfrm>
            <a:prstGeom prst="line">
              <a:avLst/>
            </a:prstGeom>
            <a:ln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BA85E92B-4384-4D78-9337-B163E655AFEF}"/>
              </a:ext>
            </a:extLst>
          </p:cNvPr>
          <p:cNvGrpSpPr/>
          <p:nvPr/>
        </p:nvGrpSpPr>
        <p:grpSpPr>
          <a:xfrm>
            <a:off x="4794899" y="2447520"/>
            <a:ext cx="1239519" cy="230162"/>
            <a:chOff x="4794899" y="2447520"/>
            <a:chExt cx="1239519" cy="230162"/>
          </a:xfrm>
        </p:grpSpPr>
        <p:sp>
          <p:nvSpPr>
            <p:cNvPr id="664" name="TextBox 663">
              <a:extLst>
                <a:ext uri="{FF2B5EF4-FFF2-40B4-BE49-F238E27FC236}">
                  <a16:creationId xmlns:a16="http://schemas.microsoft.com/office/drawing/2014/main" id="{08317AFB-03C8-42BD-B32F-7AB46F94B33B}"/>
                </a:ext>
              </a:extLst>
            </p:cNvPr>
            <p:cNvSpPr txBox="1"/>
            <p:nvPr/>
          </p:nvSpPr>
          <p:spPr>
            <a:xfrm>
              <a:off x="4794899" y="2539183"/>
              <a:ext cx="21159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9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taly</a:t>
              </a:r>
            </a:p>
          </p:txBody>
        </p:sp>
        <p:cxnSp>
          <p:nvCxnSpPr>
            <p:cNvPr id="665" name="Straight Arrow Connector 664">
              <a:extLst>
                <a:ext uri="{FF2B5EF4-FFF2-40B4-BE49-F238E27FC236}">
                  <a16:creationId xmlns:a16="http://schemas.microsoft.com/office/drawing/2014/main" id="{1D3EA9BE-58C7-45DC-82EA-5FE4AC641332}"/>
                </a:ext>
              </a:extLst>
            </p:cNvPr>
            <p:cNvCxnSpPr/>
            <p:nvPr/>
          </p:nvCxnSpPr>
          <p:spPr>
            <a:xfrm>
              <a:off x="6034418" y="2447520"/>
              <a:ext cx="0" cy="182880"/>
            </a:xfrm>
            <a:prstGeom prst="straightConnector1">
              <a:avLst/>
            </a:prstGeom>
            <a:ln>
              <a:solidFill>
                <a:schemeClr val="tx1"/>
              </a:solidFill>
              <a:headEnd type="oval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6" name="Straight Connector 665">
              <a:extLst>
                <a:ext uri="{FF2B5EF4-FFF2-40B4-BE49-F238E27FC236}">
                  <a16:creationId xmlns:a16="http://schemas.microsoft.com/office/drawing/2014/main" id="{B350CD7F-1324-43AE-B305-4FD6B022BDD7}"/>
                </a:ext>
              </a:extLst>
            </p:cNvPr>
            <p:cNvCxnSpPr/>
            <p:nvPr/>
          </p:nvCxnSpPr>
          <p:spPr>
            <a:xfrm>
              <a:off x="5078311" y="2621456"/>
              <a:ext cx="953539" cy="5268"/>
            </a:xfrm>
            <a:prstGeom prst="line">
              <a:avLst/>
            </a:prstGeom>
            <a:ln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1" name="TextBox 620">
            <a:extLst>
              <a:ext uri="{FF2B5EF4-FFF2-40B4-BE49-F238E27FC236}">
                <a16:creationId xmlns:a16="http://schemas.microsoft.com/office/drawing/2014/main" id="{F57FEBB1-0D98-4351-AFA7-E539D166425B}"/>
              </a:ext>
            </a:extLst>
          </p:cNvPr>
          <p:cNvSpPr txBox="1"/>
          <p:nvPr/>
        </p:nvSpPr>
        <p:spPr>
          <a:xfrm>
            <a:off x="8050189" y="5972854"/>
            <a:ext cx="3055645" cy="3639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Timing: April 23-May 8, 2021</a:t>
            </a:r>
          </a:p>
        </p:txBody>
      </p:sp>
    </p:spTree>
    <p:extLst>
      <p:ext uri="{BB962C8B-B14F-4D97-AF65-F5344CB8AC3E}">
        <p14:creationId xmlns:p14="http://schemas.microsoft.com/office/powerpoint/2010/main" val="1546670389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119F53-E862-4C0B-89D0-B4741CE82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1168"/>
            <a:ext cx="10430257" cy="584775"/>
          </a:xfrm>
        </p:spPr>
        <p:txBody>
          <a:bodyPr/>
          <a:lstStyle/>
          <a:p>
            <a:r>
              <a:rPr lang="en-US" sz="2400"/>
              <a:t>Universal agreement about the need for better online civility education</a:t>
            </a:r>
            <a:br>
              <a:rPr lang="en-US" sz="2400"/>
            </a:br>
            <a:r>
              <a:rPr lang="en-US" sz="1400"/>
              <a:t>Strongly agree = 65%, about 20 points higher than any of the other statements</a:t>
            </a:r>
          </a:p>
        </p:txBody>
      </p:sp>
      <p:sp>
        <p:nvSpPr>
          <p:cNvPr id="4" name="graduate" title="Icon of a graduation cap">
            <a:extLst>
              <a:ext uri="{FF2B5EF4-FFF2-40B4-BE49-F238E27FC236}">
                <a16:creationId xmlns:a16="http://schemas.microsoft.com/office/drawing/2014/main" id="{F9F079A8-5F0E-4CA5-8B88-F6D54C8ACDC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30128" y="1766856"/>
            <a:ext cx="2131945" cy="1828800"/>
          </a:xfrm>
          <a:custGeom>
            <a:avLst/>
            <a:gdLst>
              <a:gd name="T0" fmla="*/ 103 w 312"/>
              <a:gd name="T1" fmla="*/ 32 h 268"/>
              <a:gd name="T2" fmla="*/ 165 w 312"/>
              <a:gd name="T3" fmla="*/ 0 h 268"/>
              <a:gd name="T4" fmla="*/ 312 w 312"/>
              <a:gd name="T5" fmla="*/ 74 h 268"/>
              <a:gd name="T6" fmla="*/ 165 w 312"/>
              <a:gd name="T7" fmla="*/ 147 h 268"/>
              <a:gd name="T8" fmla="*/ 21 w 312"/>
              <a:gd name="T9" fmla="*/ 74 h 268"/>
              <a:gd name="T10" fmla="*/ 103 w 312"/>
              <a:gd name="T11" fmla="*/ 32 h 268"/>
              <a:gd name="T12" fmla="*/ 87 w 312"/>
              <a:gd name="T13" fmla="*/ 108 h 268"/>
              <a:gd name="T14" fmla="*/ 69 w 312"/>
              <a:gd name="T15" fmla="*/ 174 h 268"/>
              <a:gd name="T16" fmla="*/ 165 w 312"/>
              <a:gd name="T17" fmla="*/ 224 h 268"/>
              <a:gd name="T18" fmla="*/ 260 w 312"/>
              <a:gd name="T19" fmla="*/ 174 h 268"/>
              <a:gd name="T20" fmla="*/ 243 w 312"/>
              <a:gd name="T21" fmla="*/ 108 h 268"/>
              <a:gd name="T22" fmla="*/ 53 w 312"/>
              <a:gd name="T23" fmla="*/ 268 h 268"/>
              <a:gd name="T24" fmla="*/ 53 w 312"/>
              <a:gd name="T25" fmla="*/ 226 h 268"/>
              <a:gd name="T26" fmla="*/ 26 w 312"/>
              <a:gd name="T27" fmla="*/ 200 h 268"/>
              <a:gd name="T28" fmla="*/ 26 w 312"/>
              <a:gd name="T29" fmla="*/ 200 h 268"/>
              <a:gd name="T30" fmla="*/ 0 w 312"/>
              <a:gd name="T31" fmla="*/ 226 h 268"/>
              <a:gd name="T32" fmla="*/ 0 w 312"/>
              <a:gd name="T33" fmla="*/ 268 h 268"/>
              <a:gd name="T34" fmla="*/ 53 w 312"/>
              <a:gd name="T35" fmla="*/ 268 h 268"/>
              <a:gd name="T36" fmla="*/ 26 w 312"/>
              <a:gd name="T37" fmla="*/ 77 h 268"/>
              <a:gd name="T38" fmla="*/ 26 w 312"/>
              <a:gd name="T39" fmla="*/ 200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12" h="268">
                <a:moveTo>
                  <a:pt x="103" y="32"/>
                </a:moveTo>
                <a:cubicBezTo>
                  <a:pt x="165" y="0"/>
                  <a:pt x="165" y="0"/>
                  <a:pt x="165" y="0"/>
                </a:cubicBezTo>
                <a:cubicBezTo>
                  <a:pt x="312" y="74"/>
                  <a:pt x="312" y="74"/>
                  <a:pt x="312" y="74"/>
                </a:cubicBezTo>
                <a:cubicBezTo>
                  <a:pt x="165" y="147"/>
                  <a:pt x="165" y="147"/>
                  <a:pt x="165" y="147"/>
                </a:cubicBezTo>
                <a:cubicBezTo>
                  <a:pt x="21" y="74"/>
                  <a:pt x="21" y="74"/>
                  <a:pt x="21" y="74"/>
                </a:cubicBezTo>
                <a:lnTo>
                  <a:pt x="103" y="32"/>
                </a:lnTo>
                <a:close/>
                <a:moveTo>
                  <a:pt x="87" y="108"/>
                </a:moveTo>
                <a:cubicBezTo>
                  <a:pt x="69" y="130"/>
                  <a:pt x="69" y="174"/>
                  <a:pt x="69" y="174"/>
                </a:cubicBezTo>
                <a:cubicBezTo>
                  <a:pt x="165" y="224"/>
                  <a:pt x="165" y="224"/>
                  <a:pt x="165" y="224"/>
                </a:cubicBezTo>
                <a:cubicBezTo>
                  <a:pt x="260" y="174"/>
                  <a:pt x="260" y="174"/>
                  <a:pt x="260" y="174"/>
                </a:cubicBezTo>
                <a:cubicBezTo>
                  <a:pt x="260" y="174"/>
                  <a:pt x="260" y="131"/>
                  <a:pt x="243" y="108"/>
                </a:cubicBezTo>
                <a:moveTo>
                  <a:pt x="53" y="268"/>
                </a:moveTo>
                <a:cubicBezTo>
                  <a:pt x="53" y="226"/>
                  <a:pt x="53" y="226"/>
                  <a:pt x="53" y="226"/>
                </a:cubicBezTo>
                <a:cubicBezTo>
                  <a:pt x="53" y="212"/>
                  <a:pt x="41" y="200"/>
                  <a:pt x="26" y="200"/>
                </a:cubicBezTo>
                <a:cubicBezTo>
                  <a:pt x="26" y="200"/>
                  <a:pt x="26" y="200"/>
                  <a:pt x="26" y="200"/>
                </a:cubicBezTo>
                <a:cubicBezTo>
                  <a:pt x="12" y="200"/>
                  <a:pt x="0" y="212"/>
                  <a:pt x="0" y="226"/>
                </a:cubicBezTo>
                <a:cubicBezTo>
                  <a:pt x="0" y="268"/>
                  <a:pt x="0" y="268"/>
                  <a:pt x="0" y="268"/>
                </a:cubicBezTo>
                <a:lnTo>
                  <a:pt x="53" y="268"/>
                </a:lnTo>
                <a:close/>
                <a:moveTo>
                  <a:pt x="26" y="77"/>
                </a:moveTo>
                <a:cubicBezTo>
                  <a:pt x="26" y="200"/>
                  <a:pt x="26" y="200"/>
                  <a:pt x="26" y="200"/>
                </a:cubicBezTo>
              </a:path>
            </a:pathLst>
          </a:custGeom>
          <a:noFill/>
          <a:ln w="2222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B98745-1AA5-4CF3-8E93-D22D65C11E79}"/>
              </a:ext>
            </a:extLst>
          </p:cNvPr>
          <p:cNvSpPr txBox="1"/>
          <p:nvPr/>
        </p:nvSpPr>
        <p:spPr>
          <a:xfrm>
            <a:off x="1724025" y="3511535"/>
            <a:ext cx="1070806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44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88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5B93D2A-1367-495C-B419-375A947939A7}"/>
              </a:ext>
            </a:extLst>
          </p:cNvPr>
          <p:cNvSpPr txBox="1"/>
          <p:nvPr/>
        </p:nvSpPr>
        <p:spPr>
          <a:xfrm>
            <a:off x="660822" y="6496907"/>
            <a:ext cx="5173532" cy="418576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r>
              <a:rPr lang="en-US" sz="800"/>
              <a:t> Q.1A:  Please tell us how much you agree or disagree with the following statements about online civility…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DDD67E-8AC4-4CC3-82FC-358926CBB9B4}"/>
              </a:ext>
            </a:extLst>
          </p:cNvPr>
          <p:cNvSpPr txBox="1"/>
          <p:nvPr/>
        </p:nvSpPr>
        <p:spPr>
          <a:xfrm>
            <a:off x="1242217" y="4291562"/>
            <a:ext cx="231510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strike="noStrike" kern="120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We need to educate people better about how to make the digital world safer</a:t>
            </a:r>
            <a:endParaRPr lang="en-US" sz="1400" b="0" i="0" u="none" strike="noStrike"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135C4B6D-49C8-4042-85AE-099CB667C5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4940121"/>
              </p:ext>
            </p:extLst>
          </p:nvPr>
        </p:nvGraphicFramePr>
        <p:xfrm>
          <a:off x="4754880" y="1371600"/>
          <a:ext cx="6089904" cy="4352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696159689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119F53-E862-4C0B-89D0-B4741CE82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1168"/>
            <a:ext cx="10430257" cy="738664"/>
          </a:xfrm>
        </p:spPr>
        <p:txBody>
          <a:bodyPr/>
          <a:lstStyle/>
          <a:p>
            <a:r>
              <a:rPr lang="en-US" sz="2400"/>
              <a:t>Three-quarters agreed that social media companies need to moderate harmful speech online 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B98745-1AA5-4CF3-8E93-D22D65C11E79}"/>
              </a:ext>
            </a:extLst>
          </p:cNvPr>
          <p:cNvSpPr txBox="1"/>
          <p:nvPr/>
        </p:nvSpPr>
        <p:spPr>
          <a:xfrm>
            <a:off x="1737360" y="3624118"/>
            <a:ext cx="1070806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44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75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5B93D2A-1367-495C-B419-375A947939A7}"/>
              </a:ext>
            </a:extLst>
          </p:cNvPr>
          <p:cNvSpPr txBox="1"/>
          <p:nvPr/>
        </p:nvSpPr>
        <p:spPr>
          <a:xfrm>
            <a:off x="660822" y="6496907"/>
            <a:ext cx="5173532" cy="418576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r>
              <a:rPr lang="en-US" sz="800"/>
              <a:t> Q.1A:  Please tell us how much you agree or disagree with the following statements about online civility…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DDD67E-8AC4-4CC3-82FC-358926CBB9B4}"/>
              </a:ext>
            </a:extLst>
          </p:cNvPr>
          <p:cNvSpPr txBox="1"/>
          <p:nvPr/>
        </p:nvSpPr>
        <p:spPr>
          <a:xfrm>
            <a:off x="1321732" y="4520159"/>
            <a:ext cx="2315105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strike="noStrike">
                <a:effectLst/>
              </a:rPr>
              <a:t>Civility online would improve if social media companies would more closely moderate harmful online speech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CFEAB55A-8C9C-45C2-85C0-421E60AB7D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3478778"/>
              </p:ext>
            </p:extLst>
          </p:nvPr>
        </p:nvGraphicFramePr>
        <p:xfrm>
          <a:off x="4754880" y="1371600"/>
          <a:ext cx="6089904" cy="4270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people_23" title="Icon of a person with a chat bubble above them">
            <a:extLst>
              <a:ext uri="{FF2B5EF4-FFF2-40B4-BE49-F238E27FC236}">
                <a16:creationId xmlns:a16="http://schemas.microsoft.com/office/drawing/2014/main" id="{DF0E7356-11C5-48E6-B5E7-60810E368F8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23480" y="1735409"/>
            <a:ext cx="1848360" cy="1828800"/>
          </a:xfrm>
          <a:custGeom>
            <a:avLst/>
            <a:gdLst>
              <a:gd name="T0" fmla="*/ 75 w 275"/>
              <a:gd name="T1" fmla="*/ 34 h 273"/>
              <a:gd name="T2" fmla="*/ 75 w 275"/>
              <a:gd name="T3" fmla="*/ 0 h 273"/>
              <a:gd name="T4" fmla="*/ 275 w 275"/>
              <a:gd name="T5" fmla="*/ 0 h 273"/>
              <a:gd name="T6" fmla="*/ 275 w 275"/>
              <a:gd name="T7" fmla="*/ 125 h 273"/>
              <a:gd name="T8" fmla="*/ 247 w 275"/>
              <a:gd name="T9" fmla="*/ 125 h 273"/>
              <a:gd name="T10" fmla="*/ 203 w 275"/>
              <a:gd name="T11" fmla="*/ 170 h 273"/>
              <a:gd name="T12" fmla="*/ 203 w 275"/>
              <a:gd name="T13" fmla="*/ 127 h 273"/>
              <a:gd name="T14" fmla="*/ 181 w 275"/>
              <a:gd name="T15" fmla="*/ 127 h 273"/>
              <a:gd name="T16" fmla="*/ 92 w 275"/>
              <a:gd name="T17" fmla="*/ 71 h 273"/>
              <a:gd name="T18" fmla="*/ 38 w 275"/>
              <a:gd name="T19" fmla="*/ 126 h 273"/>
              <a:gd name="T20" fmla="*/ 92 w 275"/>
              <a:gd name="T21" fmla="*/ 181 h 273"/>
              <a:gd name="T22" fmla="*/ 147 w 275"/>
              <a:gd name="T23" fmla="*/ 126 h 273"/>
              <a:gd name="T24" fmla="*/ 92 w 275"/>
              <a:gd name="T25" fmla="*/ 71 h 273"/>
              <a:gd name="T26" fmla="*/ 185 w 275"/>
              <a:gd name="T27" fmla="*/ 273 h 273"/>
              <a:gd name="T28" fmla="*/ 92 w 275"/>
              <a:gd name="T29" fmla="*/ 181 h 273"/>
              <a:gd name="T30" fmla="*/ 0 w 275"/>
              <a:gd name="T31" fmla="*/ 27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75" h="273">
                <a:moveTo>
                  <a:pt x="75" y="34"/>
                </a:moveTo>
                <a:cubicBezTo>
                  <a:pt x="75" y="0"/>
                  <a:pt x="75" y="0"/>
                  <a:pt x="75" y="0"/>
                </a:cubicBezTo>
                <a:cubicBezTo>
                  <a:pt x="275" y="0"/>
                  <a:pt x="275" y="0"/>
                  <a:pt x="275" y="0"/>
                </a:cubicBezTo>
                <a:cubicBezTo>
                  <a:pt x="275" y="125"/>
                  <a:pt x="275" y="125"/>
                  <a:pt x="275" y="125"/>
                </a:cubicBezTo>
                <a:cubicBezTo>
                  <a:pt x="247" y="125"/>
                  <a:pt x="247" y="125"/>
                  <a:pt x="247" y="125"/>
                </a:cubicBezTo>
                <a:cubicBezTo>
                  <a:pt x="203" y="170"/>
                  <a:pt x="203" y="170"/>
                  <a:pt x="203" y="170"/>
                </a:cubicBezTo>
                <a:cubicBezTo>
                  <a:pt x="203" y="127"/>
                  <a:pt x="203" y="127"/>
                  <a:pt x="203" y="127"/>
                </a:cubicBezTo>
                <a:cubicBezTo>
                  <a:pt x="181" y="127"/>
                  <a:pt x="181" y="127"/>
                  <a:pt x="181" y="127"/>
                </a:cubicBezTo>
                <a:moveTo>
                  <a:pt x="92" y="71"/>
                </a:moveTo>
                <a:cubicBezTo>
                  <a:pt x="62" y="71"/>
                  <a:pt x="38" y="96"/>
                  <a:pt x="38" y="126"/>
                </a:cubicBezTo>
                <a:cubicBezTo>
                  <a:pt x="38" y="156"/>
                  <a:pt x="62" y="181"/>
                  <a:pt x="92" y="181"/>
                </a:cubicBezTo>
                <a:cubicBezTo>
                  <a:pt x="123" y="181"/>
                  <a:pt x="147" y="156"/>
                  <a:pt x="147" y="126"/>
                </a:cubicBezTo>
                <a:cubicBezTo>
                  <a:pt x="147" y="96"/>
                  <a:pt x="123" y="71"/>
                  <a:pt x="92" y="71"/>
                </a:cubicBezTo>
                <a:close/>
                <a:moveTo>
                  <a:pt x="185" y="273"/>
                </a:moveTo>
                <a:cubicBezTo>
                  <a:pt x="185" y="222"/>
                  <a:pt x="144" y="181"/>
                  <a:pt x="92" y="181"/>
                </a:cubicBezTo>
                <a:cubicBezTo>
                  <a:pt x="41" y="181"/>
                  <a:pt x="0" y="222"/>
                  <a:pt x="0" y="273"/>
                </a:cubicBezTo>
              </a:path>
            </a:pathLst>
          </a:custGeom>
          <a:noFill/>
          <a:ln w="2222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9042915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119F53-E862-4C0B-89D0-B4741CE82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1168"/>
            <a:ext cx="10430257" cy="738664"/>
          </a:xfrm>
        </p:spPr>
        <p:txBody>
          <a:bodyPr/>
          <a:lstStyle/>
          <a:p>
            <a:r>
              <a:rPr lang="en-US" sz="2400"/>
              <a:t>Loss of trust from online incivility is higher for younger generations and females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B98745-1AA5-4CF3-8E93-D22D65C11E79}"/>
              </a:ext>
            </a:extLst>
          </p:cNvPr>
          <p:cNvSpPr txBox="1"/>
          <p:nvPr/>
        </p:nvSpPr>
        <p:spPr>
          <a:xfrm>
            <a:off x="1724025" y="3720254"/>
            <a:ext cx="1070806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44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75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5B93D2A-1367-495C-B419-375A947939A7}"/>
              </a:ext>
            </a:extLst>
          </p:cNvPr>
          <p:cNvSpPr txBox="1"/>
          <p:nvPr/>
        </p:nvSpPr>
        <p:spPr>
          <a:xfrm>
            <a:off x="660822" y="6496907"/>
            <a:ext cx="5173532" cy="418576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r>
              <a:rPr lang="en-US" sz="800"/>
              <a:t> Q.1A:  Please tell us how much you agree or disagree with the following statements about online civility…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DDD67E-8AC4-4CC3-82FC-358926CBB9B4}"/>
              </a:ext>
            </a:extLst>
          </p:cNvPr>
          <p:cNvSpPr txBox="1"/>
          <p:nvPr/>
        </p:nvSpPr>
        <p:spPr>
          <a:xfrm>
            <a:off x="1242217" y="4520159"/>
            <a:ext cx="231510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t"/>
            <a:r>
              <a:rPr lang="en-US" sz="1400" b="0" i="0" u="none" strike="noStrike">
                <a:solidFill>
                  <a:srgbClr val="000000"/>
                </a:solidFill>
                <a:effectLst/>
                <a:latin typeface="+mn-lt"/>
              </a:rPr>
              <a:t>I trust people less when I witness online discussions filled with rude, hateful comment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345F889-54F5-4159-835F-A04988BF86CD}"/>
              </a:ext>
            </a:extLst>
          </p:cNvPr>
          <p:cNvGrpSpPr>
            <a:grpSpLocks noChangeAspect="1"/>
          </p:cNvGrpSpPr>
          <p:nvPr/>
        </p:nvGrpSpPr>
        <p:grpSpPr>
          <a:xfrm>
            <a:off x="1242217" y="1737360"/>
            <a:ext cx="1828800" cy="1828800"/>
            <a:chOff x="7115042" y="1965480"/>
            <a:chExt cx="733529" cy="731520"/>
          </a:xfrm>
        </p:grpSpPr>
        <p:sp>
          <p:nvSpPr>
            <p:cNvPr id="12" name="Commitments_EC4D" title="Icon of a handshake">
              <a:extLst>
                <a:ext uri="{FF2B5EF4-FFF2-40B4-BE49-F238E27FC236}">
                  <a16:creationId xmlns:a16="http://schemas.microsoft.com/office/drawing/2014/main" id="{9B93CB4F-8A5E-4D07-9658-EBDEFD65773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235215" y="2093115"/>
              <a:ext cx="487614" cy="457200"/>
            </a:xfrm>
            <a:custGeom>
              <a:avLst/>
              <a:gdLst>
                <a:gd name="T0" fmla="*/ 56 w 3762"/>
                <a:gd name="T1" fmla="*/ 1280 h 3526"/>
                <a:gd name="T2" fmla="*/ 1246 w 3762"/>
                <a:gd name="T3" fmla="*/ 30 h 3526"/>
                <a:gd name="T4" fmla="*/ 1589 w 3762"/>
                <a:gd name="T5" fmla="*/ 313 h 3526"/>
                <a:gd name="T6" fmla="*/ 104 w 3762"/>
                <a:gd name="T7" fmla="*/ 2297 h 3526"/>
                <a:gd name="T8" fmla="*/ 698 w 3762"/>
                <a:gd name="T9" fmla="*/ 2078 h 3526"/>
                <a:gd name="T10" fmla="*/ 323 w 3762"/>
                <a:gd name="T11" fmla="*/ 1703 h 3526"/>
                <a:gd name="T12" fmla="*/ 2479 w 3762"/>
                <a:gd name="T13" fmla="*/ 2578 h 3526"/>
                <a:gd name="T14" fmla="*/ 3073 w 3762"/>
                <a:gd name="T15" fmla="*/ 2797 h 3526"/>
                <a:gd name="T16" fmla="*/ 2854 w 3762"/>
                <a:gd name="T17" fmla="*/ 2203 h 3526"/>
                <a:gd name="T18" fmla="*/ 1823 w 3762"/>
                <a:gd name="T19" fmla="*/ 3422 h 3526"/>
                <a:gd name="T20" fmla="*/ 2198 w 3762"/>
                <a:gd name="T21" fmla="*/ 3047 h 3526"/>
                <a:gd name="T22" fmla="*/ 2698 w 3762"/>
                <a:gd name="T23" fmla="*/ 3172 h 3526"/>
                <a:gd name="T24" fmla="*/ 2479 w 3762"/>
                <a:gd name="T25" fmla="*/ 2578 h 3526"/>
                <a:gd name="T26" fmla="*/ 479 w 3762"/>
                <a:gd name="T27" fmla="*/ 2672 h 3526"/>
                <a:gd name="T28" fmla="*/ 1073 w 3762"/>
                <a:gd name="T29" fmla="*/ 2453 h 3526"/>
                <a:gd name="T30" fmla="*/ 698 w 3762"/>
                <a:gd name="T31" fmla="*/ 2078 h 3526"/>
                <a:gd name="T32" fmla="*/ 854 w 3762"/>
                <a:gd name="T33" fmla="*/ 2672 h 3526"/>
                <a:gd name="T34" fmla="*/ 1229 w 3762"/>
                <a:gd name="T35" fmla="*/ 3047 h 3526"/>
                <a:gd name="T36" fmla="*/ 1448 w 3762"/>
                <a:gd name="T37" fmla="*/ 2453 h 3526"/>
                <a:gd name="T38" fmla="*/ 854 w 3762"/>
                <a:gd name="T39" fmla="*/ 2672 h 3526"/>
                <a:gd name="T40" fmla="*/ 1229 w 3762"/>
                <a:gd name="T41" fmla="*/ 3422 h 3526"/>
                <a:gd name="T42" fmla="*/ 1823 w 3762"/>
                <a:gd name="T43" fmla="*/ 3203 h 3526"/>
                <a:gd name="T44" fmla="*/ 1448 w 3762"/>
                <a:gd name="T45" fmla="*/ 2828 h 3526"/>
                <a:gd name="T46" fmla="*/ 3214 w 3762"/>
                <a:gd name="T47" fmla="*/ 1813 h 3526"/>
                <a:gd name="T48" fmla="*/ 3746 w 3762"/>
                <a:gd name="T49" fmla="*/ 1220 h 3526"/>
                <a:gd name="T50" fmla="*/ 2526 w 3762"/>
                <a:gd name="T51" fmla="*/ 0 h 3526"/>
                <a:gd name="T52" fmla="*/ 1412 w 3762"/>
                <a:gd name="T53" fmla="*/ 385 h 3526"/>
                <a:gd name="T54" fmla="*/ 1026 w 3762"/>
                <a:gd name="T55" fmla="*/ 1250 h 3526"/>
                <a:gd name="T56" fmla="*/ 1276 w 3762"/>
                <a:gd name="T57" fmla="*/ 1500 h 3526"/>
                <a:gd name="T58" fmla="*/ 2026 w 3762"/>
                <a:gd name="T59" fmla="*/ 750 h 3526"/>
                <a:gd name="T60" fmla="*/ 3448 w 3762"/>
                <a:gd name="T61" fmla="*/ 2047 h 3526"/>
                <a:gd name="T62" fmla="*/ 3071 w 3762"/>
                <a:gd name="T63" fmla="*/ 2420 h 3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762" h="3526">
                  <a:moveTo>
                    <a:pt x="401" y="1625"/>
                  </a:moveTo>
                  <a:cubicBezTo>
                    <a:pt x="56" y="1280"/>
                    <a:pt x="56" y="1280"/>
                    <a:pt x="56" y="1280"/>
                  </a:cubicBezTo>
                  <a:cubicBezTo>
                    <a:pt x="40" y="1264"/>
                    <a:pt x="40" y="1236"/>
                    <a:pt x="56" y="1220"/>
                  </a:cubicBezTo>
                  <a:cubicBezTo>
                    <a:pt x="1246" y="30"/>
                    <a:pt x="1246" y="30"/>
                    <a:pt x="1246" y="30"/>
                  </a:cubicBezTo>
                  <a:cubicBezTo>
                    <a:pt x="1262" y="14"/>
                    <a:pt x="1290" y="14"/>
                    <a:pt x="1306" y="30"/>
                  </a:cubicBezTo>
                  <a:cubicBezTo>
                    <a:pt x="1589" y="313"/>
                    <a:pt x="1589" y="313"/>
                    <a:pt x="1589" y="313"/>
                  </a:cubicBezTo>
                  <a:moveTo>
                    <a:pt x="104" y="1922"/>
                  </a:moveTo>
                  <a:cubicBezTo>
                    <a:pt x="0" y="2026"/>
                    <a:pt x="0" y="2194"/>
                    <a:pt x="104" y="2297"/>
                  </a:cubicBezTo>
                  <a:cubicBezTo>
                    <a:pt x="207" y="2401"/>
                    <a:pt x="375" y="2401"/>
                    <a:pt x="479" y="2297"/>
                  </a:cubicBezTo>
                  <a:cubicBezTo>
                    <a:pt x="698" y="2078"/>
                    <a:pt x="698" y="2078"/>
                    <a:pt x="698" y="2078"/>
                  </a:cubicBezTo>
                  <a:cubicBezTo>
                    <a:pt x="802" y="1974"/>
                    <a:pt x="802" y="1806"/>
                    <a:pt x="698" y="1703"/>
                  </a:cubicBezTo>
                  <a:cubicBezTo>
                    <a:pt x="595" y="1599"/>
                    <a:pt x="427" y="1599"/>
                    <a:pt x="323" y="1703"/>
                  </a:cubicBezTo>
                  <a:lnTo>
                    <a:pt x="104" y="1922"/>
                  </a:lnTo>
                  <a:close/>
                  <a:moveTo>
                    <a:pt x="2479" y="2578"/>
                  </a:moveTo>
                  <a:cubicBezTo>
                    <a:pt x="2698" y="2797"/>
                    <a:pt x="2698" y="2797"/>
                    <a:pt x="2698" y="2797"/>
                  </a:cubicBezTo>
                  <a:cubicBezTo>
                    <a:pt x="2802" y="2901"/>
                    <a:pt x="2970" y="2901"/>
                    <a:pt x="3073" y="2797"/>
                  </a:cubicBezTo>
                  <a:cubicBezTo>
                    <a:pt x="3177" y="2694"/>
                    <a:pt x="3177" y="2526"/>
                    <a:pt x="3073" y="2422"/>
                  </a:cubicBezTo>
                  <a:cubicBezTo>
                    <a:pt x="2854" y="2203"/>
                    <a:pt x="2854" y="2203"/>
                    <a:pt x="2854" y="2203"/>
                  </a:cubicBezTo>
                  <a:moveTo>
                    <a:pt x="1714" y="3313"/>
                  </a:moveTo>
                  <a:cubicBezTo>
                    <a:pt x="1823" y="3422"/>
                    <a:pt x="1823" y="3422"/>
                    <a:pt x="1823" y="3422"/>
                  </a:cubicBezTo>
                  <a:cubicBezTo>
                    <a:pt x="1927" y="3526"/>
                    <a:pt x="2095" y="3526"/>
                    <a:pt x="2198" y="3422"/>
                  </a:cubicBezTo>
                  <a:cubicBezTo>
                    <a:pt x="2302" y="3319"/>
                    <a:pt x="2302" y="3151"/>
                    <a:pt x="2198" y="3047"/>
                  </a:cubicBezTo>
                  <a:cubicBezTo>
                    <a:pt x="2323" y="3172"/>
                    <a:pt x="2323" y="3172"/>
                    <a:pt x="2323" y="3172"/>
                  </a:cubicBezTo>
                  <a:cubicBezTo>
                    <a:pt x="2427" y="3276"/>
                    <a:pt x="2595" y="3276"/>
                    <a:pt x="2698" y="3172"/>
                  </a:cubicBezTo>
                  <a:cubicBezTo>
                    <a:pt x="2802" y="3069"/>
                    <a:pt x="2802" y="2901"/>
                    <a:pt x="2698" y="2797"/>
                  </a:cubicBezTo>
                  <a:cubicBezTo>
                    <a:pt x="2479" y="2578"/>
                    <a:pt x="2479" y="2578"/>
                    <a:pt x="2479" y="2578"/>
                  </a:cubicBezTo>
                  <a:moveTo>
                    <a:pt x="479" y="2297"/>
                  </a:moveTo>
                  <a:cubicBezTo>
                    <a:pt x="375" y="2401"/>
                    <a:pt x="375" y="2569"/>
                    <a:pt x="479" y="2672"/>
                  </a:cubicBezTo>
                  <a:cubicBezTo>
                    <a:pt x="582" y="2776"/>
                    <a:pt x="750" y="2776"/>
                    <a:pt x="854" y="2672"/>
                  </a:cubicBezTo>
                  <a:cubicBezTo>
                    <a:pt x="1073" y="2453"/>
                    <a:pt x="1073" y="2453"/>
                    <a:pt x="1073" y="2453"/>
                  </a:cubicBezTo>
                  <a:cubicBezTo>
                    <a:pt x="1177" y="2349"/>
                    <a:pt x="1177" y="2181"/>
                    <a:pt x="1073" y="2078"/>
                  </a:cubicBezTo>
                  <a:cubicBezTo>
                    <a:pt x="970" y="1974"/>
                    <a:pt x="802" y="1974"/>
                    <a:pt x="698" y="2078"/>
                  </a:cubicBezTo>
                  <a:lnTo>
                    <a:pt x="479" y="2297"/>
                  </a:lnTo>
                  <a:close/>
                  <a:moveTo>
                    <a:pt x="854" y="2672"/>
                  </a:moveTo>
                  <a:cubicBezTo>
                    <a:pt x="750" y="2776"/>
                    <a:pt x="750" y="2944"/>
                    <a:pt x="854" y="3047"/>
                  </a:cubicBezTo>
                  <a:cubicBezTo>
                    <a:pt x="957" y="3151"/>
                    <a:pt x="1125" y="3151"/>
                    <a:pt x="1229" y="3047"/>
                  </a:cubicBezTo>
                  <a:cubicBezTo>
                    <a:pt x="1448" y="2828"/>
                    <a:pt x="1448" y="2828"/>
                    <a:pt x="1448" y="2828"/>
                  </a:cubicBezTo>
                  <a:cubicBezTo>
                    <a:pt x="1552" y="2724"/>
                    <a:pt x="1552" y="2556"/>
                    <a:pt x="1448" y="2453"/>
                  </a:cubicBezTo>
                  <a:cubicBezTo>
                    <a:pt x="1345" y="2349"/>
                    <a:pt x="1177" y="2349"/>
                    <a:pt x="1073" y="2453"/>
                  </a:cubicBezTo>
                  <a:lnTo>
                    <a:pt x="854" y="2672"/>
                  </a:lnTo>
                  <a:close/>
                  <a:moveTo>
                    <a:pt x="1229" y="3047"/>
                  </a:moveTo>
                  <a:cubicBezTo>
                    <a:pt x="1125" y="3151"/>
                    <a:pt x="1125" y="3319"/>
                    <a:pt x="1229" y="3422"/>
                  </a:cubicBezTo>
                  <a:cubicBezTo>
                    <a:pt x="1332" y="3526"/>
                    <a:pt x="1500" y="3526"/>
                    <a:pt x="1604" y="3422"/>
                  </a:cubicBezTo>
                  <a:cubicBezTo>
                    <a:pt x="1823" y="3203"/>
                    <a:pt x="1823" y="3203"/>
                    <a:pt x="1823" y="3203"/>
                  </a:cubicBezTo>
                  <a:cubicBezTo>
                    <a:pt x="1927" y="3099"/>
                    <a:pt x="1927" y="2931"/>
                    <a:pt x="1823" y="2828"/>
                  </a:cubicBezTo>
                  <a:cubicBezTo>
                    <a:pt x="1720" y="2724"/>
                    <a:pt x="1552" y="2724"/>
                    <a:pt x="1448" y="2828"/>
                  </a:cubicBezTo>
                  <a:lnTo>
                    <a:pt x="1229" y="3047"/>
                  </a:lnTo>
                  <a:close/>
                  <a:moveTo>
                    <a:pt x="3214" y="1813"/>
                  </a:moveTo>
                  <a:cubicBezTo>
                    <a:pt x="3746" y="1280"/>
                    <a:pt x="3746" y="1280"/>
                    <a:pt x="3746" y="1280"/>
                  </a:cubicBezTo>
                  <a:cubicBezTo>
                    <a:pt x="3762" y="1264"/>
                    <a:pt x="3762" y="1236"/>
                    <a:pt x="3746" y="1220"/>
                  </a:cubicBezTo>
                  <a:cubicBezTo>
                    <a:pt x="2526" y="0"/>
                    <a:pt x="2526" y="0"/>
                    <a:pt x="2526" y="0"/>
                  </a:cubicBezTo>
                  <a:cubicBezTo>
                    <a:pt x="2526" y="0"/>
                    <a:pt x="2526" y="0"/>
                    <a:pt x="2526" y="0"/>
                  </a:cubicBezTo>
                  <a:cubicBezTo>
                    <a:pt x="1436" y="363"/>
                    <a:pt x="1436" y="363"/>
                    <a:pt x="1436" y="363"/>
                  </a:cubicBezTo>
                  <a:cubicBezTo>
                    <a:pt x="1426" y="367"/>
                    <a:pt x="1417" y="375"/>
                    <a:pt x="1412" y="385"/>
                  </a:cubicBezTo>
                  <a:cubicBezTo>
                    <a:pt x="1057" y="1094"/>
                    <a:pt x="1057" y="1094"/>
                    <a:pt x="1057" y="1094"/>
                  </a:cubicBezTo>
                  <a:cubicBezTo>
                    <a:pt x="1037" y="1142"/>
                    <a:pt x="1026" y="1195"/>
                    <a:pt x="1026" y="1250"/>
                  </a:cubicBezTo>
                  <a:cubicBezTo>
                    <a:pt x="1026" y="1319"/>
                    <a:pt x="1054" y="1382"/>
                    <a:pt x="1099" y="1427"/>
                  </a:cubicBezTo>
                  <a:cubicBezTo>
                    <a:pt x="1144" y="1472"/>
                    <a:pt x="1207" y="1500"/>
                    <a:pt x="1276" y="1500"/>
                  </a:cubicBezTo>
                  <a:cubicBezTo>
                    <a:pt x="1483" y="1500"/>
                    <a:pt x="1651" y="1332"/>
                    <a:pt x="1651" y="1125"/>
                  </a:cubicBezTo>
                  <a:cubicBezTo>
                    <a:pt x="1651" y="918"/>
                    <a:pt x="1819" y="750"/>
                    <a:pt x="2026" y="750"/>
                  </a:cubicBezTo>
                  <a:cubicBezTo>
                    <a:pt x="2094" y="750"/>
                    <a:pt x="2162" y="771"/>
                    <a:pt x="2214" y="813"/>
                  </a:cubicBezTo>
                  <a:cubicBezTo>
                    <a:pt x="3448" y="2047"/>
                    <a:pt x="3448" y="2047"/>
                    <a:pt x="3448" y="2047"/>
                  </a:cubicBezTo>
                  <a:cubicBezTo>
                    <a:pt x="3553" y="2152"/>
                    <a:pt x="3552" y="2321"/>
                    <a:pt x="3446" y="2425"/>
                  </a:cubicBezTo>
                  <a:cubicBezTo>
                    <a:pt x="3341" y="2527"/>
                    <a:pt x="3174" y="2523"/>
                    <a:pt x="3071" y="2420"/>
                  </a:cubicBezTo>
                  <a:cubicBezTo>
                    <a:pt x="2854" y="2203"/>
                    <a:pt x="2854" y="2203"/>
                    <a:pt x="2854" y="2203"/>
                  </a:cubicBezTo>
                </a:path>
              </a:pathLst>
            </a:custGeom>
            <a:noFill/>
            <a:ln w="22225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1"/>
                </a:gradFill>
              </a:endParaRPr>
            </a:p>
          </p:txBody>
        </p:sp>
        <p:sp>
          <p:nvSpPr>
            <p:cNvPr id="13" name="illegal" title="Icon of a circle with a diagonal line through it">
              <a:extLst>
                <a:ext uri="{FF2B5EF4-FFF2-40B4-BE49-F238E27FC236}">
                  <a16:creationId xmlns:a16="http://schemas.microsoft.com/office/drawing/2014/main" id="{DE5A82DC-2198-4FB7-B2F6-FDABD13DE54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115042" y="1965480"/>
              <a:ext cx="733529" cy="731520"/>
            </a:xfrm>
            <a:custGeom>
              <a:avLst/>
              <a:gdLst>
                <a:gd name="T0" fmla="*/ 265 w 265"/>
                <a:gd name="T1" fmla="*/ 133 h 265"/>
                <a:gd name="T2" fmla="*/ 132 w 265"/>
                <a:gd name="T3" fmla="*/ 265 h 265"/>
                <a:gd name="T4" fmla="*/ 0 w 265"/>
                <a:gd name="T5" fmla="*/ 133 h 265"/>
                <a:gd name="T6" fmla="*/ 132 w 265"/>
                <a:gd name="T7" fmla="*/ 0 h 265"/>
                <a:gd name="T8" fmla="*/ 265 w 265"/>
                <a:gd name="T9" fmla="*/ 133 h 265"/>
                <a:gd name="T10" fmla="*/ 226 w 265"/>
                <a:gd name="T11" fmla="*/ 227 h 265"/>
                <a:gd name="T12" fmla="*/ 39 w 265"/>
                <a:gd name="T13" fmla="*/ 39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5" h="265">
                  <a:moveTo>
                    <a:pt x="265" y="133"/>
                  </a:moveTo>
                  <a:cubicBezTo>
                    <a:pt x="265" y="206"/>
                    <a:pt x="205" y="265"/>
                    <a:pt x="132" y="265"/>
                  </a:cubicBezTo>
                  <a:cubicBezTo>
                    <a:pt x="59" y="265"/>
                    <a:pt x="0" y="206"/>
                    <a:pt x="0" y="133"/>
                  </a:cubicBezTo>
                  <a:cubicBezTo>
                    <a:pt x="0" y="60"/>
                    <a:pt x="59" y="0"/>
                    <a:pt x="132" y="0"/>
                  </a:cubicBezTo>
                  <a:cubicBezTo>
                    <a:pt x="205" y="0"/>
                    <a:pt x="265" y="60"/>
                    <a:pt x="265" y="133"/>
                  </a:cubicBezTo>
                  <a:close/>
                  <a:moveTo>
                    <a:pt x="226" y="227"/>
                  </a:moveTo>
                  <a:cubicBezTo>
                    <a:pt x="39" y="39"/>
                    <a:pt x="39" y="39"/>
                    <a:pt x="39" y="39"/>
                  </a:cubicBezTo>
                </a:path>
              </a:pathLst>
            </a:custGeom>
            <a:noFill/>
            <a:ln w="22225" cap="sq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CFEAB55A-8C9C-45C2-85C0-421E60AB7D23}"/>
              </a:ext>
            </a:extLst>
          </p:cNvPr>
          <p:cNvGraphicFramePr/>
          <p:nvPr/>
        </p:nvGraphicFramePr>
        <p:xfrm>
          <a:off x="4754880" y="1371600"/>
          <a:ext cx="6089904" cy="4270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39155928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119F53-E862-4C0B-89D0-B4741CE82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1168"/>
            <a:ext cx="10430257" cy="584775"/>
          </a:xfrm>
        </p:spPr>
        <p:txBody>
          <a:bodyPr/>
          <a:lstStyle/>
          <a:p>
            <a:r>
              <a:rPr lang="en-US" sz="2400"/>
              <a:t>Lack of accountability is a problem with online anonymity</a:t>
            </a:r>
            <a:br>
              <a:rPr lang="en-US" sz="2400"/>
            </a:br>
            <a:r>
              <a:rPr lang="en-US" sz="1400"/>
              <a:t>Millennials were the least likely to see this as a problem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B98745-1AA5-4CF3-8E93-D22D65C11E79}"/>
              </a:ext>
            </a:extLst>
          </p:cNvPr>
          <p:cNvSpPr txBox="1"/>
          <p:nvPr/>
        </p:nvSpPr>
        <p:spPr>
          <a:xfrm>
            <a:off x="1724025" y="3720254"/>
            <a:ext cx="1070806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44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72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5B93D2A-1367-495C-B419-375A947939A7}"/>
              </a:ext>
            </a:extLst>
          </p:cNvPr>
          <p:cNvSpPr txBox="1"/>
          <p:nvPr/>
        </p:nvSpPr>
        <p:spPr>
          <a:xfrm>
            <a:off x="660822" y="6496907"/>
            <a:ext cx="5173532" cy="418576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r>
              <a:rPr lang="en-US" sz="800"/>
              <a:t> Q.1A:  Please tell us how much you agree or disagree with the following statements about online civility…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DDD67E-8AC4-4CC3-82FC-358926CBB9B4}"/>
              </a:ext>
            </a:extLst>
          </p:cNvPr>
          <p:cNvSpPr txBox="1"/>
          <p:nvPr/>
        </p:nvSpPr>
        <p:spPr>
          <a:xfrm>
            <a:off x="1242217" y="4520159"/>
            <a:ext cx="2315105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t"/>
            <a:r>
              <a:rPr lang="en-US" sz="1400" b="0" i="0" u="none" strike="noStrike">
                <a:solidFill>
                  <a:srgbClr val="000000"/>
                </a:solidFill>
                <a:effectLst/>
                <a:latin typeface="+mn-lt"/>
              </a:rPr>
              <a:t>People should not be allowed to post comments online anonymously since they can be uncivil without facing any consequences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CFEAB55A-8C9C-45C2-85C0-421E60AB7D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1186777"/>
              </p:ext>
            </p:extLst>
          </p:nvPr>
        </p:nvGraphicFramePr>
        <p:xfrm>
          <a:off x="4754880" y="1371600"/>
          <a:ext cx="6089904" cy="4270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question" title="Icon of a question mark">
            <a:extLst>
              <a:ext uri="{FF2B5EF4-FFF2-40B4-BE49-F238E27FC236}">
                <a16:creationId xmlns:a16="http://schemas.microsoft.com/office/drawing/2014/main" id="{02475032-65CE-41FE-AB22-7C7AA6E7345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79428" y="1726609"/>
            <a:ext cx="973874" cy="1828800"/>
          </a:xfrm>
          <a:custGeom>
            <a:avLst/>
            <a:gdLst>
              <a:gd name="T0" fmla="*/ 0 w 180"/>
              <a:gd name="T1" fmla="*/ 90 h 340"/>
              <a:gd name="T2" fmla="*/ 90 w 180"/>
              <a:gd name="T3" fmla="*/ 0 h 340"/>
              <a:gd name="T4" fmla="*/ 180 w 180"/>
              <a:gd name="T5" fmla="*/ 90 h 340"/>
              <a:gd name="T6" fmla="*/ 148 w 180"/>
              <a:gd name="T7" fmla="*/ 156 h 340"/>
              <a:gd name="T8" fmla="*/ 95 w 180"/>
              <a:gd name="T9" fmla="*/ 217 h 340"/>
              <a:gd name="T10" fmla="*/ 90 w 180"/>
              <a:gd name="T11" fmla="*/ 279 h 340"/>
              <a:gd name="T12" fmla="*/ 86 w 180"/>
              <a:gd name="T13" fmla="*/ 340 h 340"/>
              <a:gd name="T14" fmla="*/ 94 w 180"/>
              <a:gd name="T15" fmla="*/ 340 h 340"/>
              <a:gd name="T16" fmla="*/ 94 w 180"/>
              <a:gd name="T17" fmla="*/ 332 h 340"/>
              <a:gd name="T18" fmla="*/ 86 w 180"/>
              <a:gd name="T19" fmla="*/ 332 h 340"/>
              <a:gd name="T20" fmla="*/ 86 w 180"/>
              <a:gd name="T21" fmla="*/ 340 h 3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80" h="340">
                <a:moveTo>
                  <a:pt x="0" y="90"/>
                </a:moveTo>
                <a:cubicBezTo>
                  <a:pt x="0" y="40"/>
                  <a:pt x="40" y="0"/>
                  <a:pt x="90" y="0"/>
                </a:cubicBezTo>
                <a:cubicBezTo>
                  <a:pt x="139" y="0"/>
                  <a:pt x="180" y="40"/>
                  <a:pt x="180" y="90"/>
                </a:cubicBezTo>
                <a:cubicBezTo>
                  <a:pt x="180" y="116"/>
                  <a:pt x="169" y="138"/>
                  <a:pt x="148" y="156"/>
                </a:cubicBezTo>
                <a:cubicBezTo>
                  <a:pt x="148" y="156"/>
                  <a:pt x="109" y="186"/>
                  <a:pt x="95" y="217"/>
                </a:cubicBezTo>
                <a:cubicBezTo>
                  <a:pt x="86" y="236"/>
                  <a:pt x="90" y="279"/>
                  <a:pt x="90" y="279"/>
                </a:cubicBezTo>
                <a:moveTo>
                  <a:pt x="86" y="340"/>
                </a:moveTo>
                <a:cubicBezTo>
                  <a:pt x="94" y="340"/>
                  <a:pt x="94" y="340"/>
                  <a:pt x="94" y="340"/>
                </a:cubicBezTo>
                <a:cubicBezTo>
                  <a:pt x="94" y="332"/>
                  <a:pt x="94" y="332"/>
                  <a:pt x="94" y="332"/>
                </a:cubicBezTo>
                <a:cubicBezTo>
                  <a:pt x="86" y="332"/>
                  <a:pt x="86" y="332"/>
                  <a:pt x="86" y="332"/>
                </a:cubicBezTo>
                <a:lnTo>
                  <a:pt x="86" y="340"/>
                </a:lnTo>
                <a:close/>
              </a:path>
            </a:pathLst>
          </a:custGeom>
          <a:noFill/>
          <a:ln w="2222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1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083067431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119F53-E862-4C0B-89D0-B4741CE82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1168"/>
            <a:ext cx="10430257" cy="369332"/>
          </a:xfrm>
        </p:spPr>
        <p:txBody>
          <a:bodyPr/>
          <a:lstStyle/>
          <a:p>
            <a:r>
              <a:rPr lang="en-US" sz="2400"/>
              <a:t>Incivility is becoming the “new normal” for many Millennials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5B93D2A-1367-495C-B419-375A947939A7}"/>
              </a:ext>
            </a:extLst>
          </p:cNvPr>
          <p:cNvSpPr txBox="1"/>
          <p:nvPr/>
        </p:nvSpPr>
        <p:spPr>
          <a:xfrm>
            <a:off x="660822" y="6496907"/>
            <a:ext cx="5173532" cy="418576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r>
              <a:rPr lang="en-US" sz="800"/>
              <a:t> Q.1A:  Please tell us how much you agree or disagree with the following statements about online civility…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CFEAB55A-8C9C-45C2-85C0-421E60AB7D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71321354"/>
              </p:ext>
            </p:extLst>
          </p:nvPr>
        </p:nvGraphicFramePr>
        <p:xfrm>
          <a:off x="4645550" y="1228544"/>
          <a:ext cx="6089904" cy="2468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0" name="Picture 9" descr="Shape&#10;&#10;Description automatically generated with medium confidence">
            <a:extLst>
              <a:ext uri="{FF2B5EF4-FFF2-40B4-BE49-F238E27FC236}">
                <a16:creationId xmlns:a16="http://schemas.microsoft.com/office/drawing/2014/main" id="{65859FB7-FF42-4FC8-9F63-88E5BC5B89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152" y="2460830"/>
            <a:ext cx="2061174" cy="18288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20F5AF1-818C-440B-96C7-D2AB4FE18170}"/>
              </a:ext>
            </a:extLst>
          </p:cNvPr>
          <p:cNvSpPr txBox="1">
            <a:spLocks noChangeAspect="1"/>
          </p:cNvSpPr>
          <p:nvPr/>
        </p:nvSpPr>
        <p:spPr>
          <a:xfrm>
            <a:off x="2290399" y="1759267"/>
            <a:ext cx="2163908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t"/>
            <a:r>
              <a:rPr lang="en-US" sz="1400" b="0" i="0" u="none" strike="noStrike">
                <a:solidFill>
                  <a:srgbClr val="000000"/>
                </a:solidFill>
                <a:effectLst/>
                <a:latin typeface="+mn-lt"/>
              </a:rPr>
              <a:t>Today, I get less upset than in the past when I encounter someone online who is uncivil to me</a:t>
            </a:r>
          </a:p>
          <a:p>
            <a:pPr algn="l" fontAlgn="t"/>
            <a:endParaRPr lang="en-US" sz="1400" b="0" i="0" u="none" strike="noStrike">
              <a:solidFill>
                <a:srgbClr val="000000"/>
              </a:solidFill>
              <a:effectLst/>
              <a:latin typeface="+mn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CF2EB63-321F-4185-ADBC-ABDF43EA925C}"/>
              </a:ext>
            </a:extLst>
          </p:cNvPr>
          <p:cNvSpPr txBox="1"/>
          <p:nvPr/>
        </p:nvSpPr>
        <p:spPr>
          <a:xfrm>
            <a:off x="1157989" y="1742131"/>
            <a:ext cx="801501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3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47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FC5427D-2CC2-4A19-8646-A554B105AAA8}"/>
              </a:ext>
            </a:extLst>
          </p:cNvPr>
          <p:cNvSpPr txBox="1"/>
          <p:nvPr/>
        </p:nvSpPr>
        <p:spPr>
          <a:xfrm>
            <a:off x="1157989" y="4698938"/>
            <a:ext cx="799899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3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38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3BCA8CD-008F-41D6-9007-62A04A54AC11}"/>
              </a:ext>
            </a:extLst>
          </p:cNvPr>
          <p:cNvSpPr txBox="1">
            <a:spLocks noChangeAspect="1"/>
          </p:cNvSpPr>
          <p:nvPr/>
        </p:nvSpPr>
        <p:spPr>
          <a:xfrm>
            <a:off x="2290399" y="4771394"/>
            <a:ext cx="192024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t"/>
            <a:r>
              <a:rPr lang="en-US" sz="1400" b="0" i="0" u="none" strike="noStrike">
                <a:solidFill>
                  <a:srgbClr val="000000"/>
                </a:solidFill>
                <a:effectLst/>
                <a:latin typeface="+mn-lt"/>
              </a:rPr>
              <a:t>I feel like I encounter incivility almost every time I go online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E428C786-7098-4635-B9A3-F7958CC82A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47754456"/>
              </p:ext>
            </p:extLst>
          </p:nvPr>
        </p:nvGraphicFramePr>
        <p:xfrm>
          <a:off x="4645550" y="3950822"/>
          <a:ext cx="6089904" cy="2468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2F6F9F90-16A8-4FE9-BA7F-5BD9F4E094DC}"/>
              </a:ext>
            </a:extLst>
          </p:cNvPr>
          <p:cNvGrpSpPr/>
          <p:nvPr/>
        </p:nvGrpSpPr>
        <p:grpSpPr>
          <a:xfrm>
            <a:off x="8468137" y="1918252"/>
            <a:ext cx="640080" cy="4561419"/>
            <a:chOff x="8468137" y="1918252"/>
            <a:chExt cx="640080" cy="456141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613DF38-BEC8-40C9-8B58-3DA66A343178}"/>
                </a:ext>
              </a:extLst>
            </p:cNvPr>
            <p:cNvSpPr/>
            <p:nvPr/>
          </p:nvSpPr>
          <p:spPr bwMode="auto">
            <a:xfrm>
              <a:off x="8468137" y="1918252"/>
              <a:ext cx="640080" cy="1828800"/>
            </a:xfrm>
            <a:prstGeom prst="rect">
              <a:avLst/>
            </a:prstGeom>
            <a:solidFill>
              <a:schemeClr val="accent1">
                <a:alpha val="1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0A1D502-9B47-41FD-8DAB-8C7B4667EF3F}"/>
                </a:ext>
              </a:extLst>
            </p:cNvPr>
            <p:cNvSpPr/>
            <p:nvPr/>
          </p:nvSpPr>
          <p:spPr bwMode="auto">
            <a:xfrm>
              <a:off x="8468137" y="4650871"/>
              <a:ext cx="640080" cy="1828800"/>
            </a:xfrm>
            <a:prstGeom prst="rect">
              <a:avLst/>
            </a:prstGeom>
            <a:solidFill>
              <a:schemeClr val="accent1">
                <a:alpha val="1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1204077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119F53-E862-4C0B-89D0-B4741CE82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1168"/>
            <a:ext cx="10430257" cy="369332"/>
          </a:xfrm>
        </p:spPr>
        <p:txBody>
          <a:bodyPr/>
          <a:lstStyle/>
          <a:p>
            <a:r>
              <a:rPr lang="en-US" sz="2400"/>
              <a:t>Males were more likely to seek retribution and tease others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5B93D2A-1367-495C-B419-375A947939A7}"/>
              </a:ext>
            </a:extLst>
          </p:cNvPr>
          <p:cNvSpPr txBox="1"/>
          <p:nvPr/>
        </p:nvSpPr>
        <p:spPr>
          <a:xfrm>
            <a:off x="660822" y="6496907"/>
            <a:ext cx="5173532" cy="418576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r>
              <a:rPr lang="en-US" sz="800"/>
              <a:t> Q.1A:  Please tell us how much you agree or disagree with the following statements about online civility…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CFEAB55A-8C9C-45C2-85C0-421E60AB7D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6403047"/>
              </p:ext>
            </p:extLst>
          </p:nvPr>
        </p:nvGraphicFramePr>
        <p:xfrm>
          <a:off x="4645550" y="1228544"/>
          <a:ext cx="6089904" cy="2468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920F5AF1-818C-440B-96C7-D2AB4FE18170}"/>
              </a:ext>
            </a:extLst>
          </p:cNvPr>
          <p:cNvSpPr txBox="1">
            <a:spLocks noChangeAspect="1"/>
          </p:cNvSpPr>
          <p:nvPr/>
        </p:nvSpPr>
        <p:spPr>
          <a:xfrm>
            <a:off x="2308701" y="1729450"/>
            <a:ext cx="192023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t"/>
            <a:r>
              <a:rPr lang="en-US" sz="1400" b="0" i="0" u="none" strike="noStrike">
                <a:solidFill>
                  <a:srgbClr val="000000"/>
                </a:solidFill>
                <a:effectLst/>
                <a:latin typeface="+mn-lt"/>
              </a:rPr>
              <a:t>It is okay to send mean responses to others if they have made hurtful comments firs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CF2EB63-321F-4185-ADBC-ABDF43EA925C}"/>
              </a:ext>
            </a:extLst>
          </p:cNvPr>
          <p:cNvSpPr txBox="1"/>
          <p:nvPr/>
        </p:nvSpPr>
        <p:spPr>
          <a:xfrm>
            <a:off x="1157989" y="1762009"/>
            <a:ext cx="737381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3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21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FC5427D-2CC2-4A19-8646-A554B105AAA8}"/>
              </a:ext>
            </a:extLst>
          </p:cNvPr>
          <p:cNvSpPr txBox="1"/>
          <p:nvPr/>
        </p:nvSpPr>
        <p:spPr>
          <a:xfrm>
            <a:off x="1159591" y="4698938"/>
            <a:ext cx="674865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32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11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3BCA8CD-008F-41D6-9007-62A04A54AC11}"/>
              </a:ext>
            </a:extLst>
          </p:cNvPr>
          <p:cNvSpPr txBox="1">
            <a:spLocks noChangeAspect="1"/>
          </p:cNvSpPr>
          <p:nvPr/>
        </p:nvSpPr>
        <p:spPr>
          <a:xfrm>
            <a:off x="2290399" y="4791272"/>
            <a:ext cx="192024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t"/>
            <a:r>
              <a:rPr lang="en-US" sz="1400" b="0" i="0" u="none" strike="noStrike">
                <a:solidFill>
                  <a:srgbClr val="000000"/>
                </a:solidFill>
                <a:effectLst/>
                <a:latin typeface="+mn-lt"/>
              </a:rPr>
              <a:t>Teasing others on social media or through messages is fun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E428C786-7098-4635-B9A3-F7958CC82A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7565313"/>
              </p:ext>
            </p:extLst>
          </p:nvPr>
        </p:nvGraphicFramePr>
        <p:xfrm>
          <a:off x="4645550" y="3950822"/>
          <a:ext cx="6089904" cy="2468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2" name="Picture 11" descr="Shape&#10;&#10;Description automatically generated with low confidence">
            <a:extLst>
              <a:ext uri="{FF2B5EF4-FFF2-40B4-BE49-F238E27FC236}">
                <a16:creationId xmlns:a16="http://schemas.microsoft.com/office/drawing/2014/main" id="{2BDD413D-4E45-4AF2-A0B5-306C10F192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9819" y="2822119"/>
            <a:ext cx="1377657" cy="118872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20DD62EE-8FE5-49F9-892D-D88BC15F2017}"/>
              </a:ext>
            </a:extLst>
          </p:cNvPr>
          <p:cNvSpPr/>
          <p:nvPr/>
        </p:nvSpPr>
        <p:spPr bwMode="auto">
          <a:xfrm>
            <a:off x="6291471" y="1918252"/>
            <a:ext cx="640080" cy="1828800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6428CC3-C633-4164-B8D0-F5B8CA144439}"/>
              </a:ext>
            </a:extLst>
          </p:cNvPr>
          <p:cNvSpPr/>
          <p:nvPr/>
        </p:nvSpPr>
        <p:spPr bwMode="auto">
          <a:xfrm>
            <a:off x="6291471" y="4650871"/>
            <a:ext cx="640080" cy="1828800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7205295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7FC9B-AEB5-4862-AA45-F3AB91CBD8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1168"/>
            <a:ext cx="10430257" cy="677108"/>
          </a:xfrm>
        </p:spPr>
        <p:txBody>
          <a:bodyPr/>
          <a:lstStyle/>
          <a:p>
            <a:r>
              <a:rPr lang="en-US"/>
              <a:t>Respondents increasingly hoped for more kindness &amp; empathy in their future online interaction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3388E2B-485B-4E5A-B587-6675AFE44F4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62951088"/>
              </p:ext>
            </p:extLst>
          </p:nvPr>
        </p:nvGraphicFramePr>
        <p:xfrm>
          <a:off x="585787" y="1450975"/>
          <a:ext cx="5367528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9F391DA7-D202-4AB3-AAC5-8BBE553CB003}"/>
              </a:ext>
            </a:extLst>
          </p:cNvPr>
          <p:cNvSpPr txBox="1"/>
          <p:nvPr/>
        </p:nvSpPr>
        <p:spPr>
          <a:xfrm>
            <a:off x="660822" y="6496907"/>
            <a:ext cx="6574557" cy="418576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r>
              <a:rPr lang="en-US" sz="800"/>
              <a:t> Q12G:  Which three words best describe what you hope will come to define online experiences and interactions during the next decade?</a:t>
            </a:r>
          </a:p>
        </p:txBody>
      </p:sp>
      <p:graphicFrame>
        <p:nvGraphicFramePr>
          <p:cNvPr id="10" name="Content Placeholder 5">
            <a:extLst>
              <a:ext uri="{FF2B5EF4-FFF2-40B4-BE49-F238E27FC236}">
                <a16:creationId xmlns:a16="http://schemas.microsoft.com/office/drawing/2014/main" id="{675E8A78-F72A-4586-85D3-809B68D24D2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83364920"/>
              </p:ext>
            </p:extLst>
          </p:nvPr>
        </p:nvGraphicFramePr>
        <p:xfrm>
          <a:off x="6393553" y="1450975"/>
          <a:ext cx="5367528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064A8BD6-24EF-41DC-A0DD-6BA95E087E9B}"/>
              </a:ext>
            </a:extLst>
          </p:cNvPr>
          <p:cNvSpPr txBox="1"/>
          <p:nvPr/>
        </p:nvSpPr>
        <p:spPr>
          <a:xfrm>
            <a:off x="4443018" y="3765755"/>
            <a:ext cx="70371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Kindnes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E621F83-BB50-4F8D-975D-56EDEC78E44F}"/>
              </a:ext>
            </a:extLst>
          </p:cNvPr>
          <p:cNvSpPr txBox="1"/>
          <p:nvPr/>
        </p:nvSpPr>
        <p:spPr>
          <a:xfrm>
            <a:off x="4437653" y="4152380"/>
            <a:ext cx="68852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mpathy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F947E14-E073-45C6-B924-F33F172FE337}"/>
              </a:ext>
            </a:extLst>
          </p:cNvPr>
          <p:cNvGrpSpPr/>
          <p:nvPr/>
        </p:nvGrpSpPr>
        <p:grpSpPr>
          <a:xfrm>
            <a:off x="10308538" y="2403986"/>
            <a:ext cx="702949" cy="1928489"/>
            <a:chOff x="10308538" y="2374490"/>
            <a:chExt cx="702949" cy="1928489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40AE946-BA7A-4F29-8363-05B36239116E}"/>
                </a:ext>
              </a:extLst>
            </p:cNvPr>
            <p:cNvSpPr txBox="1"/>
            <p:nvPr/>
          </p:nvSpPr>
          <p:spPr>
            <a:xfrm>
              <a:off x="10308538" y="2374490"/>
              <a:ext cx="61856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Respect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ACC072B-B4FF-4396-9C42-0B4B6B20CB8E}"/>
                </a:ext>
              </a:extLst>
            </p:cNvPr>
            <p:cNvSpPr txBox="1"/>
            <p:nvPr/>
          </p:nvSpPr>
          <p:spPr>
            <a:xfrm>
              <a:off x="10308538" y="2905743"/>
              <a:ext cx="485710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Safety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AFF8CCB-9A37-4C2D-97E9-83F4BE95C0B4}"/>
                </a:ext>
              </a:extLst>
            </p:cNvPr>
            <p:cNvSpPr txBox="1"/>
            <p:nvPr/>
          </p:nvSpPr>
          <p:spPr>
            <a:xfrm>
              <a:off x="10308538" y="3765755"/>
              <a:ext cx="517770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Civility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8A815F3-1B7D-4DFF-8437-3C33BD3C50CA}"/>
                </a:ext>
              </a:extLst>
            </p:cNvPr>
            <p:cNvSpPr txBox="1"/>
            <p:nvPr/>
          </p:nvSpPr>
          <p:spPr>
            <a:xfrm>
              <a:off x="10308538" y="4087535"/>
              <a:ext cx="702949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Freedo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1942820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5E6B24-005E-441E-A317-96B539322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2632400"/>
            <a:ext cx="4171950" cy="609398"/>
          </a:xfrm>
        </p:spPr>
        <p:txBody>
          <a:bodyPr/>
          <a:lstStyle/>
          <a:p>
            <a:r>
              <a:rPr lang="en-US" sz="2200"/>
              <a:t>The burden of risk exposure this past year fell hardest on females</a:t>
            </a:r>
          </a:p>
        </p:txBody>
      </p:sp>
    </p:spTree>
    <p:extLst>
      <p:ext uri="{BB962C8B-B14F-4D97-AF65-F5344CB8AC3E}">
        <p14:creationId xmlns:p14="http://schemas.microsoft.com/office/powerpoint/2010/main" val="1826479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Content Placeholder 6">
            <a:extLst>
              <a:ext uri="{FF2B5EF4-FFF2-40B4-BE49-F238E27FC236}">
                <a16:creationId xmlns:a16="http://schemas.microsoft.com/office/drawing/2014/main" id="{0C7DD9E0-56D4-49C8-A141-B4F0637F252C}"/>
              </a:ext>
            </a:extLst>
          </p:cNvPr>
          <p:cNvGraphicFramePr>
            <a:graphicFrameLocks/>
          </p:cNvGraphicFramePr>
          <p:nvPr/>
        </p:nvGraphicFramePr>
        <p:xfrm>
          <a:off x="3456514" y="1538524"/>
          <a:ext cx="2542032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C0B008-0D5C-4FBB-89A4-AB1C0BDB1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338554"/>
          </a:xfrm>
        </p:spPr>
        <p:txBody>
          <a:bodyPr/>
          <a:lstStyle/>
          <a:p>
            <a:r>
              <a:rPr lang="en-US"/>
              <a:t>Males and females experienced and viewed online civility differently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5055A592-C18C-4DD1-AD5F-D8793C8FCA2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282494" y="1538524"/>
          <a:ext cx="2542032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ontent Placeholder 6">
            <a:extLst>
              <a:ext uri="{FF2B5EF4-FFF2-40B4-BE49-F238E27FC236}">
                <a16:creationId xmlns:a16="http://schemas.microsoft.com/office/drawing/2014/main" id="{98FFA493-9A10-4C1D-B4DD-8C28CF8B27AE}"/>
              </a:ext>
            </a:extLst>
          </p:cNvPr>
          <p:cNvGraphicFramePr>
            <a:graphicFrameLocks/>
          </p:cNvGraphicFramePr>
          <p:nvPr/>
        </p:nvGraphicFramePr>
        <p:xfrm>
          <a:off x="9108473" y="1538524"/>
          <a:ext cx="2542032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Content Placeholder 6">
            <a:extLst>
              <a:ext uri="{FF2B5EF4-FFF2-40B4-BE49-F238E27FC236}">
                <a16:creationId xmlns:a16="http://schemas.microsoft.com/office/drawing/2014/main" id="{65492545-A0E9-48E3-A562-62BF76D0B9FE}"/>
              </a:ext>
            </a:extLst>
          </p:cNvPr>
          <p:cNvGraphicFramePr>
            <a:graphicFrameLocks/>
          </p:cNvGraphicFramePr>
          <p:nvPr/>
        </p:nvGraphicFramePr>
        <p:xfrm>
          <a:off x="630534" y="1538524"/>
          <a:ext cx="2542032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7C01F1FF-BA1C-4DFD-9DEB-7C74D494D577}"/>
              </a:ext>
            </a:extLst>
          </p:cNvPr>
          <p:cNvSpPr txBox="1"/>
          <p:nvPr/>
        </p:nvSpPr>
        <p:spPr>
          <a:xfrm>
            <a:off x="9251434" y="5966007"/>
            <a:ext cx="239907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I have sent mean messages to others after they have made hurtful comments about me</a:t>
            </a:r>
            <a:endParaRPr lang="en-US" sz="10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611122180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Content Placeholder 6">
            <a:extLst>
              <a:ext uri="{FF2B5EF4-FFF2-40B4-BE49-F238E27FC236}">
                <a16:creationId xmlns:a16="http://schemas.microsoft.com/office/drawing/2014/main" id="{0C7DD9E0-56D4-49C8-A141-B4F0637F252C}"/>
              </a:ext>
            </a:extLst>
          </p:cNvPr>
          <p:cNvGraphicFramePr>
            <a:graphicFrameLocks/>
          </p:cNvGraphicFramePr>
          <p:nvPr/>
        </p:nvGraphicFramePr>
        <p:xfrm>
          <a:off x="3456514" y="1538524"/>
          <a:ext cx="2542032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C0B008-0D5C-4FBB-89A4-AB1C0BDB1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338554"/>
          </a:xfrm>
        </p:spPr>
        <p:txBody>
          <a:bodyPr/>
          <a:lstStyle/>
          <a:p>
            <a:r>
              <a:rPr lang="en-US"/>
              <a:t>Females experienced almost 60% of all risks reported in 2021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5055A592-C18C-4DD1-AD5F-D8793C8FCA2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282494" y="1538524"/>
          <a:ext cx="2542032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Speech Bubble: Rectangle with Corners Rounded 9">
            <a:extLst>
              <a:ext uri="{FF2B5EF4-FFF2-40B4-BE49-F238E27FC236}">
                <a16:creationId xmlns:a16="http://schemas.microsoft.com/office/drawing/2014/main" id="{6E0EB568-DB32-46D5-B960-DB9C9406A82E}"/>
              </a:ext>
            </a:extLst>
          </p:cNvPr>
          <p:cNvSpPr/>
          <p:nvPr/>
        </p:nvSpPr>
        <p:spPr bwMode="auto">
          <a:xfrm>
            <a:off x="3777380" y="2339824"/>
            <a:ext cx="2015613" cy="321469"/>
          </a:xfrm>
          <a:prstGeom prst="wedgeRoundRectCallout">
            <a:avLst>
              <a:gd name="adj1" fmla="val 28018"/>
              <a:gd name="adj2" fmla="val 114281"/>
              <a:gd name="adj3" fmla="val 16667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All-time high for fema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4121FF-1FDE-471C-BD5F-D9F683269BC3}"/>
              </a:ext>
            </a:extLst>
          </p:cNvPr>
          <p:cNvSpPr txBox="1"/>
          <p:nvPr/>
        </p:nvSpPr>
        <p:spPr>
          <a:xfrm>
            <a:off x="660822" y="6505616"/>
            <a:ext cx="4221348" cy="4062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Q2: Which of these has ever happened to you or to a friend/family member ONLINE?</a:t>
            </a:r>
          </a:p>
        </p:txBody>
      </p:sp>
      <p:graphicFrame>
        <p:nvGraphicFramePr>
          <p:cNvPr id="8" name="Content Placeholder 6">
            <a:extLst>
              <a:ext uri="{FF2B5EF4-FFF2-40B4-BE49-F238E27FC236}">
                <a16:creationId xmlns:a16="http://schemas.microsoft.com/office/drawing/2014/main" id="{98FFA493-9A10-4C1D-B4DD-8C28CF8B27AE}"/>
              </a:ext>
            </a:extLst>
          </p:cNvPr>
          <p:cNvGraphicFramePr>
            <a:graphicFrameLocks/>
          </p:cNvGraphicFramePr>
          <p:nvPr/>
        </p:nvGraphicFramePr>
        <p:xfrm>
          <a:off x="9108473" y="1538524"/>
          <a:ext cx="2542032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Content Placeholder 6">
            <a:extLst>
              <a:ext uri="{FF2B5EF4-FFF2-40B4-BE49-F238E27FC236}">
                <a16:creationId xmlns:a16="http://schemas.microsoft.com/office/drawing/2014/main" id="{65492545-A0E9-48E3-A562-62BF76D0B9FE}"/>
              </a:ext>
            </a:extLst>
          </p:cNvPr>
          <p:cNvGraphicFramePr>
            <a:graphicFrameLocks/>
          </p:cNvGraphicFramePr>
          <p:nvPr/>
        </p:nvGraphicFramePr>
        <p:xfrm>
          <a:off x="630534" y="1538524"/>
          <a:ext cx="2542032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52552044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5E134E-71AD-492A-BD74-E4F219530A3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8263" y="2182505"/>
            <a:ext cx="4171950" cy="553998"/>
          </a:xfrm>
        </p:spPr>
        <p:txBody>
          <a:bodyPr/>
          <a:lstStyle/>
          <a:p>
            <a:br>
              <a:rPr lang="en-US" sz="1800"/>
            </a:br>
            <a:endParaRPr lang="en-US" sz="180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E4210FB-4981-4C08-99B6-ED6709D2839A}"/>
              </a:ext>
            </a:extLst>
          </p:cNvPr>
          <p:cNvSpPr txBox="1">
            <a:spLocks/>
          </p:cNvSpPr>
          <p:nvPr/>
        </p:nvSpPr>
        <p:spPr>
          <a:xfrm>
            <a:off x="588263" y="615023"/>
            <a:ext cx="10430257" cy="304699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200" b="0" kern="1200" cap="none" spc="-50" baseline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New survey topics in Wave 6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890B20-EFE2-42FC-968F-92881D0A3AF3}"/>
              </a:ext>
            </a:extLst>
          </p:cNvPr>
          <p:cNvSpPr txBox="1"/>
          <p:nvPr/>
        </p:nvSpPr>
        <p:spPr>
          <a:xfrm>
            <a:off x="489093" y="1982297"/>
            <a:ext cx="4709924" cy="31391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6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titudes and perceptions about civility</a:t>
            </a:r>
          </a:p>
          <a:p>
            <a:pPr marL="800100" marR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86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6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urce of incivility by age for teens and Gen Z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86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6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equency of using social media, online gaming and messaging apps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86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6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impact of online meetings and classes on civility</a:t>
            </a:r>
            <a:endParaRPr lang="en-US" sz="1860"/>
          </a:p>
        </p:txBody>
      </p:sp>
    </p:spTree>
    <p:extLst>
      <p:ext uri="{BB962C8B-B14F-4D97-AF65-F5344CB8AC3E}">
        <p14:creationId xmlns:p14="http://schemas.microsoft.com/office/powerpoint/2010/main" val="119890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Content Placeholder 6">
            <a:extLst>
              <a:ext uri="{FF2B5EF4-FFF2-40B4-BE49-F238E27FC236}">
                <a16:creationId xmlns:a16="http://schemas.microsoft.com/office/drawing/2014/main" id="{0C7DD9E0-56D4-49C8-A141-B4F0637F252C}"/>
              </a:ext>
            </a:extLst>
          </p:cNvPr>
          <p:cNvGraphicFramePr>
            <a:graphicFrameLocks/>
          </p:cNvGraphicFramePr>
          <p:nvPr/>
        </p:nvGraphicFramePr>
        <p:xfrm>
          <a:off x="3456514" y="1538524"/>
          <a:ext cx="2542032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C0B008-0D5C-4FBB-89A4-AB1C0BDB1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677108"/>
          </a:xfrm>
        </p:spPr>
        <p:txBody>
          <a:bodyPr/>
          <a:lstStyle/>
          <a:p>
            <a:r>
              <a:rPr lang="en-US"/>
              <a:t>More frequent use of social media &amp; messaging apps by females could be driving share of risks higher compared to males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5055A592-C18C-4DD1-AD5F-D8793C8FCA2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282494" y="1538524"/>
          <a:ext cx="2542032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5C4121FF-1FDE-471C-BD5F-D9F683269BC3}"/>
              </a:ext>
            </a:extLst>
          </p:cNvPr>
          <p:cNvSpPr txBox="1"/>
          <p:nvPr/>
        </p:nvSpPr>
        <p:spPr>
          <a:xfrm>
            <a:off x="660822" y="6505616"/>
            <a:ext cx="3934410" cy="4062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 Q.12J:  How often do you personally use any of the following &lt;insert activity&gt;</a:t>
            </a:r>
          </a:p>
        </p:txBody>
      </p:sp>
      <p:graphicFrame>
        <p:nvGraphicFramePr>
          <p:cNvPr id="8" name="Content Placeholder 6">
            <a:extLst>
              <a:ext uri="{FF2B5EF4-FFF2-40B4-BE49-F238E27FC236}">
                <a16:creationId xmlns:a16="http://schemas.microsoft.com/office/drawing/2014/main" id="{98FFA493-9A10-4C1D-B4DD-8C28CF8B27AE}"/>
              </a:ext>
            </a:extLst>
          </p:cNvPr>
          <p:cNvGraphicFramePr>
            <a:graphicFrameLocks/>
          </p:cNvGraphicFramePr>
          <p:nvPr/>
        </p:nvGraphicFramePr>
        <p:xfrm>
          <a:off x="9108473" y="1538524"/>
          <a:ext cx="2542032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Content Placeholder 6">
            <a:extLst>
              <a:ext uri="{FF2B5EF4-FFF2-40B4-BE49-F238E27FC236}">
                <a16:creationId xmlns:a16="http://schemas.microsoft.com/office/drawing/2014/main" id="{65492545-A0E9-48E3-A562-62BF76D0B9FE}"/>
              </a:ext>
            </a:extLst>
          </p:cNvPr>
          <p:cNvGraphicFramePr>
            <a:graphicFrameLocks/>
          </p:cNvGraphicFramePr>
          <p:nvPr/>
        </p:nvGraphicFramePr>
        <p:xfrm>
          <a:off x="630534" y="1538524"/>
          <a:ext cx="2542032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75777648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Content Placeholder 6">
            <a:extLst>
              <a:ext uri="{FF2B5EF4-FFF2-40B4-BE49-F238E27FC236}">
                <a16:creationId xmlns:a16="http://schemas.microsoft.com/office/drawing/2014/main" id="{0C7DD9E0-56D4-49C8-A141-B4F0637F252C}"/>
              </a:ext>
            </a:extLst>
          </p:cNvPr>
          <p:cNvGraphicFramePr>
            <a:graphicFrameLocks/>
          </p:cNvGraphicFramePr>
          <p:nvPr/>
        </p:nvGraphicFramePr>
        <p:xfrm>
          <a:off x="4322567" y="1538524"/>
          <a:ext cx="348386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C0B008-0D5C-4FBB-89A4-AB1C0BDB1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338554"/>
          </a:xfrm>
        </p:spPr>
        <p:txBody>
          <a:bodyPr/>
          <a:lstStyle/>
          <a:p>
            <a:r>
              <a:rPr lang="en-US"/>
              <a:t>Negative outcomes from risks were higher for females than males</a:t>
            </a:r>
          </a:p>
        </p:txBody>
      </p:sp>
      <p:graphicFrame>
        <p:nvGraphicFramePr>
          <p:cNvPr id="13" name="Content Placeholder 6">
            <a:extLst>
              <a:ext uri="{FF2B5EF4-FFF2-40B4-BE49-F238E27FC236}">
                <a16:creationId xmlns:a16="http://schemas.microsoft.com/office/drawing/2014/main" id="{65492545-A0E9-48E3-A562-62BF76D0B9FE}"/>
              </a:ext>
            </a:extLst>
          </p:cNvPr>
          <p:cNvGraphicFramePr>
            <a:graphicFrameLocks/>
          </p:cNvGraphicFramePr>
          <p:nvPr/>
        </p:nvGraphicFramePr>
        <p:xfrm>
          <a:off x="630534" y="1538524"/>
          <a:ext cx="348386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ontent Placeholder 6">
            <a:extLst>
              <a:ext uri="{FF2B5EF4-FFF2-40B4-BE49-F238E27FC236}">
                <a16:creationId xmlns:a16="http://schemas.microsoft.com/office/drawing/2014/main" id="{E7FDF579-87EE-444C-B3AF-0AFDDE095247}"/>
              </a:ext>
            </a:extLst>
          </p:cNvPr>
          <p:cNvGraphicFramePr>
            <a:graphicFrameLocks/>
          </p:cNvGraphicFramePr>
          <p:nvPr/>
        </p:nvGraphicFramePr>
        <p:xfrm>
          <a:off x="8014600" y="1538524"/>
          <a:ext cx="348386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46044AF-F413-4A42-A408-74D11BBA92EB}"/>
              </a:ext>
            </a:extLst>
          </p:cNvPr>
          <p:cNvSpPr txBox="1"/>
          <p:nvPr/>
        </p:nvSpPr>
        <p:spPr>
          <a:xfrm>
            <a:off x="660822" y="6319112"/>
            <a:ext cx="6784550" cy="664797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r>
              <a:rPr lang="en-US" sz="800">
                <a:cs typeface="Arial" panose="020B0604020202020204" pitchFamily="34" charset="0"/>
              </a:rPr>
              <a:t>Q.9:  Please tell us if any of the following has ever happened to you or to a friend/family member as a consequence of being treated uncivilly</a:t>
            </a:r>
          </a:p>
          <a:p>
            <a:r>
              <a:rPr lang="en-US" sz="800">
                <a:cs typeface="Arial" panose="020B0604020202020204" pitchFamily="34" charset="0"/>
              </a:rPr>
              <a:t>Q.5_7:  How much do you worry about this happening to you again: &lt;insert risks&gt;</a:t>
            </a:r>
          </a:p>
          <a:p>
            <a:r>
              <a:rPr lang="en-US" sz="800">
                <a:cs typeface="Arial" panose="020B0604020202020204" pitchFamily="34" charset="0"/>
              </a:rPr>
              <a:t>Q.5_1:  How much emotional, psychological or physical pain did you suffer because of: &lt;insert risk&gt;</a:t>
            </a:r>
          </a:p>
        </p:txBody>
      </p:sp>
    </p:spTree>
    <p:extLst>
      <p:ext uri="{BB962C8B-B14F-4D97-AF65-F5344CB8AC3E}">
        <p14:creationId xmlns:p14="http://schemas.microsoft.com/office/powerpoint/2010/main" val="3607473339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Content Placeholder 6">
            <a:extLst>
              <a:ext uri="{FF2B5EF4-FFF2-40B4-BE49-F238E27FC236}">
                <a16:creationId xmlns:a16="http://schemas.microsoft.com/office/drawing/2014/main" id="{0C7DD9E0-56D4-49C8-A141-B4F0637F252C}"/>
              </a:ext>
            </a:extLst>
          </p:cNvPr>
          <p:cNvGraphicFramePr>
            <a:graphicFrameLocks/>
          </p:cNvGraphicFramePr>
          <p:nvPr/>
        </p:nvGraphicFramePr>
        <p:xfrm>
          <a:off x="4322567" y="1538524"/>
          <a:ext cx="348386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C0B008-0D5C-4FBB-89A4-AB1C0BDB1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338554"/>
          </a:xfrm>
        </p:spPr>
        <p:txBody>
          <a:bodyPr/>
          <a:lstStyle/>
          <a:p>
            <a:r>
              <a:rPr lang="en-US"/>
              <a:t>The top consequences, worries &amp; pains were higher for females than males</a:t>
            </a:r>
          </a:p>
        </p:txBody>
      </p:sp>
      <p:graphicFrame>
        <p:nvGraphicFramePr>
          <p:cNvPr id="13" name="Content Placeholder 6">
            <a:extLst>
              <a:ext uri="{FF2B5EF4-FFF2-40B4-BE49-F238E27FC236}">
                <a16:creationId xmlns:a16="http://schemas.microsoft.com/office/drawing/2014/main" id="{65492545-A0E9-48E3-A562-62BF76D0B9FE}"/>
              </a:ext>
            </a:extLst>
          </p:cNvPr>
          <p:cNvGraphicFramePr>
            <a:graphicFrameLocks/>
          </p:cNvGraphicFramePr>
          <p:nvPr/>
        </p:nvGraphicFramePr>
        <p:xfrm>
          <a:off x="630534" y="1538524"/>
          <a:ext cx="348386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ontent Placeholder 6">
            <a:extLst>
              <a:ext uri="{FF2B5EF4-FFF2-40B4-BE49-F238E27FC236}">
                <a16:creationId xmlns:a16="http://schemas.microsoft.com/office/drawing/2014/main" id="{E7FDF579-87EE-444C-B3AF-0AFDDE095247}"/>
              </a:ext>
            </a:extLst>
          </p:cNvPr>
          <p:cNvGraphicFramePr>
            <a:graphicFrameLocks/>
          </p:cNvGraphicFramePr>
          <p:nvPr/>
        </p:nvGraphicFramePr>
        <p:xfrm>
          <a:off x="8014600" y="1538524"/>
          <a:ext cx="348386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32FD9CB-B168-4792-839A-266A86E5A252}"/>
              </a:ext>
            </a:extLst>
          </p:cNvPr>
          <p:cNvSpPr txBox="1"/>
          <p:nvPr/>
        </p:nvSpPr>
        <p:spPr>
          <a:xfrm>
            <a:off x="660822" y="6319112"/>
            <a:ext cx="6784550" cy="664797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r>
              <a:rPr lang="en-US" sz="800">
                <a:cs typeface="Arial" panose="020B0604020202020204" pitchFamily="34" charset="0"/>
              </a:rPr>
              <a:t>Q.9:  Please tell us if any of the following has ever happened to you or to a friend/family member as a consequence of being treated uncivilly</a:t>
            </a:r>
          </a:p>
          <a:p>
            <a:r>
              <a:rPr lang="en-US" sz="800">
                <a:cs typeface="Arial" panose="020B0604020202020204" pitchFamily="34" charset="0"/>
              </a:rPr>
              <a:t>Q.5_7:  How much do you worry about this happening to you again: &lt;insert risks&gt;</a:t>
            </a:r>
          </a:p>
          <a:p>
            <a:r>
              <a:rPr lang="en-US" sz="800">
                <a:cs typeface="Arial" panose="020B0604020202020204" pitchFamily="34" charset="0"/>
              </a:rPr>
              <a:t>Q.5_1:  How much emotional, psychological or physical pain did you suffer because of: &lt;insert risk&gt;</a:t>
            </a:r>
          </a:p>
        </p:txBody>
      </p:sp>
    </p:spTree>
    <p:extLst>
      <p:ext uri="{BB962C8B-B14F-4D97-AF65-F5344CB8AC3E}">
        <p14:creationId xmlns:p14="http://schemas.microsoft.com/office/powerpoint/2010/main" val="1790760644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DF1F56-6AC0-409F-A1B4-6663458CB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338554"/>
          </a:xfrm>
        </p:spPr>
        <p:txBody>
          <a:bodyPr/>
          <a:lstStyle/>
          <a:p>
            <a:r>
              <a:rPr lang="en-US"/>
              <a:t>Most incivility for teens &amp; 18-24-year-olds comes from people their own age</a:t>
            </a:r>
            <a:endParaRPr lang="en-US" sz="1400"/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EABB99DE-7A1E-41C6-B7AB-4A1D829676F0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85788" y="1450975"/>
          <a:ext cx="536575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58D0C411-5109-4AA3-90E0-DA7289077C6A}"/>
              </a:ext>
            </a:extLst>
          </p:cNvPr>
          <p:cNvGraphicFramePr>
            <a:graphicFrameLocks noGrp="1"/>
          </p:cNvGraphicFramePr>
          <p:nvPr>
            <p:ph idx="10"/>
          </p:nvPr>
        </p:nvGraphicFramePr>
        <p:xfrm>
          <a:off x="6249988" y="1450975"/>
          <a:ext cx="536575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51203B90-DD2C-4BE9-B835-3CC29662E2F0}"/>
              </a:ext>
            </a:extLst>
          </p:cNvPr>
          <p:cNvSpPr txBox="1"/>
          <p:nvPr/>
        </p:nvSpPr>
        <p:spPr>
          <a:xfrm>
            <a:off x="660822" y="6496907"/>
            <a:ext cx="4973156" cy="418576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r>
              <a:rPr lang="en-US" sz="800"/>
              <a:t> Q.2C_2:  Who do you think is most responsible for uncivil behavior you experience or witness online?</a:t>
            </a:r>
          </a:p>
        </p:txBody>
      </p:sp>
      <p:sp>
        <p:nvSpPr>
          <p:cNvPr id="13" name="Speech Bubble: Rectangle with Corners Rounded 12">
            <a:extLst>
              <a:ext uri="{FF2B5EF4-FFF2-40B4-BE49-F238E27FC236}">
                <a16:creationId xmlns:a16="http://schemas.microsoft.com/office/drawing/2014/main" id="{5121ACFE-3A99-41A5-A3E6-68097EDE2C26}"/>
              </a:ext>
            </a:extLst>
          </p:cNvPr>
          <p:cNvSpPr/>
          <p:nvPr/>
        </p:nvSpPr>
        <p:spPr bwMode="auto">
          <a:xfrm>
            <a:off x="6681336" y="2218083"/>
            <a:ext cx="1776861" cy="367231"/>
          </a:xfrm>
          <a:prstGeom prst="wedgeRoundRectCallout">
            <a:avLst>
              <a:gd name="adj1" fmla="val 32639"/>
              <a:gd name="adj2" fmla="val 87069"/>
              <a:gd name="adj3" fmla="val 16667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Males blame people their own age</a:t>
            </a:r>
          </a:p>
        </p:txBody>
      </p:sp>
      <p:sp>
        <p:nvSpPr>
          <p:cNvPr id="15" name="Speech Bubble: Rectangle with Corners Rounded 14">
            <a:extLst>
              <a:ext uri="{FF2B5EF4-FFF2-40B4-BE49-F238E27FC236}">
                <a16:creationId xmlns:a16="http://schemas.microsoft.com/office/drawing/2014/main" id="{B35DFAB0-94AA-4910-B3F6-5ADFDF3448B4}"/>
              </a:ext>
            </a:extLst>
          </p:cNvPr>
          <p:cNvSpPr/>
          <p:nvPr/>
        </p:nvSpPr>
        <p:spPr bwMode="auto">
          <a:xfrm>
            <a:off x="9743036" y="2266639"/>
            <a:ext cx="2160933" cy="338554"/>
          </a:xfrm>
          <a:prstGeom prst="wedgeRoundRectCallout">
            <a:avLst>
              <a:gd name="adj1" fmla="val -38816"/>
              <a:gd name="adj2" fmla="val 106394"/>
              <a:gd name="adj3" fmla="val 16667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Females blame Millennials</a:t>
            </a:r>
          </a:p>
        </p:txBody>
      </p:sp>
    </p:spTree>
    <p:extLst>
      <p:ext uri="{BB962C8B-B14F-4D97-AF65-F5344CB8AC3E}">
        <p14:creationId xmlns:p14="http://schemas.microsoft.com/office/powerpoint/2010/main" val="2887505773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31B8F8-5A52-4FD4-888E-C4904960B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2327702"/>
            <a:ext cx="4171950" cy="914096"/>
          </a:xfrm>
        </p:spPr>
        <p:txBody>
          <a:bodyPr/>
          <a:lstStyle/>
          <a:p>
            <a:r>
              <a:rPr lang="en-US" sz="2200">
                <a:solidFill>
                  <a:schemeClr val="bg1"/>
                </a:solidFill>
              </a:rPr>
              <a:t>Online meetings &amp; classes were catalysts for experiencing and </a:t>
            </a:r>
            <a:r>
              <a:rPr lang="en-US" sz="2200"/>
              <a:t>encouraging </a:t>
            </a:r>
            <a:r>
              <a:rPr lang="en-US" sz="2200">
                <a:solidFill>
                  <a:schemeClr val="bg1"/>
                </a:solidFill>
              </a:rPr>
              <a:t>greater civility</a:t>
            </a:r>
            <a:endParaRPr lang="en-US" sz="2200"/>
          </a:p>
        </p:txBody>
      </p:sp>
    </p:spTree>
    <p:extLst>
      <p:ext uri="{BB962C8B-B14F-4D97-AF65-F5344CB8AC3E}">
        <p14:creationId xmlns:p14="http://schemas.microsoft.com/office/powerpoint/2010/main" val="3668639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9F7D5-0E30-4E5E-B6C6-E8C38D92B5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articipation rates were high for online meetings &amp; class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34B82C-F7A4-4CC2-853C-6A984374DED9}"/>
              </a:ext>
            </a:extLst>
          </p:cNvPr>
          <p:cNvSpPr txBox="1"/>
          <p:nvPr/>
        </p:nvSpPr>
        <p:spPr>
          <a:xfrm>
            <a:off x="917563" y="6582965"/>
            <a:ext cx="801501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8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Q.PM1:  As part of your work over the past year, did you regularly participate in any online meetings where you meet with work colleagues online instead of meeting in-person?</a:t>
            </a:r>
          </a:p>
          <a:p>
            <a:pPr algn="l"/>
            <a:r>
              <a:rPr lang="en-US" sz="8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Q.PM1A:  In your schoolwork over the past year, did you regularly attend classes online rather than meeting in the classroom with your teachers and fellow students?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7A19885-8710-4FB0-B114-662C8FE3B6D7}"/>
              </a:ext>
            </a:extLst>
          </p:cNvPr>
          <p:cNvGrpSpPr/>
          <p:nvPr/>
        </p:nvGrpSpPr>
        <p:grpSpPr>
          <a:xfrm>
            <a:off x="5679567" y="1451616"/>
            <a:ext cx="5367528" cy="4352544"/>
            <a:chOff x="90608" y="2053795"/>
            <a:chExt cx="3801213" cy="3755735"/>
          </a:xfrm>
        </p:grpSpPr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CE4D96F2-3D86-4902-BDC5-758074674CA6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578139786"/>
                </p:ext>
              </p:extLst>
            </p:nvPr>
          </p:nvGraphicFramePr>
          <p:xfrm>
            <a:off x="90608" y="2700126"/>
            <a:ext cx="3801213" cy="31094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3EB735C-2AAF-4B85-BD1D-58DC31588BCB}"/>
                </a:ext>
              </a:extLst>
            </p:cNvPr>
            <p:cNvSpPr txBox="1"/>
            <p:nvPr/>
          </p:nvSpPr>
          <p:spPr>
            <a:xfrm>
              <a:off x="627793" y="2053795"/>
              <a:ext cx="3040093" cy="4249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>
                  <a:solidFill>
                    <a:srgbClr val="595959"/>
                  </a:solidFill>
                </a:rPr>
                <a:t>Online classes</a:t>
              </a:r>
            </a:p>
            <a:p>
              <a:r>
                <a:rPr lang="en-US" sz="1000">
                  <a:solidFill>
                    <a:srgbClr val="595959"/>
                  </a:solidFill>
                </a:rPr>
                <a:t>Base: students, n=6203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68C63E5-DEC0-4845-AC2B-DE7C57EC9325}"/>
              </a:ext>
            </a:extLst>
          </p:cNvPr>
          <p:cNvGrpSpPr/>
          <p:nvPr/>
        </p:nvGrpSpPr>
        <p:grpSpPr>
          <a:xfrm>
            <a:off x="438912" y="1451616"/>
            <a:ext cx="5367528" cy="4352544"/>
            <a:chOff x="90608" y="2053795"/>
            <a:chExt cx="3801213" cy="3755735"/>
          </a:xfrm>
        </p:grpSpPr>
        <p:graphicFrame>
          <p:nvGraphicFramePr>
            <p:cNvPr id="13" name="Chart 12">
              <a:extLst>
                <a:ext uri="{FF2B5EF4-FFF2-40B4-BE49-F238E27FC236}">
                  <a16:creationId xmlns:a16="http://schemas.microsoft.com/office/drawing/2014/main" id="{4F1D50FB-32C6-4C62-A1C6-AFF1A7DFEC58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673010549"/>
                </p:ext>
              </p:extLst>
            </p:nvPr>
          </p:nvGraphicFramePr>
          <p:xfrm>
            <a:off x="90608" y="2700126"/>
            <a:ext cx="3801213" cy="31094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DBB427C-6855-4852-B41B-EAA672F8896B}"/>
                </a:ext>
              </a:extLst>
            </p:cNvPr>
            <p:cNvSpPr txBox="1"/>
            <p:nvPr/>
          </p:nvSpPr>
          <p:spPr>
            <a:xfrm>
              <a:off x="627793" y="2053795"/>
              <a:ext cx="3040093" cy="4249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>
                  <a:solidFill>
                    <a:srgbClr val="595959"/>
                  </a:solidFill>
                </a:rPr>
                <a:t>Online meetings</a:t>
              </a:r>
            </a:p>
            <a:p>
              <a:r>
                <a:rPr lang="en-US" sz="1000">
                  <a:solidFill>
                    <a:srgbClr val="595959"/>
                  </a:solidFill>
                </a:rPr>
                <a:t>Base: employed, n=6203</a:t>
              </a:r>
            </a:p>
          </p:txBody>
        </p:sp>
      </p:grpSp>
      <p:sp>
        <p:nvSpPr>
          <p:cNvPr id="16" name="graduate" title="Icon of a graduation cap">
            <a:extLst>
              <a:ext uri="{FF2B5EF4-FFF2-40B4-BE49-F238E27FC236}">
                <a16:creationId xmlns:a16="http://schemas.microsoft.com/office/drawing/2014/main" id="{C3FCF0B7-1177-47BD-AD26-D0CA0EDE52C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002030" y="3468328"/>
            <a:ext cx="746181" cy="640080"/>
          </a:xfrm>
          <a:custGeom>
            <a:avLst/>
            <a:gdLst>
              <a:gd name="T0" fmla="*/ 103 w 312"/>
              <a:gd name="T1" fmla="*/ 32 h 268"/>
              <a:gd name="T2" fmla="*/ 165 w 312"/>
              <a:gd name="T3" fmla="*/ 0 h 268"/>
              <a:gd name="T4" fmla="*/ 312 w 312"/>
              <a:gd name="T5" fmla="*/ 74 h 268"/>
              <a:gd name="T6" fmla="*/ 165 w 312"/>
              <a:gd name="T7" fmla="*/ 147 h 268"/>
              <a:gd name="T8" fmla="*/ 21 w 312"/>
              <a:gd name="T9" fmla="*/ 74 h 268"/>
              <a:gd name="T10" fmla="*/ 103 w 312"/>
              <a:gd name="T11" fmla="*/ 32 h 268"/>
              <a:gd name="T12" fmla="*/ 87 w 312"/>
              <a:gd name="T13" fmla="*/ 108 h 268"/>
              <a:gd name="T14" fmla="*/ 69 w 312"/>
              <a:gd name="T15" fmla="*/ 174 h 268"/>
              <a:gd name="T16" fmla="*/ 165 w 312"/>
              <a:gd name="T17" fmla="*/ 224 h 268"/>
              <a:gd name="T18" fmla="*/ 260 w 312"/>
              <a:gd name="T19" fmla="*/ 174 h 268"/>
              <a:gd name="T20" fmla="*/ 243 w 312"/>
              <a:gd name="T21" fmla="*/ 108 h 268"/>
              <a:gd name="T22" fmla="*/ 53 w 312"/>
              <a:gd name="T23" fmla="*/ 268 h 268"/>
              <a:gd name="T24" fmla="*/ 53 w 312"/>
              <a:gd name="T25" fmla="*/ 226 h 268"/>
              <a:gd name="T26" fmla="*/ 26 w 312"/>
              <a:gd name="T27" fmla="*/ 200 h 268"/>
              <a:gd name="T28" fmla="*/ 26 w 312"/>
              <a:gd name="T29" fmla="*/ 200 h 268"/>
              <a:gd name="T30" fmla="*/ 0 w 312"/>
              <a:gd name="T31" fmla="*/ 226 h 268"/>
              <a:gd name="T32" fmla="*/ 0 w 312"/>
              <a:gd name="T33" fmla="*/ 268 h 268"/>
              <a:gd name="T34" fmla="*/ 53 w 312"/>
              <a:gd name="T35" fmla="*/ 268 h 268"/>
              <a:gd name="T36" fmla="*/ 26 w 312"/>
              <a:gd name="T37" fmla="*/ 77 h 268"/>
              <a:gd name="T38" fmla="*/ 26 w 312"/>
              <a:gd name="T39" fmla="*/ 200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12" h="268">
                <a:moveTo>
                  <a:pt x="103" y="32"/>
                </a:moveTo>
                <a:cubicBezTo>
                  <a:pt x="165" y="0"/>
                  <a:pt x="165" y="0"/>
                  <a:pt x="165" y="0"/>
                </a:cubicBezTo>
                <a:cubicBezTo>
                  <a:pt x="312" y="74"/>
                  <a:pt x="312" y="74"/>
                  <a:pt x="312" y="74"/>
                </a:cubicBezTo>
                <a:cubicBezTo>
                  <a:pt x="165" y="147"/>
                  <a:pt x="165" y="147"/>
                  <a:pt x="165" y="147"/>
                </a:cubicBezTo>
                <a:cubicBezTo>
                  <a:pt x="21" y="74"/>
                  <a:pt x="21" y="74"/>
                  <a:pt x="21" y="74"/>
                </a:cubicBezTo>
                <a:lnTo>
                  <a:pt x="103" y="32"/>
                </a:lnTo>
                <a:close/>
                <a:moveTo>
                  <a:pt x="87" y="108"/>
                </a:moveTo>
                <a:cubicBezTo>
                  <a:pt x="69" y="130"/>
                  <a:pt x="69" y="174"/>
                  <a:pt x="69" y="174"/>
                </a:cubicBezTo>
                <a:cubicBezTo>
                  <a:pt x="165" y="224"/>
                  <a:pt x="165" y="224"/>
                  <a:pt x="165" y="224"/>
                </a:cubicBezTo>
                <a:cubicBezTo>
                  <a:pt x="260" y="174"/>
                  <a:pt x="260" y="174"/>
                  <a:pt x="260" y="174"/>
                </a:cubicBezTo>
                <a:cubicBezTo>
                  <a:pt x="260" y="174"/>
                  <a:pt x="260" y="131"/>
                  <a:pt x="243" y="108"/>
                </a:cubicBezTo>
                <a:moveTo>
                  <a:pt x="53" y="268"/>
                </a:moveTo>
                <a:cubicBezTo>
                  <a:pt x="53" y="226"/>
                  <a:pt x="53" y="226"/>
                  <a:pt x="53" y="226"/>
                </a:cubicBezTo>
                <a:cubicBezTo>
                  <a:pt x="53" y="212"/>
                  <a:pt x="41" y="200"/>
                  <a:pt x="26" y="200"/>
                </a:cubicBezTo>
                <a:cubicBezTo>
                  <a:pt x="26" y="200"/>
                  <a:pt x="26" y="200"/>
                  <a:pt x="26" y="200"/>
                </a:cubicBezTo>
                <a:cubicBezTo>
                  <a:pt x="12" y="200"/>
                  <a:pt x="0" y="212"/>
                  <a:pt x="0" y="226"/>
                </a:cubicBezTo>
                <a:cubicBezTo>
                  <a:pt x="0" y="268"/>
                  <a:pt x="0" y="268"/>
                  <a:pt x="0" y="268"/>
                </a:cubicBezTo>
                <a:lnTo>
                  <a:pt x="53" y="268"/>
                </a:lnTo>
                <a:close/>
                <a:moveTo>
                  <a:pt x="26" y="77"/>
                </a:moveTo>
                <a:cubicBezTo>
                  <a:pt x="26" y="200"/>
                  <a:pt x="26" y="200"/>
                  <a:pt x="26" y="200"/>
                </a:cubicBezTo>
              </a:path>
            </a:pathLst>
          </a:custGeom>
          <a:noFill/>
          <a:ln w="2222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speech_4" title="Icon of a chat bubble with a video camera inside">
            <a:extLst>
              <a:ext uri="{FF2B5EF4-FFF2-40B4-BE49-F238E27FC236}">
                <a16:creationId xmlns:a16="http://schemas.microsoft.com/office/drawing/2014/main" id="{DEF4009D-6172-4F79-8552-8F3FF72169E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763468" y="3507656"/>
            <a:ext cx="720509" cy="640080"/>
          </a:xfrm>
          <a:custGeom>
            <a:avLst/>
            <a:gdLst>
              <a:gd name="T0" fmla="*/ 122 w 215"/>
              <a:gd name="T1" fmla="*/ 145 h 191"/>
              <a:gd name="T2" fmla="*/ 77 w 215"/>
              <a:gd name="T3" fmla="*/ 145 h 191"/>
              <a:gd name="T4" fmla="*/ 31 w 215"/>
              <a:gd name="T5" fmla="*/ 191 h 191"/>
              <a:gd name="T6" fmla="*/ 31 w 215"/>
              <a:gd name="T7" fmla="*/ 145 h 191"/>
              <a:gd name="T8" fmla="*/ 0 w 215"/>
              <a:gd name="T9" fmla="*/ 145 h 191"/>
              <a:gd name="T10" fmla="*/ 0 w 215"/>
              <a:gd name="T11" fmla="*/ 0 h 191"/>
              <a:gd name="T12" fmla="*/ 215 w 215"/>
              <a:gd name="T13" fmla="*/ 0 h 191"/>
              <a:gd name="T14" fmla="*/ 215 w 215"/>
              <a:gd name="T15" fmla="*/ 120 h 191"/>
              <a:gd name="T16" fmla="*/ 120 w 215"/>
              <a:gd name="T17" fmla="*/ 145 h 191"/>
              <a:gd name="T18" fmla="*/ 120 w 215"/>
              <a:gd name="T19" fmla="*/ 145 h 191"/>
              <a:gd name="T20" fmla="*/ 122 w 215"/>
              <a:gd name="T21" fmla="*/ 145 h 191"/>
              <a:gd name="T22" fmla="*/ 215 w 215"/>
              <a:gd name="T23" fmla="*/ 145 h 191"/>
              <a:gd name="T24" fmla="*/ 215 w 215"/>
              <a:gd name="T25" fmla="*/ 120 h 191"/>
              <a:gd name="T26" fmla="*/ 131 w 215"/>
              <a:gd name="T27" fmla="*/ 60 h 191"/>
              <a:gd name="T28" fmla="*/ 131 w 215"/>
              <a:gd name="T29" fmla="*/ 40 h 191"/>
              <a:gd name="T30" fmla="*/ 54 w 215"/>
              <a:gd name="T31" fmla="*/ 40 h 191"/>
              <a:gd name="T32" fmla="*/ 54 w 215"/>
              <a:gd name="T33" fmla="*/ 102 h 191"/>
              <a:gd name="T34" fmla="*/ 131 w 215"/>
              <a:gd name="T35" fmla="*/ 102 h 191"/>
              <a:gd name="T36" fmla="*/ 131 w 215"/>
              <a:gd name="T37" fmla="*/ 60 h 191"/>
              <a:gd name="T38" fmla="*/ 131 w 215"/>
              <a:gd name="T39" fmla="*/ 84 h 191"/>
              <a:gd name="T40" fmla="*/ 161 w 215"/>
              <a:gd name="T41" fmla="*/ 100 h 191"/>
              <a:gd name="T42" fmla="*/ 161 w 215"/>
              <a:gd name="T43" fmla="*/ 45 h 191"/>
              <a:gd name="T44" fmla="*/ 131 w 215"/>
              <a:gd name="T45" fmla="*/ 6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15" h="191">
                <a:moveTo>
                  <a:pt x="122" y="145"/>
                </a:moveTo>
                <a:lnTo>
                  <a:pt x="77" y="145"/>
                </a:lnTo>
                <a:lnTo>
                  <a:pt x="31" y="191"/>
                </a:lnTo>
                <a:lnTo>
                  <a:pt x="31" y="145"/>
                </a:lnTo>
                <a:lnTo>
                  <a:pt x="0" y="145"/>
                </a:lnTo>
                <a:lnTo>
                  <a:pt x="0" y="0"/>
                </a:lnTo>
                <a:lnTo>
                  <a:pt x="215" y="0"/>
                </a:lnTo>
                <a:lnTo>
                  <a:pt x="215" y="120"/>
                </a:lnTo>
                <a:moveTo>
                  <a:pt x="120" y="145"/>
                </a:moveTo>
                <a:lnTo>
                  <a:pt x="120" y="145"/>
                </a:lnTo>
                <a:moveTo>
                  <a:pt x="122" y="145"/>
                </a:moveTo>
                <a:lnTo>
                  <a:pt x="215" y="145"/>
                </a:lnTo>
                <a:lnTo>
                  <a:pt x="215" y="120"/>
                </a:lnTo>
                <a:moveTo>
                  <a:pt x="131" y="60"/>
                </a:moveTo>
                <a:lnTo>
                  <a:pt x="131" y="40"/>
                </a:lnTo>
                <a:lnTo>
                  <a:pt x="54" y="40"/>
                </a:lnTo>
                <a:lnTo>
                  <a:pt x="54" y="102"/>
                </a:lnTo>
                <a:lnTo>
                  <a:pt x="131" y="102"/>
                </a:lnTo>
                <a:lnTo>
                  <a:pt x="131" y="60"/>
                </a:lnTo>
                <a:moveTo>
                  <a:pt x="131" y="84"/>
                </a:moveTo>
                <a:lnTo>
                  <a:pt x="161" y="100"/>
                </a:lnTo>
                <a:lnTo>
                  <a:pt x="161" y="45"/>
                </a:lnTo>
                <a:lnTo>
                  <a:pt x="131" y="60"/>
                </a:lnTo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471384241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9F7D5-0E30-4E5E-B6C6-E8C38D92B5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677108"/>
          </a:xfrm>
        </p:spPr>
        <p:txBody>
          <a:bodyPr/>
          <a:lstStyle/>
          <a:p>
            <a:r>
              <a:rPr lang="en-US"/>
              <a:t>Online work meetings &amp; classes were more civil compared to non-work/non-class online setting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784B13C-46BA-42BF-A8C8-BF6BE639053E}"/>
              </a:ext>
            </a:extLst>
          </p:cNvPr>
          <p:cNvGrpSpPr/>
          <p:nvPr/>
        </p:nvGrpSpPr>
        <p:grpSpPr>
          <a:xfrm>
            <a:off x="435863" y="1451616"/>
            <a:ext cx="5367528" cy="4352544"/>
            <a:chOff x="90608" y="2053795"/>
            <a:chExt cx="3801213" cy="3755735"/>
          </a:xfrm>
        </p:grpSpPr>
        <p:graphicFrame>
          <p:nvGraphicFramePr>
            <p:cNvPr id="6" name="Chart 5">
              <a:extLst>
                <a:ext uri="{FF2B5EF4-FFF2-40B4-BE49-F238E27FC236}">
                  <a16:creationId xmlns:a16="http://schemas.microsoft.com/office/drawing/2014/main" id="{4CD0F8EB-BC56-440D-8D84-5CD6262EEBE8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846615690"/>
                </p:ext>
              </p:extLst>
            </p:nvPr>
          </p:nvGraphicFramePr>
          <p:xfrm>
            <a:off x="90608" y="2700126"/>
            <a:ext cx="3801213" cy="31094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38128AC-F4C4-41C1-AE73-768A66000A61}"/>
                </a:ext>
              </a:extLst>
            </p:cNvPr>
            <p:cNvSpPr txBox="1"/>
            <p:nvPr/>
          </p:nvSpPr>
          <p:spPr>
            <a:xfrm>
              <a:off x="627793" y="2053795"/>
              <a:ext cx="3040093" cy="6373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>
                  <a:solidFill>
                    <a:srgbClr val="595959"/>
                  </a:solidFill>
                </a:rPr>
                <a:t>Online meeting civility compared to </a:t>
              </a:r>
            </a:p>
            <a:p>
              <a:r>
                <a:rPr lang="en-US" sz="1600">
                  <a:solidFill>
                    <a:srgbClr val="595959"/>
                  </a:solidFill>
                </a:rPr>
                <a:t>non-work online settings</a:t>
              </a:r>
            </a:p>
            <a:p>
              <a:r>
                <a:rPr lang="en-US" sz="1000">
                  <a:solidFill>
                    <a:srgbClr val="595959"/>
                  </a:solidFill>
                </a:rPr>
                <a:t>Base: participated in online meetings, n=2256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FD34B82C-F7A4-4CC2-853C-6A984374DED9}"/>
              </a:ext>
            </a:extLst>
          </p:cNvPr>
          <p:cNvSpPr txBox="1"/>
          <p:nvPr/>
        </p:nvSpPr>
        <p:spPr>
          <a:xfrm>
            <a:off x="917563" y="6582965"/>
            <a:ext cx="788356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8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.PM2:  How would you compare the civility in your online meetings to what you experience in non-work online settings such as on social media, chats, texts or emails, etc.?</a:t>
            </a:r>
          </a:p>
          <a:p>
            <a:pPr algn="l"/>
            <a:r>
              <a:rPr lang="en-US" sz="8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.PM2:  How would you compare the civility in your online classes to what you experience in non-classroom online settings such as on social media, chats, texts or emails, etc.?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7A19885-8710-4FB0-B114-662C8FE3B6D7}"/>
              </a:ext>
            </a:extLst>
          </p:cNvPr>
          <p:cNvGrpSpPr/>
          <p:nvPr/>
        </p:nvGrpSpPr>
        <p:grpSpPr>
          <a:xfrm>
            <a:off x="5679567" y="1451616"/>
            <a:ext cx="5367528" cy="4352544"/>
            <a:chOff x="90608" y="2053795"/>
            <a:chExt cx="3801213" cy="3755735"/>
          </a:xfrm>
        </p:grpSpPr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CE4D96F2-3D86-4902-BDC5-758074674CA6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13961015"/>
                </p:ext>
              </p:extLst>
            </p:nvPr>
          </p:nvGraphicFramePr>
          <p:xfrm>
            <a:off x="90608" y="2700126"/>
            <a:ext cx="3801213" cy="31094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3EB735C-2AAF-4B85-BD1D-58DC31588BCB}"/>
                </a:ext>
              </a:extLst>
            </p:cNvPr>
            <p:cNvSpPr txBox="1"/>
            <p:nvPr/>
          </p:nvSpPr>
          <p:spPr>
            <a:xfrm>
              <a:off x="627793" y="2053795"/>
              <a:ext cx="3040093" cy="6373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>
                  <a:solidFill>
                    <a:srgbClr val="595959"/>
                  </a:solidFill>
                </a:rPr>
                <a:t>Online class civility compared to </a:t>
              </a:r>
            </a:p>
            <a:p>
              <a:r>
                <a:rPr lang="en-US" sz="1600">
                  <a:solidFill>
                    <a:srgbClr val="595959"/>
                  </a:solidFill>
                </a:rPr>
                <a:t>non-class online settings</a:t>
              </a:r>
            </a:p>
            <a:p>
              <a:r>
                <a:rPr lang="en-US" sz="1000">
                  <a:solidFill>
                    <a:srgbClr val="595959"/>
                  </a:solidFill>
                </a:rPr>
                <a:t>Base: participated in online classes, n=5470</a:t>
              </a:r>
            </a:p>
          </p:txBody>
        </p:sp>
      </p:grpSp>
      <p:sp>
        <p:nvSpPr>
          <p:cNvPr id="13" name="graduate" title="Icon of a graduation cap">
            <a:extLst>
              <a:ext uri="{FF2B5EF4-FFF2-40B4-BE49-F238E27FC236}">
                <a16:creationId xmlns:a16="http://schemas.microsoft.com/office/drawing/2014/main" id="{E1515DD4-2893-4174-9EE8-29E05E7EEBA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002030" y="3468328"/>
            <a:ext cx="746181" cy="640080"/>
          </a:xfrm>
          <a:custGeom>
            <a:avLst/>
            <a:gdLst>
              <a:gd name="T0" fmla="*/ 103 w 312"/>
              <a:gd name="T1" fmla="*/ 32 h 268"/>
              <a:gd name="T2" fmla="*/ 165 w 312"/>
              <a:gd name="T3" fmla="*/ 0 h 268"/>
              <a:gd name="T4" fmla="*/ 312 w 312"/>
              <a:gd name="T5" fmla="*/ 74 h 268"/>
              <a:gd name="T6" fmla="*/ 165 w 312"/>
              <a:gd name="T7" fmla="*/ 147 h 268"/>
              <a:gd name="T8" fmla="*/ 21 w 312"/>
              <a:gd name="T9" fmla="*/ 74 h 268"/>
              <a:gd name="T10" fmla="*/ 103 w 312"/>
              <a:gd name="T11" fmla="*/ 32 h 268"/>
              <a:gd name="T12" fmla="*/ 87 w 312"/>
              <a:gd name="T13" fmla="*/ 108 h 268"/>
              <a:gd name="T14" fmla="*/ 69 w 312"/>
              <a:gd name="T15" fmla="*/ 174 h 268"/>
              <a:gd name="T16" fmla="*/ 165 w 312"/>
              <a:gd name="T17" fmla="*/ 224 h 268"/>
              <a:gd name="T18" fmla="*/ 260 w 312"/>
              <a:gd name="T19" fmla="*/ 174 h 268"/>
              <a:gd name="T20" fmla="*/ 243 w 312"/>
              <a:gd name="T21" fmla="*/ 108 h 268"/>
              <a:gd name="T22" fmla="*/ 53 w 312"/>
              <a:gd name="T23" fmla="*/ 268 h 268"/>
              <a:gd name="T24" fmla="*/ 53 w 312"/>
              <a:gd name="T25" fmla="*/ 226 h 268"/>
              <a:gd name="T26" fmla="*/ 26 w 312"/>
              <a:gd name="T27" fmla="*/ 200 h 268"/>
              <a:gd name="T28" fmla="*/ 26 w 312"/>
              <a:gd name="T29" fmla="*/ 200 h 268"/>
              <a:gd name="T30" fmla="*/ 0 w 312"/>
              <a:gd name="T31" fmla="*/ 226 h 268"/>
              <a:gd name="T32" fmla="*/ 0 w 312"/>
              <a:gd name="T33" fmla="*/ 268 h 268"/>
              <a:gd name="T34" fmla="*/ 53 w 312"/>
              <a:gd name="T35" fmla="*/ 268 h 268"/>
              <a:gd name="T36" fmla="*/ 26 w 312"/>
              <a:gd name="T37" fmla="*/ 77 h 268"/>
              <a:gd name="T38" fmla="*/ 26 w 312"/>
              <a:gd name="T39" fmla="*/ 200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12" h="268">
                <a:moveTo>
                  <a:pt x="103" y="32"/>
                </a:moveTo>
                <a:cubicBezTo>
                  <a:pt x="165" y="0"/>
                  <a:pt x="165" y="0"/>
                  <a:pt x="165" y="0"/>
                </a:cubicBezTo>
                <a:cubicBezTo>
                  <a:pt x="312" y="74"/>
                  <a:pt x="312" y="74"/>
                  <a:pt x="312" y="74"/>
                </a:cubicBezTo>
                <a:cubicBezTo>
                  <a:pt x="165" y="147"/>
                  <a:pt x="165" y="147"/>
                  <a:pt x="165" y="147"/>
                </a:cubicBezTo>
                <a:cubicBezTo>
                  <a:pt x="21" y="74"/>
                  <a:pt x="21" y="74"/>
                  <a:pt x="21" y="74"/>
                </a:cubicBezTo>
                <a:lnTo>
                  <a:pt x="103" y="32"/>
                </a:lnTo>
                <a:close/>
                <a:moveTo>
                  <a:pt x="87" y="108"/>
                </a:moveTo>
                <a:cubicBezTo>
                  <a:pt x="69" y="130"/>
                  <a:pt x="69" y="174"/>
                  <a:pt x="69" y="174"/>
                </a:cubicBezTo>
                <a:cubicBezTo>
                  <a:pt x="165" y="224"/>
                  <a:pt x="165" y="224"/>
                  <a:pt x="165" y="224"/>
                </a:cubicBezTo>
                <a:cubicBezTo>
                  <a:pt x="260" y="174"/>
                  <a:pt x="260" y="174"/>
                  <a:pt x="260" y="174"/>
                </a:cubicBezTo>
                <a:cubicBezTo>
                  <a:pt x="260" y="174"/>
                  <a:pt x="260" y="131"/>
                  <a:pt x="243" y="108"/>
                </a:cubicBezTo>
                <a:moveTo>
                  <a:pt x="53" y="268"/>
                </a:moveTo>
                <a:cubicBezTo>
                  <a:pt x="53" y="226"/>
                  <a:pt x="53" y="226"/>
                  <a:pt x="53" y="226"/>
                </a:cubicBezTo>
                <a:cubicBezTo>
                  <a:pt x="53" y="212"/>
                  <a:pt x="41" y="200"/>
                  <a:pt x="26" y="200"/>
                </a:cubicBezTo>
                <a:cubicBezTo>
                  <a:pt x="26" y="200"/>
                  <a:pt x="26" y="200"/>
                  <a:pt x="26" y="200"/>
                </a:cubicBezTo>
                <a:cubicBezTo>
                  <a:pt x="12" y="200"/>
                  <a:pt x="0" y="212"/>
                  <a:pt x="0" y="226"/>
                </a:cubicBezTo>
                <a:cubicBezTo>
                  <a:pt x="0" y="268"/>
                  <a:pt x="0" y="268"/>
                  <a:pt x="0" y="268"/>
                </a:cubicBezTo>
                <a:lnTo>
                  <a:pt x="53" y="268"/>
                </a:lnTo>
                <a:close/>
                <a:moveTo>
                  <a:pt x="26" y="77"/>
                </a:moveTo>
                <a:cubicBezTo>
                  <a:pt x="26" y="200"/>
                  <a:pt x="26" y="200"/>
                  <a:pt x="26" y="200"/>
                </a:cubicBezTo>
              </a:path>
            </a:pathLst>
          </a:custGeom>
          <a:noFill/>
          <a:ln w="2222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speech_4" title="Icon of a chat bubble with a video camera inside">
            <a:extLst>
              <a:ext uri="{FF2B5EF4-FFF2-40B4-BE49-F238E27FC236}">
                <a16:creationId xmlns:a16="http://schemas.microsoft.com/office/drawing/2014/main" id="{45CD3E8E-EE41-4717-B814-F9348CD767F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763468" y="3507656"/>
            <a:ext cx="720509" cy="640080"/>
          </a:xfrm>
          <a:custGeom>
            <a:avLst/>
            <a:gdLst>
              <a:gd name="T0" fmla="*/ 122 w 215"/>
              <a:gd name="T1" fmla="*/ 145 h 191"/>
              <a:gd name="T2" fmla="*/ 77 w 215"/>
              <a:gd name="T3" fmla="*/ 145 h 191"/>
              <a:gd name="T4" fmla="*/ 31 w 215"/>
              <a:gd name="T5" fmla="*/ 191 h 191"/>
              <a:gd name="T6" fmla="*/ 31 w 215"/>
              <a:gd name="T7" fmla="*/ 145 h 191"/>
              <a:gd name="T8" fmla="*/ 0 w 215"/>
              <a:gd name="T9" fmla="*/ 145 h 191"/>
              <a:gd name="T10" fmla="*/ 0 w 215"/>
              <a:gd name="T11" fmla="*/ 0 h 191"/>
              <a:gd name="T12" fmla="*/ 215 w 215"/>
              <a:gd name="T13" fmla="*/ 0 h 191"/>
              <a:gd name="T14" fmla="*/ 215 w 215"/>
              <a:gd name="T15" fmla="*/ 120 h 191"/>
              <a:gd name="T16" fmla="*/ 120 w 215"/>
              <a:gd name="T17" fmla="*/ 145 h 191"/>
              <a:gd name="T18" fmla="*/ 120 w 215"/>
              <a:gd name="T19" fmla="*/ 145 h 191"/>
              <a:gd name="T20" fmla="*/ 122 w 215"/>
              <a:gd name="T21" fmla="*/ 145 h 191"/>
              <a:gd name="T22" fmla="*/ 215 w 215"/>
              <a:gd name="T23" fmla="*/ 145 h 191"/>
              <a:gd name="T24" fmla="*/ 215 w 215"/>
              <a:gd name="T25" fmla="*/ 120 h 191"/>
              <a:gd name="T26" fmla="*/ 131 w 215"/>
              <a:gd name="T27" fmla="*/ 60 h 191"/>
              <a:gd name="T28" fmla="*/ 131 w 215"/>
              <a:gd name="T29" fmla="*/ 40 h 191"/>
              <a:gd name="T30" fmla="*/ 54 w 215"/>
              <a:gd name="T31" fmla="*/ 40 h 191"/>
              <a:gd name="T32" fmla="*/ 54 w 215"/>
              <a:gd name="T33" fmla="*/ 102 h 191"/>
              <a:gd name="T34" fmla="*/ 131 w 215"/>
              <a:gd name="T35" fmla="*/ 102 h 191"/>
              <a:gd name="T36" fmla="*/ 131 w 215"/>
              <a:gd name="T37" fmla="*/ 60 h 191"/>
              <a:gd name="T38" fmla="*/ 131 w 215"/>
              <a:gd name="T39" fmla="*/ 84 h 191"/>
              <a:gd name="T40" fmla="*/ 161 w 215"/>
              <a:gd name="T41" fmla="*/ 100 h 191"/>
              <a:gd name="T42" fmla="*/ 161 w 215"/>
              <a:gd name="T43" fmla="*/ 45 h 191"/>
              <a:gd name="T44" fmla="*/ 131 w 215"/>
              <a:gd name="T45" fmla="*/ 6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15" h="191">
                <a:moveTo>
                  <a:pt x="122" y="145"/>
                </a:moveTo>
                <a:lnTo>
                  <a:pt x="77" y="145"/>
                </a:lnTo>
                <a:lnTo>
                  <a:pt x="31" y="191"/>
                </a:lnTo>
                <a:lnTo>
                  <a:pt x="31" y="145"/>
                </a:lnTo>
                <a:lnTo>
                  <a:pt x="0" y="145"/>
                </a:lnTo>
                <a:lnTo>
                  <a:pt x="0" y="0"/>
                </a:lnTo>
                <a:lnTo>
                  <a:pt x="215" y="0"/>
                </a:lnTo>
                <a:lnTo>
                  <a:pt x="215" y="120"/>
                </a:lnTo>
                <a:moveTo>
                  <a:pt x="120" y="145"/>
                </a:moveTo>
                <a:lnTo>
                  <a:pt x="120" y="145"/>
                </a:lnTo>
                <a:moveTo>
                  <a:pt x="122" y="145"/>
                </a:moveTo>
                <a:lnTo>
                  <a:pt x="215" y="145"/>
                </a:lnTo>
                <a:lnTo>
                  <a:pt x="215" y="120"/>
                </a:lnTo>
                <a:moveTo>
                  <a:pt x="131" y="60"/>
                </a:moveTo>
                <a:lnTo>
                  <a:pt x="131" y="40"/>
                </a:lnTo>
                <a:lnTo>
                  <a:pt x="54" y="40"/>
                </a:lnTo>
                <a:lnTo>
                  <a:pt x="54" y="102"/>
                </a:lnTo>
                <a:lnTo>
                  <a:pt x="131" y="102"/>
                </a:lnTo>
                <a:lnTo>
                  <a:pt x="131" y="60"/>
                </a:lnTo>
                <a:moveTo>
                  <a:pt x="131" y="84"/>
                </a:moveTo>
                <a:lnTo>
                  <a:pt x="161" y="100"/>
                </a:lnTo>
                <a:lnTo>
                  <a:pt x="161" y="45"/>
                </a:lnTo>
                <a:lnTo>
                  <a:pt x="131" y="60"/>
                </a:lnTo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932294680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9F7D5-0E30-4E5E-B6C6-E8C38D92B5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727437" cy="677108"/>
          </a:xfrm>
        </p:spPr>
        <p:txBody>
          <a:bodyPr/>
          <a:lstStyle/>
          <a:p>
            <a:r>
              <a:rPr lang="en-US"/>
              <a:t>Three in four respondents say online meetings and classes encouraged greater civility</a:t>
            </a:r>
            <a:endParaRPr lang="en-US" sz="14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784B13C-46BA-42BF-A8C8-BF6BE639053E}"/>
              </a:ext>
            </a:extLst>
          </p:cNvPr>
          <p:cNvGrpSpPr/>
          <p:nvPr/>
        </p:nvGrpSpPr>
        <p:grpSpPr>
          <a:xfrm>
            <a:off x="435863" y="1451616"/>
            <a:ext cx="5367528" cy="4352544"/>
            <a:chOff x="90608" y="2053795"/>
            <a:chExt cx="3801213" cy="3755735"/>
          </a:xfrm>
        </p:grpSpPr>
        <p:graphicFrame>
          <p:nvGraphicFramePr>
            <p:cNvPr id="6" name="Chart 5">
              <a:extLst>
                <a:ext uri="{FF2B5EF4-FFF2-40B4-BE49-F238E27FC236}">
                  <a16:creationId xmlns:a16="http://schemas.microsoft.com/office/drawing/2014/main" id="{4CD0F8EB-BC56-440D-8D84-5CD6262EEBE8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752904394"/>
                </p:ext>
              </p:extLst>
            </p:nvPr>
          </p:nvGraphicFramePr>
          <p:xfrm>
            <a:off x="90608" y="2700126"/>
            <a:ext cx="3801213" cy="31094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38128AC-F4C4-41C1-AE73-768A66000A61}"/>
                </a:ext>
              </a:extLst>
            </p:cNvPr>
            <p:cNvSpPr txBox="1"/>
            <p:nvPr/>
          </p:nvSpPr>
          <p:spPr>
            <a:xfrm>
              <a:off x="627793" y="2053795"/>
              <a:ext cx="3040093" cy="7701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>
                  <a:solidFill>
                    <a:srgbClr val="595959"/>
                  </a:solidFill>
                </a:rPr>
                <a:t>Did online meetings</a:t>
              </a:r>
            </a:p>
            <a:p>
              <a:r>
                <a:rPr lang="en-US" sz="1600">
                  <a:solidFill>
                    <a:srgbClr val="595959"/>
                  </a:solidFill>
                </a:rPr>
                <a:t>encourage you to act more civil? </a:t>
              </a:r>
            </a:p>
            <a:p>
              <a:r>
                <a:rPr lang="en-US" sz="1000">
                  <a:solidFill>
                    <a:srgbClr val="595959"/>
                  </a:solidFill>
                </a:rPr>
                <a:t>Base: civility in online meetings were </a:t>
              </a:r>
              <a:r>
                <a:rPr lang="en-US" sz="1000" b="1">
                  <a:solidFill>
                    <a:srgbClr val="595959"/>
                  </a:solidFill>
                </a:rPr>
                <a:t>more/same</a:t>
              </a:r>
              <a:r>
                <a:rPr lang="en-US" sz="1000">
                  <a:solidFill>
                    <a:srgbClr val="595959"/>
                  </a:solidFill>
                </a:rPr>
                <a:t> civil as other online experiences, n=2,190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FD34B82C-F7A4-4CC2-853C-6A984374DED9}"/>
              </a:ext>
            </a:extLst>
          </p:cNvPr>
          <p:cNvSpPr txBox="1"/>
          <p:nvPr/>
        </p:nvSpPr>
        <p:spPr>
          <a:xfrm>
            <a:off x="917563" y="6582965"/>
            <a:ext cx="596156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8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.PM2A:  Have your experiences in online work meetings encouraged you to act more civilly during your other interactions online?</a:t>
            </a:r>
          </a:p>
          <a:p>
            <a:pPr algn="l"/>
            <a:r>
              <a:rPr lang="en-US" sz="8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.PM2A:  Have your experiences in online classes encouraged you to act more civilly during your other interactions online?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7A19885-8710-4FB0-B114-662C8FE3B6D7}"/>
              </a:ext>
            </a:extLst>
          </p:cNvPr>
          <p:cNvGrpSpPr/>
          <p:nvPr/>
        </p:nvGrpSpPr>
        <p:grpSpPr>
          <a:xfrm>
            <a:off x="5679567" y="1451616"/>
            <a:ext cx="5367528" cy="4352544"/>
            <a:chOff x="90608" y="2053795"/>
            <a:chExt cx="3801213" cy="3755735"/>
          </a:xfrm>
        </p:grpSpPr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CE4D96F2-3D86-4902-BDC5-758074674CA6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163928652"/>
                </p:ext>
              </p:extLst>
            </p:nvPr>
          </p:nvGraphicFramePr>
          <p:xfrm>
            <a:off x="90608" y="2700126"/>
            <a:ext cx="3801213" cy="31094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3EB735C-2AAF-4B85-BD1D-58DC31588BCB}"/>
                </a:ext>
              </a:extLst>
            </p:cNvPr>
            <p:cNvSpPr txBox="1"/>
            <p:nvPr/>
          </p:nvSpPr>
          <p:spPr>
            <a:xfrm>
              <a:off x="627793" y="2053795"/>
              <a:ext cx="3040093" cy="7701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>
                  <a:solidFill>
                    <a:srgbClr val="595959"/>
                  </a:solidFill>
                </a:rPr>
                <a:t>Did online classes </a:t>
              </a:r>
            </a:p>
            <a:p>
              <a:r>
                <a:rPr lang="en-US" sz="1600">
                  <a:solidFill>
                    <a:srgbClr val="595959"/>
                  </a:solidFill>
                </a:rPr>
                <a:t>encourage you to act more civil?  </a:t>
              </a:r>
            </a:p>
            <a:p>
              <a:r>
                <a:rPr lang="en-US" sz="1000">
                  <a:solidFill>
                    <a:srgbClr val="595959"/>
                  </a:solidFill>
                </a:rPr>
                <a:t>Base: civility in online classes were </a:t>
              </a:r>
              <a:r>
                <a:rPr lang="en-US" sz="1000" b="1">
                  <a:solidFill>
                    <a:srgbClr val="595959"/>
                  </a:solidFill>
                </a:rPr>
                <a:t>more/same</a:t>
              </a:r>
              <a:r>
                <a:rPr lang="en-US" sz="1000">
                  <a:solidFill>
                    <a:srgbClr val="595959"/>
                  </a:solidFill>
                </a:rPr>
                <a:t> as other online experiences,  n=5,195</a:t>
              </a:r>
            </a:p>
          </p:txBody>
        </p:sp>
      </p:grpSp>
      <p:sp>
        <p:nvSpPr>
          <p:cNvPr id="13" name="graduate" title="Icon of a graduation cap">
            <a:extLst>
              <a:ext uri="{FF2B5EF4-FFF2-40B4-BE49-F238E27FC236}">
                <a16:creationId xmlns:a16="http://schemas.microsoft.com/office/drawing/2014/main" id="{5906057C-BDFB-43FA-BB1C-5A559BFF6C7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002030" y="3468328"/>
            <a:ext cx="746181" cy="640080"/>
          </a:xfrm>
          <a:custGeom>
            <a:avLst/>
            <a:gdLst>
              <a:gd name="T0" fmla="*/ 103 w 312"/>
              <a:gd name="T1" fmla="*/ 32 h 268"/>
              <a:gd name="T2" fmla="*/ 165 w 312"/>
              <a:gd name="T3" fmla="*/ 0 h 268"/>
              <a:gd name="T4" fmla="*/ 312 w 312"/>
              <a:gd name="T5" fmla="*/ 74 h 268"/>
              <a:gd name="T6" fmla="*/ 165 w 312"/>
              <a:gd name="T7" fmla="*/ 147 h 268"/>
              <a:gd name="T8" fmla="*/ 21 w 312"/>
              <a:gd name="T9" fmla="*/ 74 h 268"/>
              <a:gd name="T10" fmla="*/ 103 w 312"/>
              <a:gd name="T11" fmla="*/ 32 h 268"/>
              <a:gd name="T12" fmla="*/ 87 w 312"/>
              <a:gd name="T13" fmla="*/ 108 h 268"/>
              <a:gd name="T14" fmla="*/ 69 w 312"/>
              <a:gd name="T15" fmla="*/ 174 h 268"/>
              <a:gd name="T16" fmla="*/ 165 w 312"/>
              <a:gd name="T17" fmla="*/ 224 h 268"/>
              <a:gd name="T18" fmla="*/ 260 w 312"/>
              <a:gd name="T19" fmla="*/ 174 h 268"/>
              <a:gd name="T20" fmla="*/ 243 w 312"/>
              <a:gd name="T21" fmla="*/ 108 h 268"/>
              <a:gd name="T22" fmla="*/ 53 w 312"/>
              <a:gd name="T23" fmla="*/ 268 h 268"/>
              <a:gd name="T24" fmla="*/ 53 w 312"/>
              <a:gd name="T25" fmla="*/ 226 h 268"/>
              <a:gd name="T26" fmla="*/ 26 w 312"/>
              <a:gd name="T27" fmla="*/ 200 h 268"/>
              <a:gd name="T28" fmla="*/ 26 w 312"/>
              <a:gd name="T29" fmla="*/ 200 h 268"/>
              <a:gd name="T30" fmla="*/ 0 w 312"/>
              <a:gd name="T31" fmla="*/ 226 h 268"/>
              <a:gd name="T32" fmla="*/ 0 w 312"/>
              <a:gd name="T33" fmla="*/ 268 h 268"/>
              <a:gd name="T34" fmla="*/ 53 w 312"/>
              <a:gd name="T35" fmla="*/ 268 h 268"/>
              <a:gd name="T36" fmla="*/ 26 w 312"/>
              <a:gd name="T37" fmla="*/ 77 h 268"/>
              <a:gd name="T38" fmla="*/ 26 w 312"/>
              <a:gd name="T39" fmla="*/ 200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12" h="268">
                <a:moveTo>
                  <a:pt x="103" y="32"/>
                </a:moveTo>
                <a:cubicBezTo>
                  <a:pt x="165" y="0"/>
                  <a:pt x="165" y="0"/>
                  <a:pt x="165" y="0"/>
                </a:cubicBezTo>
                <a:cubicBezTo>
                  <a:pt x="312" y="74"/>
                  <a:pt x="312" y="74"/>
                  <a:pt x="312" y="74"/>
                </a:cubicBezTo>
                <a:cubicBezTo>
                  <a:pt x="165" y="147"/>
                  <a:pt x="165" y="147"/>
                  <a:pt x="165" y="147"/>
                </a:cubicBezTo>
                <a:cubicBezTo>
                  <a:pt x="21" y="74"/>
                  <a:pt x="21" y="74"/>
                  <a:pt x="21" y="74"/>
                </a:cubicBezTo>
                <a:lnTo>
                  <a:pt x="103" y="32"/>
                </a:lnTo>
                <a:close/>
                <a:moveTo>
                  <a:pt x="87" y="108"/>
                </a:moveTo>
                <a:cubicBezTo>
                  <a:pt x="69" y="130"/>
                  <a:pt x="69" y="174"/>
                  <a:pt x="69" y="174"/>
                </a:cubicBezTo>
                <a:cubicBezTo>
                  <a:pt x="165" y="224"/>
                  <a:pt x="165" y="224"/>
                  <a:pt x="165" y="224"/>
                </a:cubicBezTo>
                <a:cubicBezTo>
                  <a:pt x="260" y="174"/>
                  <a:pt x="260" y="174"/>
                  <a:pt x="260" y="174"/>
                </a:cubicBezTo>
                <a:cubicBezTo>
                  <a:pt x="260" y="174"/>
                  <a:pt x="260" y="131"/>
                  <a:pt x="243" y="108"/>
                </a:cubicBezTo>
                <a:moveTo>
                  <a:pt x="53" y="268"/>
                </a:moveTo>
                <a:cubicBezTo>
                  <a:pt x="53" y="226"/>
                  <a:pt x="53" y="226"/>
                  <a:pt x="53" y="226"/>
                </a:cubicBezTo>
                <a:cubicBezTo>
                  <a:pt x="53" y="212"/>
                  <a:pt x="41" y="200"/>
                  <a:pt x="26" y="200"/>
                </a:cubicBezTo>
                <a:cubicBezTo>
                  <a:pt x="26" y="200"/>
                  <a:pt x="26" y="200"/>
                  <a:pt x="26" y="200"/>
                </a:cubicBezTo>
                <a:cubicBezTo>
                  <a:pt x="12" y="200"/>
                  <a:pt x="0" y="212"/>
                  <a:pt x="0" y="226"/>
                </a:cubicBezTo>
                <a:cubicBezTo>
                  <a:pt x="0" y="268"/>
                  <a:pt x="0" y="268"/>
                  <a:pt x="0" y="268"/>
                </a:cubicBezTo>
                <a:lnTo>
                  <a:pt x="53" y="268"/>
                </a:lnTo>
                <a:close/>
                <a:moveTo>
                  <a:pt x="26" y="77"/>
                </a:moveTo>
                <a:cubicBezTo>
                  <a:pt x="26" y="200"/>
                  <a:pt x="26" y="200"/>
                  <a:pt x="26" y="200"/>
                </a:cubicBezTo>
              </a:path>
            </a:pathLst>
          </a:custGeom>
          <a:noFill/>
          <a:ln w="2222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speech_4" title="Icon of a chat bubble with a video camera inside">
            <a:extLst>
              <a:ext uri="{FF2B5EF4-FFF2-40B4-BE49-F238E27FC236}">
                <a16:creationId xmlns:a16="http://schemas.microsoft.com/office/drawing/2014/main" id="{DAF213C9-7DD7-41D4-86E2-78B9BF497A3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763468" y="3507656"/>
            <a:ext cx="720509" cy="640080"/>
          </a:xfrm>
          <a:custGeom>
            <a:avLst/>
            <a:gdLst>
              <a:gd name="T0" fmla="*/ 122 w 215"/>
              <a:gd name="T1" fmla="*/ 145 h 191"/>
              <a:gd name="T2" fmla="*/ 77 w 215"/>
              <a:gd name="T3" fmla="*/ 145 h 191"/>
              <a:gd name="T4" fmla="*/ 31 w 215"/>
              <a:gd name="T5" fmla="*/ 191 h 191"/>
              <a:gd name="T6" fmla="*/ 31 w 215"/>
              <a:gd name="T7" fmla="*/ 145 h 191"/>
              <a:gd name="T8" fmla="*/ 0 w 215"/>
              <a:gd name="T9" fmla="*/ 145 h 191"/>
              <a:gd name="T10" fmla="*/ 0 w 215"/>
              <a:gd name="T11" fmla="*/ 0 h 191"/>
              <a:gd name="T12" fmla="*/ 215 w 215"/>
              <a:gd name="T13" fmla="*/ 0 h 191"/>
              <a:gd name="T14" fmla="*/ 215 w 215"/>
              <a:gd name="T15" fmla="*/ 120 h 191"/>
              <a:gd name="T16" fmla="*/ 120 w 215"/>
              <a:gd name="T17" fmla="*/ 145 h 191"/>
              <a:gd name="T18" fmla="*/ 120 w 215"/>
              <a:gd name="T19" fmla="*/ 145 h 191"/>
              <a:gd name="T20" fmla="*/ 122 w 215"/>
              <a:gd name="T21" fmla="*/ 145 h 191"/>
              <a:gd name="T22" fmla="*/ 215 w 215"/>
              <a:gd name="T23" fmla="*/ 145 h 191"/>
              <a:gd name="T24" fmla="*/ 215 w 215"/>
              <a:gd name="T25" fmla="*/ 120 h 191"/>
              <a:gd name="T26" fmla="*/ 131 w 215"/>
              <a:gd name="T27" fmla="*/ 60 h 191"/>
              <a:gd name="T28" fmla="*/ 131 w 215"/>
              <a:gd name="T29" fmla="*/ 40 h 191"/>
              <a:gd name="T30" fmla="*/ 54 w 215"/>
              <a:gd name="T31" fmla="*/ 40 h 191"/>
              <a:gd name="T32" fmla="*/ 54 w 215"/>
              <a:gd name="T33" fmla="*/ 102 h 191"/>
              <a:gd name="T34" fmla="*/ 131 w 215"/>
              <a:gd name="T35" fmla="*/ 102 h 191"/>
              <a:gd name="T36" fmla="*/ 131 w 215"/>
              <a:gd name="T37" fmla="*/ 60 h 191"/>
              <a:gd name="T38" fmla="*/ 131 w 215"/>
              <a:gd name="T39" fmla="*/ 84 h 191"/>
              <a:gd name="T40" fmla="*/ 161 w 215"/>
              <a:gd name="T41" fmla="*/ 100 h 191"/>
              <a:gd name="T42" fmla="*/ 161 w 215"/>
              <a:gd name="T43" fmla="*/ 45 h 191"/>
              <a:gd name="T44" fmla="*/ 131 w 215"/>
              <a:gd name="T45" fmla="*/ 6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15" h="191">
                <a:moveTo>
                  <a:pt x="122" y="145"/>
                </a:moveTo>
                <a:lnTo>
                  <a:pt x="77" y="145"/>
                </a:lnTo>
                <a:lnTo>
                  <a:pt x="31" y="191"/>
                </a:lnTo>
                <a:lnTo>
                  <a:pt x="31" y="145"/>
                </a:lnTo>
                <a:lnTo>
                  <a:pt x="0" y="145"/>
                </a:lnTo>
                <a:lnTo>
                  <a:pt x="0" y="0"/>
                </a:lnTo>
                <a:lnTo>
                  <a:pt x="215" y="0"/>
                </a:lnTo>
                <a:lnTo>
                  <a:pt x="215" y="120"/>
                </a:lnTo>
                <a:moveTo>
                  <a:pt x="120" y="145"/>
                </a:moveTo>
                <a:lnTo>
                  <a:pt x="120" y="145"/>
                </a:lnTo>
                <a:moveTo>
                  <a:pt x="122" y="145"/>
                </a:moveTo>
                <a:lnTo>
                  <a:pt x="215" y="145"/>
                </a:lnTo>
                <a:lnTo>
                  <a:pt x="215" y="120"/>
                </a:lnTo>
                <a:moveTo>
                  <a:pt x="131" y="60"/>
                </a:moveTo>
                <a:lnTo>
                  <a:pt x="131" y="40"/>
                </a:lnTo>
                <a:lnTo>
                  <a:pt x="54" y="40"/>
                </a:lnTo>
                <a:lnTo>
                  <a:pt x="54" y="102"/>
                </a:lnTo>
                <a:lnTo>
                  <a:pt x="131" y="102"/>
                </a:lnTo>
                <a:lnTo>
                  <a:pt x="131" y="60"/>
                </a:lnTo>
                <a:moveTo>
                  <a:pt x="131" y="84"/>
                </a:moveTo>
                <a:lnTo>
                  <a:pt x="161" y="100"/>
                </a:lnTo>
                <a:lnTo>
                  <a:pt x="161" y="45"/>
                </a:lnTo>
                <a:lnTo>
                  <a:pt x="131" y="60"/>
                </a:lnTo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88755209"/>
      </p:ext>
    </p:extLst>
  </p:cSld>
  <p:clrMapOvr>
    <a:masterClrMapping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9F7D5-0E30-4E5E-B6C6-E8C38D92B5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846653" cy="553998"/>
          </a:xfrm>
        </p:spPr>
        <p:txBody>
          <a:bodyPr/>
          <a:lstStyle/>
          <a:p>
            <a:r>
              <a:rPr lang="en-US"/>
              <a:t>Online </a:t>
            </a:r>
            <a:r>
              <a:rPr lang="en-US" u="sng"/>
              <a:t>meetings</a:t>
            </a:r>
            <a:r>
              <a:rPr lang="en-US"/>
              <a:t> had a powerful effect on encouraging civility</a:t>
            </a:r>
            <a:br>
              <a:rPr lang="en-US"/>
            </a:br>
            <a:r>
              <a:rPr lang="en-US" sz="1400"/>
              <a:t>Among those who said online meetings had the </a:t>
            </a:r>
            <a:r>
              <a:rPr lang="en-US" sz="1400" u="sng"/>
              <a:t>same</a:t>
            </a:r>
            <a:r>
              <a:rPr lang="en-US" sz="1400"/>
              <a:t> level of civility as other experiences, 63% were encouraged to be more civil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784B13C-46BA-42BF-A8C8-BF6BE639053E}"/>
              </a:ext>
            </a:extLst>
          </p:cNvPr>
          <p:cNvGrpSpPr/>
          <p:nvPr/>
        </p:nvGrpSpPr>
        <p:grpSpPr>
          <a:xfrm>
            <a:off x="435863" y="1451616"/>
            <a:ext cx="5367528" cy="4352544"/>
            <a:chOff x="90608" y="2053795"/>
            <a:chExt cx="3801213" cy="3755735"/>
          </a:xfrm>
        </p:grpSpPr>
        <p:graphicFrame>
          <p:nvGraphicFramePr>
            <p:cNvPr id="6" name="Chart 5">
              <a:extLst>
                <a:ext uri="{FF2B5EF4-FFF2-40B4-BE49-F238E27FC236}">
                  <a16:creationId xmlns:a16="http://schemas.microsoft.com/office/drawing/2014/main" id="{4CD0F8EB-BC56-440D-8D84-5CD6262EEBE8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678558550"/>
                </p:ext>
              </p:extLst>
            </p:nvPr>
          </p:nvGraphicFramePr>
          <p:xfrm>
            <a:off x="90608" y="2700126"/>
            <a:ext cx="3801213" cy="31094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38128AC-F4C4-41C1-AE73-768A66000A61}"/>
                </a:ext>
              </a:extLst>
            </p:cNvPr>
            <p:cNvSpPr txBox="1"/>
            <p:nvPr/>
          </p:nvSpPr>
          <p:spPr>
            <a:xfrm>
              <a:off x="627793" y="2053795"/>
              <a:ext cx="3040093" cy="7701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>
                  <a:solidFill>
                    <a:srgbClr val="595959"/>
                  </a:solidFill>
                </a:rPr>
                <a:t>Did online meetings</a:t>
              </a:r>
            </a:p>
            <a:p>
              <a:r>
                <a:rPr lang="en-US" sz="1600">
                  <a:solidFill>
                    <a:srgbClr val="595959"/>
                  </a:solidFill>
                </a:rPr>
                <a:t>encourage you to act more civil? </a:t>
              </a:r>
            </a:p>
            <a:p>
              <a:r>
                <a:rPr lang="en-US" sz="1000">
                  <a:solidFill>
                    <a:srgbClr val="595959"/>
                  </a:solidFill>
                </a:rPr>
                <a:t>Base: civility in online meetings was </a:t>
              </a:r>
              <a:r>
                <a:rPr lang="en-US" sz="1000" b="1">
                  <a:solidFill>
                    <a:srgbClr val="595959"/>
                  </a:solidFill>
                </a:rPr>
                <a:t>more</a:t>
              </a:r>
              <a:r>
                <a:rPr lang="en-US" sz="1000">
                  <a:solidFill>
                    <a:srgbClr val="595959"/>
                  </a:solidFill>
                </a:rPr>
                <a:t> civil compared to other online experiences, n=962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FD34B82C-F7A4-4CC2-853C-6A984374DED9}"/>
              </a:ext>
            </a:extLst>
          </p:cNvPr>
          <p:cNvSpPr txBox="1"/>
          <p:nvPr/>
        </p:nvSpPr>
        <p:spPr>
          <a:xfrm>
            <a:off x="917563" y="6582965"/>
            <a:ext cx="596156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8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.PM2A:  Have your experiences in online work meetings encouraged you to act more civilly during your other interactions online?</a:t>
            </a:r>
          </a:p>
          <a:p>
            <a:pPr algn="l"/>
            <a:r>
              <a:rPr lang="en-US" sz="8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.PM2A:  Have your experiences in online classes encouraged you to act more civilly during your other interactions online?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7A19885-8710-4FB0-B114-662C8FE3B6D7}"/>
              </a:ext>
            </a:extLst>
          </p:cNvPr>
          <p:cNvGrpSpPr/>
          <p:nvPr/>
        </p:nvGrpSpPr>
        <p:grpSpPr>
          <a:xfrm>
            <a:off x="5679567" y="1451616"/>
            <a:ext cx="5367528" cy="4352544"/>
            <a:chOff x="90608" y="2053795"/>
            <a:chExt cx="3801213" cy="3755735"/>
          </a:xfrm>
        </p:grpSpPr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CE4D96F2-3D86-4902-BDC5-758074674CA6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955568608"/>
                </p:ext>
              </p:extLst>
            </p:nvPr>
          </p:nvGraphicFramePr>
          <p:xfrm>
            <a:off x="90608" y="2700126"/>
            <a:ext cx="3801213" cy="31094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3EB735C-2AAF-4B85-BD1D-58DC31588BCB}"/>
                </a:ext>
              </a:extLst>
            </p:cNvPr>
            <p:cNvSpPr txBox="1"/>
            <p:nvPr/>
          </p:nvSpPr>
          <p:spPr>
            <a:xfrm>
              <a:off x="627793" y="2053795"/>
              <a:ext cx="3040093" cy="7701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>
                  <a:solidFill>
                    <a:srgbClr val="595959"/>
                  </a:solidFill>
                </a:rPr>
                <a:t>Did online meetings</a:t>
              </a:r>
            </a:p>
            <a:p>
              <a:r>
                <a:rPr lang="en-US" sz="1600">
                  <a:solidFill>
                    <a:srgbClr val="595959"/>
                  </a:solidFill>
                </a:rPr>
                <a:t>encourage you to act more civil?  </a:t>
              </a:r>
            </a:p>
            <a:p>
              <a:r>
                <a:rPr lang="en-US" sz="1000">
                  <a:solidFill>
                    <a:srgbClr val="595959"/>
                  </a:solidFill>
                </a:rPr>
                <a:t>Base: civility in online meetings was the </a:t>
              </a:r>
              <a:r>
                <a:rPr lang="en-US" sz="1000" b="1">
                  <a:solidFill>
                    <a:srgbClr val="595959"/>
                  </a:solidFill>
                </a:rPr>
                <a:t>same</a:t>
              </a:r>
              <a:r>
                <a:rPr lang="en-US" sz="1000">
                  <a:solidFill>
                    <a:srgbClr val="595959"/>
                  </a:solidFill>
                </a:rPr>
                <a:t> as other online experiences, n=653</a:t>
              </a:r>
            </a:p>
          </p:txBody>
        </p:sp>
      </p:grpSp>
      <p:sp>
        <p:nvSpPr>
          <p:cNvPr id="14" name="speech_4" title="Icon of a chat bubble with a video camera inside">
            <a:extLst>
              <a:ext uri="{FF2B5EF4-FFF2-40B4-BE49-F238E27FC236}">
                <a16:creationId xmlns:a16="http://schemas.microsoft.com/office/drawing/2014/main" id="{D70720D4-6CB2-4A5B-9034-9FB73B4734B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763468" y="3507656"/>
            <a:ext cx="720509" cy="640080"/>
          </a:xfrm>
          <a:custGeom>
            <a:avLst/>
            <a:gdLst>
              <a:gd name="T0" fmla="*/ 122 w 215"/>
              <a:gd name="T1" fmla="*/ 145 h 191"/>
              <a:gd name="T2" fmla="*/ 77 w 215"/>
              <a:gd name="T3" fmla="*/ 145 h 191"/>
              <a:gd name="T4" fmla="*/ 31 w 215"/>
              <a:gd name="T5" fmla="*/ 191 h 191"/>
              <a:gd name="T6" fmla="*/ 31 w 215"/>
              <a:gd name="T7" fmla="*/ 145 h 191"/>
              <a:gd name="T8" fmla="*/ 0 w 215"/>
              <a:gd name="T9" fmla="*/ 145 h 191"/>
              <a:gd name="T10" fmla="*/ 0 w 215"/>
              <a:gd name="T11" fmla="*/ 0 h 191"/>
              <a:gd name="T12" fmla="*/ 215 w 215"/>
              <a:gd name="T13" fmla="*/ 0 h 191"/>
              <a:gd name="T14" fmla="*/ 215 w 215"/>
              <a:gd name="T15" fmla="*/ 120 h 191"/>
              <a:gd name="T16" fmla="*/ 120 w 215"/>
              <a:gd name="T17" fmla="*/ 145 h 191"/>
              <a:gd name="T18" fmla="*/ 120 w 215"/>
              <a:gd name="T19" fmla="*/ 145 h 191"/>
              <a:gd name="T20" fmla="*/ 122 w 215"/>
              <a:gd name="T21" fmla="*/ 145 h 191"/>
              <a:gd name="T22" fmla="*/ 215 w 215"/>
              <a:gd name="T23" fmla="*/ 145 h 191"/>
              <a:gd name="T24" fmla="*/ 215 w 215"/>
              <a:gd name="T25" fmla="*/ 120 h 191"/>
              <a:gd name="T26" fmla="*/ 131 w 215"/>
              <a:gd name="T27" fmla="*/ 60 h 191"/>
              <a:gd name="T28" fmla="*/ 131 w 215"/>
              <a:gd name="T29" fmla="*/ 40 h 191"/>
              <a:gd name="T30" fmla="*/ 54 w 215"/>
              <a:gd name="T31" fmla="*/ 40 h 191"/>
              <a:gd name="T32" fmla="*/ 54 w 215"/>
              <a:gd name="T33" fmla="*/ 102 h 191"/>
              <a:gd name="T34" fmla="*/ 131 w 215"/>
              <a:gd name="T35" fmla="*/ 102 h 191"/>
              <a:gd name="T36" fmla="*/ 131 w 215"/>
              <a:gd name="T37" fmla="*/ 60 h 191"/>
              <a:gd name="T38" fmla="*/ 131 w 215"/>
              <a:gd name="T39" fmla="*/ 84 h 191"/>
              <a:gd name="T40" fmla="*/ 161 w 215"/>
              <a:gd name="T41" fmla="*/ 100 h 191"/>
              <a:gd name="T42" fmla="*/ 161 w 215"/>
              <a:gd name="T43" fmla="*/ 45 h 191"/>
              <a:gd name="T44" fmla="*/ 131 w 215"/>
              <a:gd name="T45" fmla="*/ 6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15" h="191">
                <a:moveTo>
                  <a:pt x="122" y="145"/>
                </a:moveTo>
                <a:lnTo>
                  <a:pt x="77" y="145"/>
                </a:lnTo>
                <a:lnTo>
                  <a:pt x="31" y="191"/>
                </a:lnTo>
                <a:lnTo>
                  <a:pt x="31" y="145"/>
                </a:lnTo>
                <a:lnTo>
                  <a:pt x="0" y="145"/>
                </a:lnTo>
                <a:lnTo>
                  <a:pt x="0" y="0"/>
                </a:lnTo>
                <a:lnTo>
                  <a:pt x="215" y="0"/>
                </a:lnTo>
                <a:lnTo>
                  <a:pt x="215" y="120"/>
                </a:lnTo>
                <a:moveTo>
                  <a:pt x="120" y="145"/>
                </a:moveTo>
                <a:lnTo>
                  <a:pt x="120" y="145"/>
                </a:lnTo>
                <a:moveTo>
                  <a:pt x="122" y="145"/>
                </a:moveTo>
                <a:lnTo>
                  <a:pt x="215" y="145"/>
                </a:lnTo>
                <a:lnTo>
                  <a:pt x="215" y="120"/>
                </a:lnTo>
                <a:moveTo>
                  <a:pt x="131" y="60"/>
                </a:moveTo>
                <a:lnTo>
                  <a:pt x="131" y="40"/>
                </a:lnTo>
                <a:lnTo>
                  <a:pt x="54" y="40"/>
                </a:lnTo>
                <a:lnTo>
                  <a:pt x="54" y="102"/>
                </a:lnTo>
                <a:lnTo>
                  <a:pt x="131" y="102"/>
                </a:lnTo>
                <a:lnTo>
                  <a:pt x="131" y="60"/>
                </a:lnTo>
                <a:moveTo>
                  <a:pt x="131" y="84"/>
                </a:moveTo>
                <a:lnTo>
                  <a:pt x="161" y="100"/>
                </a:lnTo>
                <a:lnTo>
                  <a:pt x="161" y="45"/>
                </a:lnTo>
                <a:lnTo>
                  <a:pt x="131" y="60"/>
                </a:lnTo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</a:endParaRPr>
          </a:p>
        </p:txBody>
      </p:sp>
      <p:sp>
        <p:nvSpPr>
          <p:cNvPr id="15" name="speech_4" title="Icon of a chat bubble with a video camera inside">
            <a:extLst>
              <a:ext uri="{FF2B5EF4-FFF2-40B4-BE49-F238E27FC236}">
                <a16:creationId xmlns:a16="http://schemas.microsoft.com/office/drawing/2014/main" id="{7EBB72DA-3E83-4DF6-B553-72D22FB1C90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007172" y="3507656"/>
            <a:ext cx="720509" cy="640080"/>
          </a:xfrm>
          <a:custGeom>
            <a:avLst/>
            <a:gdLst>
              <a:gd name="T0" fmla="*/ 122 w 215"/>
              <a:gd name="T1" fmla="*/ 145 h 191"/>
              <a:gd name="T2" fmla="*/ 77 w 215"/>
              <a:gd name="T3" fmla="*/ 145 h 191"/>
              <a:gd name="T4" fmla="*/ 31 w 215"/>
              <a:gd name="T5" fmla="*/ 191 h 191"/>
              <a:gd name="T6" fmla="*/ 31 w 215"/>
              <a:gd name="T7" fmla="*/ 145 h 191"/>
              <a:gd name="T8" fmla="*/ 0 w 215"/>
              <a:gd name="T9" fmla="*/ 145 h 191"/>
              <a:gd name="T10" fmla="*/ 0 w 215"/>
              <a:gd name="T11" fmla="*/ 0 h 191"/>
              <a:gd name="T12" fmla="*/ 215 w 215"/>
              <a:gd name="T13" fmla="*/ 0 h 191"/>
              <a:gd name="T14" fmla="*/ 215 w 215"/>
              <a:gd name="T15" fmla="*/ 120 h 191"/>
              <a:gd name="T16" fmla="*/ 120 w 215"/>
              <a:gd name="T17" fmla="*/ 145 h 191"/>
              <a:gd name="T18" fmla="*/ 120 w 215"/>
              <a:gd name="T19" fmla="*/ 145 h 191"/>
              <a:gd name="T20" fmla="*/ 122 w 215"/>
              <a:gd name="T21" fmla="*/ 145 h 191"/>
              <a:gd name="T22" fmla="*/ 215 w 215"/>
              <a:gd name="T23" fmla="*/ 145 h 191"/>
              <a:gd name="T24" fmla="*/ 215 w 215"/>
              <a:gd name="T25" fmla="*/ 120 h 191"/>
              <a:gd name="T26" fmla="*/ 131 w 215"/>
              <a:gd name="T27" fmla="*/ 60 h 191"/>
              <a:gd name="T28" fmla="*/ 131 w 215"/>
              <a:gd name="T29" fmla="*/ 40 h 191"/>
              <a:gd name="T30" fmla="*/ 54 w 215"/>
              <a:gd name="T31" fmla="*/ 40 h 191"/>
              <a:gd name="T32" fmla="*/ 54 w 215"/>
              <a:gd name="T33" fmla="*/ 102 h 191"/>
              <a:gd name="T34" fmla="*/ 131 w 215"/>
              <a:gd name="T35" fmla="*/ 102 h 191"/>
              <a:gd name="T36" fmla="*/ 131 w 215"/>
              <a:gd name="T37" fmla="*/ 60 h 191"/>
              <a:gd name="T38" fmla="*/ 131 w 215"/>
              <a:gd name="T39" fmla="*/ 84 h 191"/>
              <a:gd name="T40" fmla="*/ 161 w 215"/>
              <a:gd name="T41" fmla="*/ 100 h 191"/>
              <a:gd name="T42" fmla="*/ 161 w 215"/>
              <a:gd name="T43" fmla="*/ 45 h 191"/>
              <a:gd name="T44" fmla="*/ 131 w 215"/>
              <a:gd name="T45" fmla="*/ 6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15" h="191">
                <a:moveTo>
                  <a:pt x="122" y="145"/>
                </a:moveTo>
                <a:lnTo>
                  <a:pt x="77" y="145"/>
                </a:lnTo>
                <a:lnTo>
                  <a:pt x="31" y="191"/>
                </a:lnTo>
                <a:lnTo>
                  <a:pt x="31" y="145"/>
                </a:lnTo>
                <a:lnTo>
                  <a:pt x="0" y="145"/>
                </a:lnTo>
                <a:lnTo>
                  <a:pt x="0" y="0"/>
                </a:lnTo>
                <a:lnTo>
                  <a:pt x="215" y="0"/>
                </a:lnTo>
                <a:lnTo>
                  <a:pt x="215" y="120"/>
                </a:lnTo>
                <a:moveTo>
                  <a:pt x="120" y="145"/>
                </a:moveTo>
                <a:lnTo>
                  <a:pt x="120" y="145"/>
                </a:lnTo>
                <a:moveTo>
                  <a:pt x="122" y="145"/>
                </a:moveTo>
                <a:lnTo>
                  <a:pt x="215" y="145"/>
                </a:lnTo>
                <a:lnTo>
                  <a:pt x="215" y="120"/>
                </a:lnTo>
                <a:moveTo>
                  <a:pt x="131" y="60"/>
                </a:moveTo>
                <a:lnTo>
                  <a:pt x="131" y="40"/>
                </a:lnTo>
                <a:lnTo>
                  <a:pt x="54" y="40"/>
                </a:lnTo>
                <a:lnTo>
                  <a:pt x="54" y="102"/>
                </a:lnTo>
                <a:lnTo>
                  <a:pt x="131" y="102"/>
                </a:lnTo>
                <a:lnTo>
                  <a:pt x="131" y="60"/>
                </a:lnTo>
                <a:moveTo>
                  <a:pt x="131" y="84"/>
                </a:moveTo>
                <a:lnTo>
                  <a:pt x="161" y="100"/>
                </a:lnTo>
                <a:lnTo>
                  <a:pt x="161" y="45"/>
                </a:lnTo>
                <a:lnTo>
                  <a:pt x="131" y="60"/>
                </a:lnTo>
              </a:path>
            </a:pathLst>
          </a:cu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812737050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9F7D5-0E30-4E5E-B6C6-E8C38D92B5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553998"/>
          </a:xfrm>
        </p:spPr>
        <p:txBody>
          <a:bodyPr/>
          <a:lstStyle/>
          <a:p>
            <a:r>
              <a:rPr lang="en-US"/>
              <a:t>Online </a:t>
            </a:r>
            <a:r>
              <a:rPr lang="en-US" u="sng"/>
              <a:t>classes</a:t>
            </a:r>
            <a:r>
              <a:rPr lang="en-US"/>
              <a:t> had a powerful effect on encouraging civility</a:t>
            </a:r>
            <a:br>
              <a:rPr lang="en-US"/>
            </a:br>
            <a:r>
              <a:rPr lang="en-US" sz="1400"/>
              <a:t>Among those who said online meetings had the </a:t>
            </a:r>
            <a:r>
              <a:rPr lang="en-US" sz="1400" u="sng"/>
              <a:t>same</a:t>
            </a:r>
            <a:r>
              <a:rPr lang="en-US" sz="1400"/>
              <a:t> level of civility as other experiences, 67% were encouraged to be more civil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784B13C-46BA-42BF-A8C8-BF6BE639053E}"/>
              </a:ext>
            </a:extLst>
          </p:cNvPr>
          <p:cNvGrpSpPr/>
          <p:nvPr/>
        </p:nvGrpSpPr>
        <p:grpSpPr>
          <a:xfrm>
            <a:off x="435863" y="1451616"/>
            <a:ext cx="5367528" cy="4352544"/>
            <a:chOff x="90608" y="2053795"/>
            <a:chExt cx="3801213" cy="3755735"/>
          </a:xfrm>
        </p:grpSpPr>
        <p:graphicFrame>
          <p:nvGraphicFramePr>
            <p:cNvPr id="6" name="Chart 5">
              <a:extLst>
                <a:ext uri="{FF2B5EF4-FFF2-40B4-BE49-F238E27FC236}">
                  <a16:creationId xmlns:a16="http://schemas.microsoft.com/office/drawing/2014/main" id="{4CD0F8EB-BC56-440D-8D84-5CD6262EEBE8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099605878"/>
                </p:ext>
              </p:extLst>
            </p:nvPr>
          </p:nvGraphicFramePr>
          <p:xfrm>
            <a:off x="90608" y="2700126"/>
            <a:ext cx="3801213" cy="31094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38128AC-F4C4-41C1-AE73-768A66000A61}"/>
                </a:ext>
              </a:extLst>
            </p:cNvPr>
            <p:cNvSpPr txBox="1"/>
            <p:nvPr/>
          </p:nvSpPr>
          <p:spPr>
            <a:xfrm>
              <a:off x="627793" y="2053795"/>
              <a:ext cx="3040093" cy="7701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>
                  <a:solidFill>
                    <a:srgbClr val="595959"/>
                  </a:solidFill>
                </a:rPr>
                <a:t>Did online classes</a:t>
              </a:r>
            </a:p>
            <a:p>
              <a:r>
                <a:rPr lang="en-US" sz="1600">
                  <a:solidFill>
                    <a:srgbClr val="595959"/>
                  </a:solidFill>
                </a:rPr>
                <a:t>encourage you to act more civil? </a:t>
              </a:r>
            </a:p>
            <a:p>
              <a:r>
                <a:rPr lang="en-US" sz="1000">
                  <a:solidFill>
                    <a:srgbClr val="595959"/>
                  </a:solidFill>
                </a:rPr>
                <a:t>Base: civility in online classes were </a:t>
              </a:r>
              <a:r>
                <a:rPr lang="en-US" sz="1000" b="1">
                  <a:solidFill>
                    <a:srgbClr val="595959"/>
                  </a:solidFill>
                </a:rPr>
                <a:t>more</a:t>
              </a:r>
              <a:r>
                <a:rPr lang="en-US" sz="1000">
                  <a:solidFill>
                    <a:srgbClr val="595959"/>
                  </a:solidFill>
                </a:rPr>
                <a:t> civil as other online experiences, n=3,010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FD34B82C-F7A4-4CC2-853C-6A984374DED9}"/>
              </a:ext>
            </a:extLst>
          </p:cNvPr>
          <p:cNvSpPr txBox="1"/>
          <p:nvPr/>
        </p:nvSpPr>
        <p:spPr>
          <a:xfrm>
            <a:off x="917563" y="6582965"/>
            <a:ext cx="596156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8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.PM2A:  Have your experiences in online work meetings encouraged you to act more civilly during your other interactions online?</a:t>
            </a:r>
          </a:p>
          <a:p>
            <a:pPr algn="l"/>
            <a:r>
              <a:rPr lang="en-US" sz="8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.PM2A:  Have your experiences in online classes encouraged you to act more civilly during your other interactions online?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7A19885-8710-4FB0-B114-662C8FE3B6D7}"/>
              </a:ext>
            </a:extLst>
          </p:cNvPr>
          <p:cNvGrpSpPr/>
          <p:nvPr/>
        </p:nvGrpSpPr>
        <p:grpSpPr>
          <a:xfrm>
            <a:off x="5679567" y="1451616"/>
            <a:ext cx="5367528" cy="4352544"/>
            <a:chOff x="90608" y="2053795"/>
            <a:chExt cx="3801213" cy="3755735"/>
          </a:xfrm>
        </p:grpSpPr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CE4D96F2-3D86-4902-BDC5-758074674CA6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195490261"/>
                </p:ext>
              </p:extLst>
            </p:nvPr>
          </p:nvGraphicFramePr>
          <p:xfrm>
            <a:off x="90608" y="2700126"/>
            <a:ext cx="3801213" cy="31094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3EB735C-2AAF-4B85-BD1D-58DC31588BCB}"/>
                </a:ext>
              </a:extLst>
            </p:cNvPr>
            <p:cNvSpPr txBox="1"/>
            <p:nvPr/>
          </p:nvSpPr>
          <p:spPr>
            <a:xfrm>
              <a:off x="627793" y="2053795"/>
              <a:ext cx="3040093" cy="7701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>
                  <a:solidFill>
                    <a:srgbClr val="595959"/>
                  </a:solidFill>
                </a:rPr>
                <a:t>Did online classes </a:t>
              </a:r>
            </a:p>
            <a:p>
              <a:r>
                <a:rPr lang="en-US" sz="1600">
                  <a:solidFill>
                    <a:srgbClr val="595959"/>
                  </a:solidFill>
                </a:rPr>
                <a:t>encourage you to act more civil?  </a:t>
              </a:r>
            </a:p>
            <a:p>
              <a:r>
                <a:rPr lang="en-US" sz="1000">
                  <a:solidFill>
                    <a:srgbClr val="595959"/>
                  </a:solidFill>
                </a:rPr>
                <a:t>Base: civility in online classes were the </a:t>
              </a:r>
              <a:r>
                <a:rPr lang="en-US" sz="1000" b="1">
                  <a:solidFill>
                    <a:srgbClr val="595959"/>
                  </a:solidFill>
                </a:rPr>
                <a:t>same</a:t>
              </a:r>
              <a:r>
                <a:rPr lang="en-US" sz="1000">
                  <a:solidFill>
                    <a:srgbClr val="595959"/>
                  </a:solidFill>
                </a:rPr>
                <a:t> as other online experiences,  n=2,814</a:t>
              </a:r>
            </a:p>
          </p:txBody>
        </p:sp>
      </p:grpSp>
      <p:sp>
        <p:nvSpPr>
          <p:cNvPr id="12" name="graduate" title="Icon of a graduation cap">
            <a:extLst>
              <a:ext uri="{FF2B5EF4-FFF2-40B4-BE49-F238E27FC236}">
                <a16:creationId xmlns:a16="http://schemas.microsoft.com/office/drawing/2014/main" id="{6905FE37-7DD4-4483-AA3E-BE75656F51C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002030" y="3468328"/>
            <a:ext cx="746181" cy="640080"/>
          </a:xfrm>
          <a:custGeom>
            <a:avLst/>
            <a:gdLst>
              <a:gd name="T0" fmla="*/ 103 w 312"/>
              <a:gd name="T1" fmla="*/ 32 h 268"/>
              <a:gd name="T2" fmla="*/ 165 w 312"/>
              <a:gd name="T3" fmla="*/ 0 h 268"/>
              <a:gd name="T4" fmla="*/ 312 w 312"/>
              <a:gd name="T5" fmla="*/ 74 h 268"/>
              <a:gd name="T6" fmla="*/ 165 w 312"/>
              <a:gd name="T7" fmla="*/ 147 h 268"/>
              <a:gd name="T8" fmla="*/ 21 w 312"/>
              <a:gd name="T9" fmla="*/ 74 h 268"/>
              <a:gd name="T10" fmla="*/ 103 w 312"/>
              <a:gd name="T11" fmla="*/ 32 h 268"/>
              <a:gd name="T12" fmla="*/ 87 w 312"/>
              <a:gd name="T13" fmla="*/ 108 h 268"/>
              <a:gd name="T14" fmla="*/ 69 w 312"/>
              <a:gd name="T15" fmla="*/ 174 h 268"/>
              <a:gd name="T16" fmla="*/ 165 w 312"/>
              <a:gd name="T17" fmla="*/ 224 h 268"/>
              <a:gd name="T18" fmla="*/ 260 w 312"/>
              <a:gd name="T19" fmla="*/ 174 h 268"/>
              <a:gd name="T20" fmla="*/ 243 w 312"/>
              <a:gd name="T21" fmla="*/ 108 h 268"/>
              <a:gd name="T22" fmla="*/ 53 w 312"/>
              <a:gd name="T23" fmla="*/ 268 h 268"/>
              <a:gd name="T24" fmla="*/ 53 w 312"/>
              <a:gd name="T25" fmla="*/ 226 h 268"/>
              <a:gd name="T26" fmla="*/ 26 w 312"/>
              <a:gd name="T27" fmla="*/ 200 h 268"/>
              <a:gd name="T28" fmla="*/ 26 w 312"/>
              <a:gd name="T29" fmla="*/ 200 h 268"/>
              <a:gd name="T30" fmla="*/ 0 w 312"/>
              <a:gd name="T31" fmla="*/ 226 h 268"/>
              <a:gd name="T32" fmla="*/ 0 w 312"/>
              <a:gd name="T33" fmla="*/ 268 h 268"/>
              <a:gd name="T34" fmla="*/ 53 w 312"/>
              <a:gd name="T35" fmla="*/ 268 h 268"/>
              <a:gd name="T36" fmla="*/ 26 w 312"/>
              <a:gd name="T37" fmla="*/ 77 h 268"/>
              <a:gd name="T38" fmla="*/ 26 w 312"/>
              <a:gd name="T39" fmla="*/ 200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12" h="268">
                <a:moveTo>
                  <a:pt x="103" y="32"/>
                </a:moveTo>
                <a:cubicBezTo>
                  <a:pt x="165" y="0"/>
                  <a:pt x="165" y="0"/>
                  <a:pt x="165" y="0"/>
                </a:cubicBezTo>
                <a:cubicBezTo>
                  <a:pt x="312" y="74"/>
                  <a:pt x="312" y="74"/>
                  <a:pt x="312" y="74"/>
                </a:cubicBezTo>
                <a:cubicBezTo>
                  <a:pt x="165" y="147"/>
                  <a:pt x="165" y="147"/>
                  <a:pt x="165" y="147"/>
                </a:cubicBezTo>
                <a:cubicBezTo>
                  <a:pt x="21" y="74"/>
                  <a:pt x="21" y="74"/>
                  <a:pt x="21" y="74"/>
                </a:cubicBezTo>
                <a:lnTo>
                  <a:pt x="103" y="32"/>
                </a:lnTo>
                <a:close/>
                <a:moveTo>
                  <a:pt x="87" y="108"/>
                </a:moveTo>
                <a:cubicBezTo>
                  <a:pt x="69" y="130"/>
                  <a:pt x="69" y="174"/>
                  <a:pt x="69" y="174"/>
                </a:cubicBezTo>
                <a:cubicBezTo>
                  <a:pt x="165" y="224"/>
                  <a:pt x="165" y="224"/>
                  <a:pt x="165" y="224"/>
                </a:cubicBezTo>
                <a:cubicBezTo>
                  <a:pt x="260" y="174"/>
                  <a:pt x="260" y="174"/>
                  <a:pt x="260" y="174"/>
                </a:cubicBezTo>
                <a:cubicBezTo>
                  <a:pt x="260" y="174"/>
                  <a:pt x="260" y="131"/>
                  <a:pt x="243" y="108"/>
                </a:cubicBezTo>
                <a:moveTo>
                  <a:pt x="53" y="268"/>
                </a:moveTo>
                <a:cubicBezTo>
                  <a:pt x="53" y="226"/>
                  <a:pt x="53" y="226"/>
                  <a:pt x="53" y="226"/>
                </a:cubicBezTo>
                <a:cubicBezTo>
                  <a:pt x="53" y="212"/>
                  <a:pt x="41" y="200"/>
                  <a:pt x="26" y="200"/>
                </a:cubicBezTo>
                <a:cubicBezTo>
                  <a:pt x="26" y="200"/>
                  <a:pt x="26" y="200"/>
                  <a:pt x="26" y="200"/>
                </a:cubicBezTo>
                <a:cubicBezTo>
                  <a:pt x="12" y="200"/>
                  <a:pt x="0" y="212"/>
                  <a:pt x="0" y="226"/>
                </a:cubicBezTo>
                <a:cubicBezTo>
                  <a:pt x="0" y="268"/>
                  <a:pt x="0" y="268"/>
                  <a:pt x="0" y="268"/>
                </a:cubicBezTo>
                <a:lnTo>
                  <a:pt x="53" y="268"/>
                </a:lnTo>
                <a:close/>
                <a:moveTo>
                  <a:pt x="26" y="77"/>
                </a:moveTo>
                <a:cubicBezTo>
                  <a:pt x="26" y="200"/>
                  <a:pt x="26" y="200"/>
                  <a:pt x="26" y="200"/>
                </a:cubicBezTo>
              </a:path>
            </a:pathLst>
          </a:custGeom>
          <a:noFill/>
          <a:ln w="2222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graduate" title="Icon of a graduation cap">
            <a:extLst>
              <a:ext uri="{FF2B5EF4-FFF2-40B4-BE49-F238E27FC236}">
                <a16:creationId xmlns:a16="http://schemas.microsoft.com/office/drawing/2014/main" id="{C106E919-764A-4B2A-AB15-D2014344A27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742082" y="3468328"/>
            <a:ext cx="746181" cy="640080"/>
          </a:xfrm>
          <a:custGeom>
            <a:avLst/>
            <a:gdLst>
              <a:gd name="T0" fmla="*/ 103 w 312"/>
              <a:gd name="T1" fmla="*/ 32 h 268"/>
              <a:gd name="T2" fmla="*/ 165 w 312"/>
              <a:gd name="T3" fmla="*/ 0 h 268"/>
              <a:gd name="T4" fmla="*/ 312 w 312"/>
              <a:gd name="T5" fmla="*/ 74 h 268"/>
              <a:gd name="T6" fmla="*/ 165 w 312"/>
              <a:gd name="T7" fmla="*/ 147 h 268"/>
              <a:gd name="T8" fmla="*/ 21 w 312"/>
              <a:gd name="T9" fmla="*/ 74 h 268"/>
              <a:gd name="T10" fmla="*/ 103 w 312"/>
              <a:gd name="T11" fmla="*/ 32 h 268"/>
              <a:gd name="T12" fmla="*/ 87 w 312"/>
              <a:gd name="T13" fmla="*/ 108 h 268"/>
              <a:gd name="T14" fmla="*/ 69 w 312"/>
              <a:gd name="T15" fmla="*/ 174 h 268"/>
              <a:gd name="T16" fmla="*/ 165 w 312"/>
              <a:gd name="T17" fmla="*/ 224 h 268"/>
              <a:gd name="T18" fmla="*/ 260 w 312"/>
              <a:gd name="T19" fmla="*/ 174 h 268"/>
              <a:gd name="T20" fmla="*/ 243 w 312"/>
              <a:gd name="T21" fmla="*/ 108 h 268"/>
              <a:gd name="T22" fmla="*/ 53 w 312"/>
              <a:gd name="T23" fmla="*/ 268 h 268"/>
              <a:gd name="T24" fmla="*/ 53 w 312"/>
              <a:gd name="T25" fmla="*/ 226 h 268"/>
              <a:gd name="T26" fmla="*/ 26 w 312"/>
              <a:gd name="T27" fmla="*/ 200 h 268"/>
              <a:gd name="T28" fmla="*/ 26 w 312"/>
              <a:gd name="T29" fmla="*/ 200 h 268"/>
              <a:gd name="T30" fmla="*/ 0 w 312"/>
              <a:gd name="T31" fmla="*/ 226 h 268"/>
              <a:gd name="T32" fmla="*/ 0 w 312"/>
              <a:gd name="T33" fmla="*/ 268 h 268"/>
              <a:gd name="T34" fmla="*/ 53 w 312"/>
              <a:gd name="T35" fmla="*/ 268 h 268"/>
              <a:gd name="T36" fmla="*/ 26 w 312"/>
              <a:gd name="T37" fmla="*/ 77 h 268"/>
              <a:gd name="T38" fmla="*/ 26 w 312"/>
              <a:gd name="T39" fmla="*/ 200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12" h="268">
                <a:moveTo>
                  <a:pt x="103" y="32"/>
                </a:moveTo>
                <a:cubicBezTo>
                  <a:pt x="165" y="0"/>
                  <a:pt x="165" y="0"/>
                  <a:pt x="165" y="0"/>
                </a:cubicBezTo>
                <a:cubicBezTo>
                  <a:pt x="312" y="74"/>
                  <a:pt x="312" y="74"/>
                  <a:pt x="312" y="74"/>
                </a:cubicBezTo>
                <a:cubicBezTo>
                  <a:pt x="165" y="147"/>
                  <a:pt x="165" y="147"/>
                  <a:pt x="165" y="147"/>
                </a:cubicBezTo>
                <a:cubicBezTo>
                  <a:pt x="21" y="74"/>
                  <a:pt x="21" y="74"/>
                  <a:pt x="21" y="74"/>
                </a:cubicBezTo>
                <a:lnTo>
                  <a:pt x="103" y="32"/>
                </a:lnTo>
                <a:close/>
                <a:moveTo>
                  <a:pt x="87" y="108"/>
                </a:moveTo>
                <a:cubicBezTo>
                  <a:pt x="69" y="130"/>
                  <a:pt x="69" y="174"/>
                  <a:pt x="69" y="174"/>
                </a:cubicBezTo>
                <a:cubicBezTo>
                  <a:pt x="165" y="224"/>
                  <a:pt x="165" y="224"/>
                  <a:pt x="165" y="224"/>
                </a:cubicBezTo>
                <a:cubicBezTo>
                  <a:pt x="260" y="174"/>
                  <a:pt x="260" y="174"/>
                  <a:pt x="260" y="174"/>
                </a:cubicBezTo>
                <a:cubicBezTo>
                  <a:pt x="260" y="174"/>
                  <a:pt x="260" y="131"/>
                  <a:pt x="243" y="108"/>
                </a:cubicBezTo>
                <a:moveTo>
                  <a:pt x="53" y="268"/>
                </a:moveTo>
                <a:cubicBezTo>
                  <a:pt x="53" y="226"/>
                  <a:pt x="53" y="226"/>
                  <a:pt x="53" y="226"/>
                </a:cubicBezTo>
                <a:cubicBezTo>
                  <a:pt x="53" y="212"/>
                  <a:pt x="41" y="200"/>
                  <a:pt x="26" y="200"/>
                </a:cubicBezTo>
                <a:cubicBezTo>
                  <a:pt x="26" y="200"/>
                  <a:pt x="26" y="200"/>
                  <a:pt x="26" y="200"/>
                </a:cubicBezTo>
                <a:cubicBezTo>
                  <a:pt x="12" y="200"/>
                  <a:pt x="0" y="212"/>
                  <a:pt x="0" y="226"/>
                </a:cubicBezTo>
                <a:cubicBezTo>
                  <a:pt x="0" y="268"/>
                  <a:pt x="0" y="268"/>
                  <a:pt x="0" y="268"/>
                </a:cubicBezTo>
                <a:lnTo>
                  <a:pt x="53" y="268"/>
                </a:lnTo>
                <a:close/>
                <a:moveTo>
                  <a:pt x="26" y="77"/>
                </a:moveTo>
                <a:cubicBezTo>
                  <a:pt x="26" y="200"/>
                  <a:pt x="26" y="200"/>
                  <a:pt x="26" y="200"/>
                </a:cubicBezTo>
              </a:path>
            </a:pathLst>
          </a:custGeom>
          <a:noFill/>
          <a:ln w="2222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94059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A353C2-A346-4C58-88D1-C8FF6001B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03" y="765719"/>
            <a:ext cx="10515600" cy="338554"/>
          </a:xfrm>
        </p:spPr>
        <p:txBody>
          <a:bodyPr/>
          <a:lstStyle/>
          <a:p>
            <a:r>
              <a:rPr lang="en-US"/>
              <a:t>Digital Civility 2021 Headlines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B08E7A98-37A9-456C-9E6B-27198EC7F246}"/>
              </a:ext>
            </a:extLst>
          </p:cNvPr>
          <p:cNvGrpSpPr/>
          <p:nvPr/>
        </p:nvGrpSpPr>
        <p:grpSpPr>
          <a:xfrm>
            <a:off x="220565" y="1578239"/>
            <a:ext cx="5875542" cy="586120"/>
            <a:chOff x="209995" y="1578239"/>
            <a:chExt cx="6239972" cy="586120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C684F49E-138A-467E-93E0-3458C4C3DB10}"/>
                </a:ext>
              </a:extLst>
            </p:cNvPr>
            <p:cNvGrpSpPr/>
            <p:nvPr/>
          </p:nvGrpSpPr>
          <p:grpSpPr>
            <a:xfrm>
              <a:off x="209995" y="1578239"/>
              <a:ext cx="6239972" cy="586120"/>
              <a:chOff x="209995" y="1578239"/>
              <a:chExt cx="6239972" cy="586120"/>
            </a:xfrm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996AE446-99B3-4A10-815A-E6C80955B4F7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75675" y="1719143"/>
                <a:ext cx="579536" cy="310896"/>
              </a:xfrm>
              <a:custGeom>
                <a:avLst/>
                <a:gdLst>
                  <a:gd name="connsiteX0" fmla="*/ 2796 w 1141667"/>
                  <a:gd name="connsiteY0" fmla="*/ 0 h 612456"/>
                  <a:gd name="connsiteX1" fmla="*/ 1137538 w 1141667"/>
                  <a:gd name="connsiteY1" fmla="*/ 0 h 612456"/>
                  <a:gd name="connsiteX2" fmla="*/ 1141667 w 1141667"/>
                  <a:gd name="connsiteY2" fmla="*/ 40956 h 612456"/>
                  <a:gd name="connsiteX3" fmla="*/ 570167 w 1141667"/>
                  <a:gd name="connsiteY3" fmla="*/ 612456 h 612456"/>
                  <a:gd name="connsiteX4" fmla="*/ 10278 w 1141667"/>
                  <a:gd name="connsiteY4" fmla="*/ 156133 h 612456"/>
                  <a:gd name="connsiteX5" fmla="*/ 0 w 1141667"/>
                  <a:gd name="connsiteY5" fmla="*/ 54179 h 612456"/>
                  <a:gd name="connsiteX6" fmla="*/ 0 w 1141667"/>
                  <a:gd name="connsiteY6" fmla="*/ 27733 h 612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41667" h="612456">
                    <a:moveTo>
                      <a:pt x="2796" y="0"/>
                    </a:moveTo>
                    <a:lnTo>
                      <a:pt x="1137538" y="0"/>
                    </a:lnTo>
                    <a:lnTo>
                      <a:pt x="1141667" y="40956"/>
                    </a:lnTo>
                    <a:cubicBezTo>
                      <a:pt x="1141667" y="356587"/>
                      <a:pt x="885798" y="612456"/>
                      <a:pt x="570167" y="612456"/>
                    </a:cubicBezTo>
                    <a:cubicBezTo>
                      <a:pt x="293990" y="612456"/>
                      <a:pt x="63568" y="416556"/>
                      <a:pt x="10278" y="156133"/>
                    </a:cubicBezTo>
                    <a:lnTo>
                      <a:pt x="0" y="54179"/>
                    </a:lnTo>
                    <a:lnTo>
                      <a:pt x="0" y="27733"/>
                    </a:lnTo>
                    <a:close/>
                  </a:path>
                </a:pathLst>
              </a:custGeom>
              <a:solidFill>
                <a:srgbClr val="0078D4">
                  <a:alpha val="1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5FEF7735-291E-4872-A495-084E58AA0B81}"/>
                  </a:ext>
                </a:extLst>
              </p:cNvPr>
              <p:cNvSpPr/>
              <p:nvPr/>
            </p:nvSpPr>
            <p:spPr bwMode="auto">
              <a:xfrm>
                <a:off x="528129" y="1578239"/>
                <a:ext cx="5921838" cy="585216"/>
              </a:xfrm>
              <a:prstGeom prst="rect">
                <a:avLst/>
              </a:prstGeom>
              <a:solidFill>
                <a:srgbClr val="0078D4">
                  <a:alpha val="14902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3B22771-7BDC-4F6A-BBC8-9A870C650A47}"/>
                </a:ext>
              </a:extLst>
            </p:cNvPr>
            <p:cNvSpPr txBox="1"/>
            <p:nvPr/>
          </p:nvSpPr>
          <p:spPr>
            <a:xfrm>
              <a:off x="528015" y="1732347"/>
              <a:ext cx="4232035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600"/>
                <a:t>DCI nears all-time best led by teenage boys 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943646F-E555-4E44-A402-DA42AF2DED3A}"/>
              </a:ext>
            </a:extLst>
          </p:cNvPr>
          <p:cNvGrpSpPr/>
          <p:nvPr/>
        </p:nvGrpSpPr>
        <p:grpSpPr>
          <a:xfrm>
            <a:off x="237306" y="2552700"/>
            <a:ext cx="5860564" cy="579536"/>
            <a:chOff x="237306" y="2552700"/>
            <a:chExt cx="5860564" cy="579536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5C646555-B1E6-45DD-BC86-BE842EE3A37C}"/>
                </a:ext>
              </a:extLst>
            </p:cNvPr>
            <p:cNvGrpSpPr/>
            <p:nvPr/>
          </p:nvGrpSpPr>
          <p:grpSpPr>
            <a:xfrm>
              <a:off x="237306" y="2552700"/>
              <a:ext cx="5860564" cy="579536"/>
              <a:chOff x="237306" y="2552700"/>
              <a:chExt cx="5860564" cy="579536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021A39F-1942-46EA-B038-2BF59BAF102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93809" y="2696197"/>
                <a:ext cx="579536" cy="292541"/>
              </a:xfrm>
              <a:custGeom>
                <a:avLst/>
                <a:gdLst>
                  <a:gd name="connsiteX0" fmla="*/ 2796 w 1141667"/>
                  <a:gd name="connsiteY0" fmla="*/ 0 h 612456"/>
                  <a:gd name="connsiteX1" fmla="*/ 1137538 w 1141667"/>
                  <a:gd name="connsiteY1" fmla="*/ 0 h 612456"/>
                  <a:gd name="connsiteX2" fmla="*/ 1141667 w 1141667"/>
                  <a:gd name="connsiteY2" fmla="*/ 40956 h 612456"/>
                  <a:gd name="connsiteX3" fmla="*/ 570167 w 1141667"/>
                  <a:gd name="connsiteY3" fmla="*/ 612456 h 612456"/>
                  <a:gd name="connsiteX4" fmla="*/ 10278 w 1141667"/>
                  <a:gd name="connsiteY4" fmla="*/ 156133 h 612456"/>
                  <a:gd name="connsiteX5" fmla="*/ 0 w 1141667"/>
                  <a:gd name="connsiteY5" fmla="*/ 54179 h 612456"/>
                  <a:gd name="connsiteX6" fmla="*/ 0 w 1141667"/>
                  <a:gd name="connsiteY6" fmla="*/ 27733 h 612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41667" h="612456">
                    <a:moveTo>
                      <a:pt x="2796" y="0"/>
                    </a:moveTo>
                    <a:lnTo>
                      <a:pt x="1137538" y="0"/>
                    </a:lnTo>
                    <a:lnTo>
                      <a:pt x="1141667" y="40956"/>
                    </a:lnTo>
                    <a:cubicBezTo>
                      <a:pt x="1141667" y="356587"/>
                      <a:pt x="885798" y="612456"/>
                      <a:pt x="570167" y="612456"/>
                    </a:cubicBezTo>
                    <a:cubicBezTo>
                      <a:pt x="293990" y="612456"/>
                      <a:pt x="63568" y="416556"/>
                      <a:pt x="10278" y="156133"/>
                    </a:cubicBezTo>
                    <a:lnTo>
                      <a:pt x="0" y="54179"/>
                    </a:lnTo>
                    <a:lnTo>
                      <a:pt x="0" y="27733"/>
                    </a:lnTo>
                    <a:close/>
                  </a:path>
                </a:pathLst>
              </a:custGeom>
              <a:solidFill>
                <a:srgbClr val="0078D4">
                  <a:alpha val="1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C9E6B28C-BE26-456A-9B6F-97E65B4B0E4C}"/>
                  </a:ext>
                </a:extLst>
              </p:cNvPr>
              <p:cNvSpPr/>
              <p:nvPr/>
            </p:nvSpPr>
            <p:spPr bwMode="auto">
              <a:xfrm>
                <a:off x="525658" y="2556054"/>
                <a:ext cx="5572212" cy="576072"/>
              </a:xfrm>
              <a:prstGeom prst="rect">
                <a:avLst/>
              </a:prstGeom>
              <a:solidFill>
                <a:srgbClr val="0078D4">
                  <a:alpha val="14902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24D6234B-33B3-488D-BFF6-7B2DE37661E4}"/>
                </a:ext>
              </a:extLst>
            </p:cNvPr>
            <p:cNvSpPr txBox="1"/>
            <p:nvPr/>
          </p:nvSpPr>
          <p:spPr>
            <a:xfrm>
              <a:off x="516240" y="2700223"/>
              <a:ext cx="5098318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600"/>
                <a:t>Perceptions about civility during Covid were less positive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E11665BB-868B-40E9-BF14-FD85A17295CC}"/>
              </a:ext>
            </a:extLst>
          </p:cNvPr>
          <p:cNvGrpSpPr/>
          <p:nvPr/>
        </p:nvGrpSpPr>
        <p:grpSpPr>
          <a:xfrm>
            <a:off x="237309" y="4488451"/>
            <a:ext cx="5860668" cy="579536"/>
            <a:chOff x="231583" y="1584823"/>
            <a:chExt cx="6228392" cy="579536"/>
          </a:xfrm>
        </p:grpSpPr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BD537A89-AD24-4491-86E1-83B019F000F8}"/>
                </a:ext>
              </a:extLst>
            </p:cNvPr>
            <p:cNvGrpSpPr/>
            <p:nvPr/>
          </p:nvGrpSpPr>
          <p:grpSpPr>
            <a:xfrm>
              <a:off x="231583" y="1584823"/>
              <a:ext cx="6228392" cy="579536"/>
              <a:chOff x="231583" y="1584823"/>
              <a:chExt cx="6228392" cy="579536"/>
            </a:xfrm>
          </p:grpSpPr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3BEC75E1-6415-4E5C-8942-8789EA1BB8F1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97263" y="1719143"/>
                <a:ext cx="579536" cy="310896"/>
              </a:xfrm>
              <a:custGeom>
                <a:avLst/>
                <a:gdLst>
                  <a:gd name="connsiteX0" fmla="*/ 2796 w 1141667"/>
                  <a:gd name="connsiteY0" fmla="*/ 0 h 612456"/>
                  <a:gd name="connsiteX1" fmla="*/ 1137538 w 1141667"/>
                  <a:gd name="connsiteY1" fmla="*/ 0 h 612456"/>
                  <a:gd name="connsiteX2" fmla="*/ 1141667 w 1141667"/>
                  <a:gd name="connsiteY2" fmla="*/ 40956 h 612456"/>
                  <a:gd name="connsiteX3" fmla="*/ 570167 w 1141667"/>
                  <a:gd name="connsiteY3" fmla="*/ 612456 h 612456"/>
                  <a:gd name="connsiteX4" fmla="*/ 10278 w 1141667"/>
                  <a:gd name="connsiteY4" fmla="*/ 156133 h 612456"/>
                  <a:gd name="connsiteX5" fmla="*/ 0 w 1141667"/>
                  <a:gd name="connsiteY5" fmla="*/ 54179 h 612456"/>
                  <a:gd name="connsiteX6" fmla="*/ 0 w 1141667"/>
                  <a:gd name="connsiteY6" fmla="*/ 27733 h 612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41667" h="612456">
                    <a:moveTo>
                      <a:pt x="2796" y="0"/>
                    </a:moveTo>
                    <a:lnTo>
                      <a:pt x="1137538" y="0"/>
                    </a:lnTo>
                    <a:lnTo>
                      <a:pt x="1141667" y="40956"/>
                    </a:lnTo>
                    <a:cubicBezTo>
                      <a:pt x="1141667" y="356587"/>
                      <a:pt x="885798" y="612456"/>
                      <a:pt x="570167" y="612456"/>
                    </a:cubicBezTo>
                    <a:cubicBezTo>
                      <a:pt x="293990" y="612456"/>
                      <a:pt x="63568" y="416556"/>
                      <a:pt x="10278" y="156133"/>
                    </a:cubicBezTo>
                    <a:lnTo>
                      <a:pt x="0" y="54179"/>
                    </a:lnTo>
                    <a:lnTo>
                      <a:pt x="0" y="27733"/>
                    </a:lnTo>
                    <a:close/>
                  </a:path>
                </a:pathLst>
              </a:custGeom>
              <a:solidFill>
                <a:srgbClr val="0078D4">
                  <a:alpha val="1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9A53637-75BB-4F19-B6A9-EBB144E5A318}"/>
                  </a:ext>
                </a:extLst>
              </p:cNvPr>
              <p:cNvSpPr/>
              <p:nvPr/>
            </p:nvSpPr>
            <p:spPr bwMode="auto">
              <a:xfrm>
                <a:off x="538137" y="1588178"/>
                <a:ext cx="5921838" cy="576072"/>
              </a:xfrm>
              <a:prstGeom prst="rect">
                <a:avLst/>
              </a:prstGeom>
              <a:solidFill>
                <a:srgbClr val="0078D4">
                  <a:alpha val="14902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906228C0-DEFC-4D5E-ADEC-513A5440E469}"/>
                </a:ext>
              </a:extLst>
            </p:cNvPr>
            <p:cNvSpPr txBox="1"/>
            <p:nvPr/>
          </p:nvSpPr>
          <p:spPr>
            <a:xfrm>
              <a:off x="528015" y="1732347"/>
              <a:ext cx="5680834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600"/>
                <a:t>The burden of risk exposure was especially hard on females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BC44D8E6-2241-4A02-BA91-FECAB8B09E4F}"/>
              </a:ext>
            </a:extLst>
          </p:cNvPr>
          <p:cNvGrpSpPr/>
          <p:nvPr/>
        </p:nvGrpSpPr>
        <p:grpSpPr>
          <a:xfrm>
            <a:off x="237309" y="5456328"/>
            <a:ext cx="5860667" cy="579536"/>
            <a:chOff x="231583" y="1584823"/>
            <a:chExt cx="6228392" cy="579536"/>
          </a:xfrm>
        </p:grpSpPr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B7F454EE-44B8-4835-B9E7-29EF5C6B560E}"/>
                </a:ext>
              </a:extLst>
            </p:cNvPr>
            <p:cNvGrpSpPr/>
            <p:nvPr/>
          </p:nvGrpSpPr>
          <p:grpSpPr>
            <a:xfrm>
              <a:off x="231583" y="1584823"/>
              <a:ext cx="6228392" cy="579536"/>
              <a:chOff x="231583" y="1584823"/>
              <a:chExt cx="6228392" cy="579536"/>
            </a:xfrm>
          </p:grpSpPr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CC550A41-C2FC-4415-A25C-B76C5BAE9DE4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97263" y="1719143"/>
                <a:ext cx="579536" cy="310896"/>
              </a:xfrm>
              <a:custGeom>
                <a:avLst/>
                <a:gdLst>
                  <a:gd name="connsiteX0" fmla="*/ 2796 w 1141667"/>
                  <a:gd name="connsiteY0" fmla="*/ 0 h 612456"/>
                  <a:gd name="connsiteX1" fmla="*/ 1137538 w 1141667"/>
                  <a:gd name="connsiteY1" fmla="*/ 0 h 612456"/>
                  <a:gd name="connsiteX2" fmla="*/ 1141667 w 1141667"/>
                  <a:gd name="connsiteY2" fmla="*/ 40956 h 612456"/>
                  <a:gd name="connsiteX3" fmla="*/ 570167 w 1141667"/>
                  <a:gd name="connsiteY3" fmla="*/ 612456 h 612456"/>
                  <a:gd name="connsiteX4" fmla="*/ 10278 w 1141667"/>
                  <a:gd name="connsiteY4" fmla="*/ 156133 h 612456"/>
                  <a:gd name="connsiteX5" fmla="*/ 0 w 1141667"/>
                  <a:gd name="connsiteY5" fmla="*/ 54179 h 612456"/>
                  <a:gd name="connsiteX6" fmla="*/ 0 w 1141667"/>
                  <a:gd name="connsiteY6" fmla="*/ 27733 h 612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41667" h="612456">
                    <a:moveTo>
                      <a:pt x="2796" y="0"/>
                    </a:moveTo>
                    <a:lnTo>
                      <a:pt x="1137538" y="0"/>
                    </a:lnTo>
                    <a:lnTo>
                      <a:pt x="1141667" y="40956"/>
                    </a:lnTo>
                    <a:cubicBezTo>
                      <a:pt x="1141667" y="356587"/>
                      <a:pt x="885798" y="612456"/>
                      <a:pt x="570167" y="612456"/>
                    </a:cubicBezTo>
                    <a:cubicBezTo>
                      <a:pt x="293990" y="612456"/>
                      <a:pt x="63568" y="416556"/>
                      <a:pt x="10278" y="156133"/>
                    </a:cubicBezTo>
                    <a:lnTo>
                      <a:pt x="0" y="54179"/>
                    </a:lnTo>
                    <a:lnTo>
                      <a:pt x="0" y="27733"/>
                    </a:lnTo>
                    <a:close/>
                  </a:path>
                </a:pathLst>
              </a:custGeom>
              <a:solidFill>
                <a:srgbClr val="0078D4">
                  <a:alpha val="1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3DCF8648-0202-45C9-875A-57AF4A42408D}"/>
                  </a:ext>
                </a:extLst>
              </p:cNvPr>
              <p:cNvSpPr/>
              <p:nvPr/>
            </p:nvSpPr>
            <p:spPr bwMode="auto">
              <a:xfrm>
                <a:off x="538137" y="1588178"/>
                <a:ext cx="5921838" cy="576072"/>
              </a:xfrm>
              <a:prstGeom prst="rect">
                <a:avLst/>
              </a:prstGeom>
              <a:solidFill>
                <a:srgbClr val="0078D4">
                  <a:alpha val="14902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55477CE6-61AF-4E7B-B7C0-6D4BB40C9097}"/>
                </a:ext>
              </a:extLst>
            </p:cNvPr>
            <p:cNvSpPr txBox="1"/>
            <p:nvPr/>
          </p:nvSpPr>
          <p:spPr>
            <a:xfrm>
              <a:off x="528015" y="1732347"/>
              <a:ext cx="5740460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600"/>
                <a:t>Online meetings &amp; classes were catalysts for greater civility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6A00C7B-706F-40BD-842E-FC7B5080D4C2}"/>
              </a:ext>
            </a:extLst>
          </p:cNvPr>
          <p:cNvGrpSpPr/>
          <p:nvPr/>
        </p:nvGrpSpPr>
        <p:grpSpPr>
          <a:xfrm>
            <a:off x="210623" y="3519055"/>
            <a:ext cx="5870503" cy="579536"/>
            <a:chOff x="227367" y="2552700"/>
            <a:chExt cx="5870503" cy="579536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57651DBD-08C3-43E9-BEEE-B34931E605DB}"/>
                </a:ext>
              </a:extLst>
            </p:cNvPr>
            <p:cNvGrpSpPr/>
            <p:nvPr/>
          </p:nvGrpSpPr>
          <p:grpSpPr>
            <a:xfrm>
              <a:off x="227367" y="2552700"/>
              <a:ext cx="5870503" cy="579536"/>
              <a:chOff x="227367" y="2552700"/>
              <a:chExt cx="5870503" cy="579536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81CBADCA-5CBC-454B-AF87-7243BFBAD569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83870" y="2696197"/>
                <a:ext cx="579536" cy="292541"/>
              </a:xfrm>
              <a:custGeom>
                <a:avLst/>
                <a:gdLst>
                  <a:gd name="connsiteX0" fmla="*/ 2796 w 1141667"/>
                  <a:gd name="connsiteY0" fmla="*/ 0 h 612456"/>
                  <a:gd name="connsiteX1" fmla="*/ 1137538 w 1141667"/>
                  <a:gd name="connsiteY1" fmla="*/ 0 h 612456"/>
                  <a:gd name="connsiteX2" fmla="*/ 1141667 w 1141667"/>
                  <a:gd name="connsiteY2" fmla="*/ 40956 h 612456"/>
                  <a:gd name="connsiteX3" fmla="*/ 570167 w 1141667"/>
                  <a:gd name="connsiteY3" fmla="*/ 612456 h 612456"/>
                  <a:gd name="connsiteX4" fmla="*/ 10278 w 1141667"/>
                  <a:gd name="connsiteY4" fmla="*/ 156133 h 612456"/>
                  <a:gd name="connsiteX5" fmla="*/ 0 w 1141667"/>
                  <a:gd name="connsiteY5" fmla="*/ 54179 h 612456"/>
                  <a:gd name="connsiteX6" fmla="*/ 0 w 1141667"/>
                  <a:gd name="connsiteY6" fmla="*/ 27733 h 612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41667" h="612456">
                    <a:moveTo>
                      <a:pt x="2796" y="0"/>
                    </a:moveTo>
                    <a:lnTo>
                      <a:pt x="1137538" y="0"/>
                    </a:lnTo>
                    <a:lnTo>
                      <a:pt x="1141667" y="40956"/>
                    </a:lnTo>
                    <a:cubicBezTo>
                      <a:pt x="1141667" y="356587"/>
                      <a:pt x="885798" y="612456"/>
                      <a:pt x="570167" y="612456"/>
                    </a:cubicBezTo>
                    <a:cubicBezTo>
                      <a:pt x="293990" y="612456"/>
                      <a:pt x="63568" y="416556"/>
                      <a:pt x="10278" y="156133"/>
                    </a:cubicBezTo>
                    <a:lnTo>
                      <a:pt x="0" y="54179"/>
                    </a:lnTo>
                    <a:lnTo>
                      <a:pt x="0" y="27733"/>
                    </a:lnTo>
                    <a:close/>
                  </a:path>
                </a:pathLst>
              </a:custGeom>
              <a:solidFill>
                <a:srgbClr val="0078D4">
                  <a:alpha val="1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4A745ACB-D973-4EE5-8BD7-148D4D194CD1}"/>
                  </a:ext>
                </a:extLst>
              </p:cNvPr>
              <p:cNvSpPr/>
              <p:nvPr/>
            </p:nvSpPr>
            <p:spPr bwMode="auto">
              <a:xfrm>
                <a:off x="525658" y="2556054"/>
                <a:ext cx="5572212" cy="576072"/>
              </a:xfrm>
              <a:prstGeom prst="rect">
                <a:avLst/>
              </a:prstGeom>
              <a:solidFill>
                <a:srgbClr val="0078D4">
                  <a:alpha val="14902"/>
                </a:srgb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1AC522C5-88C1-44E4-834E-15105B628DAD}"/>
                </a:ext>
              </a:extLst>
            </p:cNvPr>
            <p:cNvSpPr txBox="1"/>
            <p:nvPr/>
          </p:nvSpPr>
          <p:spPr>
            <a:xfrm>
              <a:off x="516240" y="2700223"/>
              <a:ext cx="5098318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600">
                  <a:ea typeface="Calibri" panose="020F0502020204030204" pitchFamily="34" charset="0"/>
                  <a:cs typeface="Times New Roman" panose="02020603050405020304" pitchFamily="18" charset="0"/>
                </a:rPr>
                <a:t>E</a:t>
              </a:r>
              <a:r>
                <a:rPr lang="en-US" sz="1600">
                  <a:effectLst/>
                  <a:ea typeface="Calibri" panose="020F0502020204030204" pitchFamily="34" charset="0"/>
                  <a:cs typeface="Times New Roman" panose="02020603050405020304" pitchFamily="18" charset="0"/>
                </a:rPr>
                <a:t>ducation is critical to making the Internet a safer place</a:t>
              </a:r>
              <a:endParaRPr lang="en-US" sz="1600"/>
            </a:p>
          </p:txBody>
        </p:sp>
      </p:grpSp>
    </p:spTree>
    <p:extLst>
      <p:ext uri="{BB962C8B-B14F-4D97-AF65-F5344CB8AC3E}">
        <p14:creationId xmlns:p14="http://schemas.microsoft.com/office/powerpoint/2010/main" val="182349862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6784B13C-46BA-42BF-A8C8-BF6BE639053E}"/>
              </a:ext>
            </a:extLst>
          </p:cNvPr>
          <p:cNvGrpSpPr/>
          <p:nvPr/>
        </p:nvGrpSpPr>
        <p:grpSpPr>
          <a:xfrm>
            <a:off x="435863" y="1451616"/>
            <a:ext cx="5454443" cy="4352544"/>
            <a:chOff x="90608" y="2053795"/>
            <a:chExt cx="3862765" cy="3755735"/>
          </a:xfrm>
        </p:grpSpPr>
        <p:graphicFrame>
          <p:nvGraphicFramePr>
            <p:cNvPr id="6" name="Chart 5">
              <a:extLst>
                <a:ext uri="{FF2B5EF4-FFF2-40B4-BE49-F238E27FC236}">
                  <a16:creationId xmlns:a16="http://schemas.microsoft.com/office/drawing/2014/main" id="{4CD0F8EB-BC56-440D-8D84-5CD6262EEBE8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437652537"/>
                </p:ext>
              </p:extLst>
            </p:nvPr>
          </p:nvGraphicFramePr>
          <p:xfrm>
            <a:off x="90608" y="2700126"/>
            <a:ext cx="3801213" cy="31094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38128AC-F4C4-41C1-AE73-768A66000A61}"/>
                </a:ext>
              </a:extLst>
            </p:cNvPr>
            <p:cNvSpPr txBox="1"/>
            <p:nvPr/>
          </p:nvSpPr>
          <p:spPr>
            <a:xfrm>
              <a:off x="913280" y="2053795"/>
              <a:ext cx="3040093" cy="4249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>
                  <a:solidFill>
                    <a:srgbClr val="595959"/>
                  </a:solidFill>
                </a:rPr>
                <a:t>Frequency of encountering incivility</a:t>
              </a:r>
            </a:p>
            <a:p>
              <a:r>
                <a:rPr lang="en-US" sz="1000">
                  <a:solidFill>
                    <a:srgbClr val="595959"/>
                  </a:solidFill>
                </a:rPr>
                <a:t>Base: participated in online meetings, n=2256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C29F7D5-0E30-4E5E-B6C6-E8C38D92B5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553998"/>
          </a:xfrm>
        </p:spPr>
        <p:txBody>
          <a:bodyPr/>
          <a:lstStyle/>
          <a:p>
            <a:r>
              <a:rPr lang="en-US"/>
              <a:t>Online meetings &amp; classes were more civil compared to in-person settings</a:t>
            </a:r>
            <a:br>
              <a:rPr lang="en-US"/>
            </a:br>
            <a:r>
              <a:rPr lang="en-US" sz="1400"/>
              <a:t>Unsurprisingly, social media was the most frequent source of incivilit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34B82C-F7A4-4CC2-853C-6A984374DED9}"/>
              </a:ext>
            </a:extLst>
          </p:cNvPr>
          <p:cNvSpPr txBox="1"/>
          <p:nvPr/>
        </p:nvSpPr>
        <p:spPr>
          <a:xfrm>
            <a:off x="917563" y="6640115"/>
            <a:ext cx="702916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8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.PM3:  How often do you experience any incivility when you are interacting with people…?  [5 point scale with anchors 1=never, 3=occasionally, 5= often]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A07D124-6152-4350-945D-EFBEFCDEEF4A}"/>
              </a:ext>
            </a:extLst>
          </p:cNvPr>
          <p:cNvGrpSpPr/>
          <p:nvPr/>
        </p:nvGrpSpPr>
        <p:grpSpPr>
          <a:xfrm>
            <a:off x="6236588" y="1451616"/>
            <a:ext cx="5367528" cy="4352544"/>
            <a:chOff x="90608" y="2053795"/>
            <a:chExt cx="3801213" cy="3755735"/>
          </a:xfrm>
        </p:grpSpPr>
        <p:graphicFrame>
          <p:nvGraphicFramePr>
            <p:cNvPr id="16" name="Chart 15">
              <a:extLst>
                <a:ext uri="{FF2B5EF4-FFF2-40B4-BE49-F238E27FC236}">
                  <a16:creationId xmlns:a16="http://schemas.microsoft.com/office/drawing/2014/main" id="{C4189052-4D8C-4DF6-A276-4EE7D59AED3B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4100310015"/>
                </p:ext>
              </p:extLst>
            </p:nvPr>
          </p:nvGraphicFramePr>
          <p:xfrm>
            <a:off x="90608" y="2700126"/>
            <a:ext cx="3801213" cy="31094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1B41AEC-A37D-4C31-82E4-9DD40263790F}"/>
                </a:ext>
              </a:extLst>
            </p:cNvPr>
            <p:cNvSpPr txBox="1"/>
            <p:nvPr/>
          </p:nvSpPr>
          <p:spPr>
            <a:xfrm>
              <a:off x="655645" y="2053795"/>
              <a:ext cx="3040093" cy="4249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>
                  <a:solidFill>
                    <a:srgbClr val="595959"/>
                  </a:solidFill>
                </a:rPr>
                <a:t>Frequency of encountering incivility</a:t>
              </a:r>
            </a:p>
            <a:p>
              <a:r>
                <a:rPr lang="en-US" sz="1000">
                  <a:solidFill>
                    <a:srgbClr val="595959"/>
                  </a:solidFill>
                </a:rPr>
                <a:t>Base: participated in online meetings, n=2256</a:t>
              </a:r>
            </a:p>
          </p:txBody>
        </p: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3F60EB5-77FF-493B-8361-677414D4BC37}"/>
              </a:ext>
            </a:extLst>
          </p:cNvPr>
          <p:cNvCxnSpPr/>
          <p:nvPr/>
        </p:nvCxnSpPr>
        <p:spPr>
          <a:xfrm flipV="1">
            <a:off x="1819275" y="4324350"/>
            <a:ext cx="733425" cy="85725"/>
          </a:xfrm>
          <a:prstGeom prst="line">
            <a:avLst/>
          </a:prstGeom>
          <a:ln>
            <a:solidFill>
              <a:schemeClr val="tx1"/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C40CDB8-94D3-4B32-9470-6A8300C5DCA3}"/>
              </a:ext>
            </a:extLst>
          </p:cNvPr>
          <p:cNvCxnSpPr/>
          <p:nvPr/>
        </p:nvCxnSpPr>
        <p:spPr>
          <a:xfrm flipV="1">
            <a:off x="7648575" y="4002406"/>
            <a:ext cx="704850" cy="340994"/>
          </a:xfrm>
          <a:prstGeom prst="line">
            <a:avLst/>
          </a:prstGeom>
          <a:ln>
            <a:solidFill>
              <a:schemeClr val="tx1"/>
            </a:solidFill>
            <a:prstDash val="dash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BC75833-13E8-4FA4-B23C-564D570E5D4D}"/>
              </a:ext>
            </a:extLst>
          </p:cNvPr>
          <p:cNvGrpSpPr/>
          <p:nvPr/>
        </p:nvGrpSpPr>
        <p:grpSpPr>
          <a:xfrm>
            <a:off x="1714649" y="5744435"/>
            <a:ext cx="8824476" cy="153888"/>
            <a:chOff x="1714649" y="5715860"/>
            <a:chExt cx="8824476" cy="153888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2C7EE97-32AC-40A3-9F33-6D1AF284CF3F}"/>
                </a:ext>
              </a:extLst>
            </p:cNvPr>
            <p:cNvSpPr txBox="1"/>
            <p:nvPr/>
          </p:nvSpPr>
          <p:spPr>
            <a:xfrm>
              <a:off x="3488851" y="5715860"/>
              <a:ext cx="117339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0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Outside work setting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58C471A-5AB7-4426-82A8-87FF6395753E}"/>
                </a:ext>
              </a:extLst>
            </p:cNvPr>
            <p:cNvSpPr txBox="1"/>
            <p:nvPr/>
          </p:nvSpPr>
          <p:spPr>
            <a:xfrm>
              <a:off x="9275959" y="5715860"/>
              <a:ext cx="126316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0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Outside school setting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3F8BDD1-1765-4CC3-9D73-800A61B51267}"/>
                </a:ext>
              </a:extLst>
            </p:cNvPr>
            <p:cNvSpPr txBox="1"/>
            <p:nvPr/>
          </p:nvSpPr>
          <p:spPr>
            <a:xfrm>
              <a:off x="1714649" y="5715860"/>
              <a:ext cx="94096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0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n a work setting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0B0C081-C124-4380-B4F8-AC223CC96947}"/>
                </a:ext>
              </a:extLst>
            </p:cNvPr>
            <p:cNvSpPr txBox="1"/>
            <p:nvPr/>
          </p:nvSpPr>
          <p:spPr>
            <a:xfrm>
              <a:off x="7431788" y="5715860"/>
              <a:ext cx="123431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0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In a classroom setting</a:t>
              </a:r>
            </a:p>
          </p:txBody>
        </p:sp>
      </p:grpSp>
      <p:sp>
        <p:nvSpPr>
          <p:cNvPr id="21" name="speech_4" title="Icon of a chat bubble with a video camera inside">
            <a:extLst>
              <a:ext uri="{FF2B5EF4-FFF2-40B4-BE49-F238E27FC236}">
                <a16:creationId xmlns:a16="http://schemas.microsoft.com/office/drawing/2014/main" id="{FEF5D936-BF30-4C2D-BB85-4B7F1441807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34144" y="1377798"/>
            <a:ext cx="720509" cy="640080"/>
          </a:xfrm>
          <a:custGeom>
            <a:avLst/>
            <a:gdLst>
              <a:gd name="T0" fmla="*/ 122 w 215"/>
              <a:gd name="T1" fmla="*/ 145 h 191"/>
              <a:gd name="T2" fmla="*/ 77 w 215"/>
              <a:gd name="T3" fmla="*/ 145 h 191"/>
              <a:gd name="T4" fmla="*/ 31 w 215"/>
              <a:gd name="T5" fmla="*/ 191 h 191"/>
              <a:gd name="T6" fmla="*/ 31 w 215"/>
              <a:gd name="T7" fmla="*/ 145 h 191"/>
              <a:gd name="T8" fmla="*/ 0 w 215"/>
              <a:gd name="T9" fmla="*/ 145 h 191"/>
              <a:gd name="T10" fmla="*/ 0 w 215"/>
              <a:gd name="T11" fmla="*/ 0 h 191"/>
              <a:gd name="T12" fmla="*/ 215 w 215"/>
              <a:gd name="T13" fmla="*/ 0 h 191"/>
              <a:gd name="T14" fmla="*/ 215 w 215"/>
              <a:gd name="T15" fmla="*/ 120 h 191"/>
              <a:gd name="T16" fmla="*/ 120 w 215"/>
              <a:gd name="T17" fmla="*/ 145 h 191"/>
              <a:gd name="T18" fmla="*/ 120 w 215"/>
              <a:gd name="T19" fmla="*/ 145 h 191"/>
              <a:gd name="T20" fmla="*/ 122 w 215"/>
              <a:gd name="T21" fmla="*/ 145 h 191"/>
              <a:gd name="T22" fmla="*/ 215 w 215"/>
              <a:gd name="T23" fmla="*/ 145 h 191"/>
              <a:gd name="T24" fmla="*/ 215 w 215"/>
              <a:gd name="T25" fmla="*/ 120 h 191"/>
              <a:gd name="T26" fmla="*/ 131 w 215"/>
              <a:gd name="T27" fmla="*/ 60 h 191"/>
              <a:gd name="T28" fmla="*/ 131 w 215"/>
              <a:gd name="T29" fmla="*/ 40 h 191"/>
              <a:gd name="T30" fmla="*/ 54 w 215"/>
              <a:gd name="T31" fmla="*/ 40 h 191"/>
              <a:gd name="T32" fmla="*/ 54 w 215"/>
              <a:gd name="T33" fmla="*/ 102 h 191"/>
              <a:gd name="T34" fmla="*/ 131 w 215"/>
              <a:gd name="T35" fmla="*/ 102 h 191"/>
              <a:gd name="T36" fmla="*/ 131 w 215"/>
              <a:gd name="T37" fmla="*/ 60 h 191"/>
              <a:gd name="T38" fmla="*/ 131 w 215"/>
              <a:gd name="T39" fmla="*/ 84 h 191"/>
              <a:gd name="T40" fmla="*/ 161 w 215"/>
              <a:gd name="T41" fmla="*/ 100 h 191"/>
              <a:gd name="T42" fmla="*/ 161 w 215"/>
              <a:gd name="T43" fmla="*/ 45 h 191"/>
              <a:gd name="T44" fmla="*/ 131 w 215"/>
              <a:gd name="T45" fmla="*/ 6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15" h="191">
                <a:moveTo>
                  <a:pt x="122" y="145"/>
                </a:moveTo>
                <a:lnTo>
                  <a:pt x="77" y="145"/>
                </a:lnTo>
                <a:lnTo>
                  <a:pt x="31" y="191"/>
                </a:lnTo>
                <a:lnTo>
                  <a:pt x="31" y="145"/>
                </a:lnTo>
                <a:lnTo>
                  <a:pt x="0" y="145"/>
                </a:lnTo>
                <a:lnTo>
                  <a:pt x="0" y="0"/>
                </a:lnTo>
                <a:lnTo>
                  <a:pt x="215" y="0"/>
                </a:lnTo>
                <a:lnTo>
                  <a:pt x="215" y="120"/>
                </a:lnTo>
                <a:moveTo>
                  <a:pt x="120" y="145"/>
                </a:moveTo>
                <a:lnTo>
                  <a:pt x="120" y="145"/>
                </a:lnTo>
                <a:moveTo>
                  <a:pt x="122" y="145"/>
                </a:moveTo>
                <a:lnTo>
                  <a:pt x="215" y="145"/>
                </a:lnTo>
                <a:lnTo>
                  <a:pt x="215" y="120"/>
                </a:lnTo>
                <a:moveTo>
                  <a:pt x="131" y="60"/>
                </a:moveTo>
                <a:lnTo>
                  <a:pt x="131" y="40"/>
                </a:lnTo>
                <a:lnTo>
                  <a:pt x="54" y="40"/>
                </a:lnTo>
                <a:lnTo>
                  <a:pt x="54" y="102"/>
                </a:lnTo>
                <a:lnTo>
                  <a:pt x="131" y="102"/>
                </a:lnTo>
                <a:lnTo>
                  <a:pt x="131" y="60"/>
                </a:lnTo>
                <a:moveTo>
                  <a:pt x="131" y="84"/>
                </a:moveTo>
                <a:lnTo>
                  <a:pt x="161" y="100"/>
                </a:lnTo>
                <a:lnTo>
                  <a:pt x="161" y="45"/>
                </a:lnTo>
                <a:lnTo>
                  <a:pt x="131" y="60"/>
                </a:lnTo>
              </a:path>
            </a:pathLst>
          </a:custGeom>
          <a:noFill/>
          <a:ln w="15875" cap="sq">
            <a:solidFill>
              <a:srgbClr val="59595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</a:endParaRPr>
          </a:p>
        </p:txBody>
      </p:sp>
      <p:sp>
        <p:nvSpPr>
          <p:cNvPr id="24" name="graduate" title="Icon of a graduation cap">
            <a:extLst>
              <a:ext uri="{FF2B5EF4-FFF2-40B4-BE49-F238E27FC236}">
                <a16:creationId xmlns:a16="http://schemas.microsoft.com/office/drawing/2014/main" id="{894F8366-6C28-4E0F-913C-A65CE1AD5F3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236588" y="1377798"/>
            <a:ext cx="746181" cy="640080"/>
          </a:xfrm>
          <a:custGeom>
            <a:avLst/>
            <a:gdLst>
              <a:gd name="T0" fmla="*/ 103 w 312"/>
              <a:gd name="T1" fmla="*/ 32 h 268"/>
              <a:gd name="T2" fmla="*/ 165 w 312"/>
              <a:gd name="T3" fmla="*/ 0 h 268"/>
              <a:gd name="T4" fmla="*/ 312 w 312"/>
              <a:gd name="T5" fmla="*/ 74 h 268"/>
              <a:gd name="T6" fmla="*/ 165 w 312"/>
              <a:gd name="T7" fmla="*/ 147 h 268"/>
              <a:gd name="T8" fmla="*/ 21 w 312"/>
              <a:gd name="T9" fmla="*/ 74 h 268"/>
              <a:gd name="T10" fmla="*/ 103 w 312"/>
              <a:gd name="T11" fmla="*/ 32 h 268"/>
              <a:gd name="T12" fmla="*/ 87 w 312"/>
              <a:gd name="T13" fmla="*/ 108 h 268"/>
              <a:gd name="T14" fmla="*/ 69 w 312"/>
              <a:gd name="T15" fmla="*/ 174 h 268"/>
              <a:gd name="T16" fmla="*/ 165 w 312"/>
              <a:gd name="T17" fmla="*/ 224 h 268"/>
              <a:gd name="T18" fmla="*/ 260 w 312"/>
              <a:gd name="T19" fmla="*/ 174 h 268"/>
              <a:gd name="T20" fmla="*/ 243 w 312"/>
              <a:gd name="T21" fmla="*/ 108 h 268"/>
              <a:gd name="T22" fmla="*/ 53 w 312"/>
              <a:gd name="T23" fmla="*/ 268 h 268"/>
              <a:gd name="T24" fmla="*/ 53 w 312"/>
              <a:gd name="T25" fmla="*/ 226 h 268"/>
              <a:gd name="T26" fmla="*/ 26 w 312"/>
              <a:gd name="T27" fmla="*/ 200 h 268"/>
              <a:gd name="T28" fmla="*/ 26 w 312"/>
              <a:gd name="T29" fmla="*/ 200 h 268"/>
              <a:gd name="T30" fmla="*/ 0 w 312"/>
              <a:gd name="T31" fmla="*/ 226 h 268"/>
              <a:gd name="T32" fmla="*/ 0 w 312"/>
              <a:gd name="T33" fmla="*/ 268 h 268"/>
              <a:gd name="T34" fmla="*/ 53 w 312"/>
              <a:gd name="T35" fmla="*/ 268 h 268"/>
              <a:gd name="T36" fmla="*/ 26 w 312"/>
              <a:gd name="T37" fmla="*/ 77 h 268"/>
              <a:gd name="T38" fmla="*/ 26 w 312"/>
              <a:gd name="T39" fmla="*/ 200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12" h="268">
                <a:moveTo>
                  <a:pt x="103" y="32"/>
                </a:moveTo>
                <a:cubicBezTo>
                  <a:pt x="165" y="0"/>
                  <a:pt x="165" y="0"/>
                  <a:pt x="165" y="0"/>
                </a:cubicBezTo>
                <a:cubicBezTo>
                  <a:pt x="312" y="74"/>
                  <a:pt x="312" y="74"/>
                  <a:pt x="312" y="74"/>
                </a:cubicBezTo>
                <a:cubicBezTo>
                  <a:pt x="165" y="147"/>
                  <a:pt x="165" y="147"/>
                  <a:pt x="165" y="147"/>
                </a:cubicBezTo>
                <a:cubicBezTo>
                  <a:pt x="21" y="74"/>
                  <a:pt x="21" y="74"/>
                  <a:pt x="21" y="74"/>
                </a:cubicBezTo>
                <a:lnTo>
                  <a:pt x="103" y="32"/>
                </a:lnTo>
                <a:close/>
                <a:moveTo>
                  <a:pt x="87" y="108"/>
                </a:moveTo>
                <a:cubicBezTo>
                  <a:pt x="69" y="130"/>
                  <a:pt x="69" y="174"/>
                  <a:pt x="69" y="174"/>
                </a:cubicBezTo>
                <a:cubicBezTo>
                  <a:pt x="165" y="224"/>
                  <a:pt x="165" y="224"/>
                  <a:pt x="165" y="224"/>
                </a:cubicBezTo>
                <a:cubicBezTo>
                  <a:pt x="260" y="174"/>
                  <a:pt x="260" y="174"/>
                  <a:pt x="260" y="174"/>
                </a:cubicBezTo>
                <a:cubicBezTo>
                  <a:pt x="260" y="174"/>
                  <a:pt x="260" y="131"/>
                  <a:pt x="243" y="108"/>
                </a:cubicBezTo>
                <a:moveTo>
                  <a:pt x="53" y="268"/>
                </a:moveTo>
                <a:cubicBezTo>
                  <a:pt x="53" y="226"/>
                  <a:pt x="53" y="226"/>
                  <a:pt x="53" y="226"/>
                </a:cubicBezTo>
                <a:cubicBezTo>
                  <a:pt x="53" y="212"/>
                  <a:pt x="41" y="200"/>
                  <a:pt x="26" y="200"/>
                </a:cubicBezTo>
                <a:cubicBezTo>
                  <a:pt x="26" y="200"/>
                  <a:pt x="26" y="200"/>
                  <a:pt x="26" y="200"/>
                </a:cubicBezTo>
                <a:cubicBezTo>
                  <a:pt x="12" y="200"/>
                  <a:pt x="0" y="212"/>
                  <a:pt x="0" y="226"/>
                </a:cubicBezTo>
                <a:cubicBezTo>
                  <a:pt x="0" y="268"/>
                  <a:pt x="0" y="268"/>
                  <a:pt x="0" y="268"/>
                </a:cubicBezTo>
                <a:lnTo>
                  <a:pt x="53" y="268"/>
                </a:lnTo>
                <a:close/>
                <a:moveTo>
                  <a:pt x="26" y="77"/>
                </a:moveTo>
                <a:cubicBezTo>
                  <a:pt x="26" y="200"/>
                  <a:pt x="26" y="200"/>
                  <a:pt x="26" y="200"/>
                </a:cubicBezTo>
              </a:path>
            </a:pathLst>
          </a:custGeom>
          <a:noFill/>
          <a:ln w="22225" cap="sq">
            <a:solidFill>
              <a:srgbClr val="59595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339458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72F1FD-C4A2-4FB8-BDA3-815DDA64EA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606664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1DAE04-7EBC-40B6-9440-62B1E71FE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wareness of Digital Civility Challenge was unchanged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7643845F-C45F-4A6B-8247-9CC90071EC9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12416874"/>
              </p:ext>
            </p:extLst>
          </p:nvPr>
        </p:nvGraphicFramePr>
        <p:xfrm>
          <a:off x="585788" y="145097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900C805-5FB7-429D-BD2C-9277DBC155F6}"/>
              </a:ext>
            </a:extLst>
          </p:cNvPr>
          <p:cNvSpPr txBox="1"/>
          <p:nvPr/>
        </p:nvSpPr>
        <p:spPr>
          <a:xfrm>
            <a:off x="660822" y="6505616"/>
            <a:ext cx="3743654" cy="4062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 Q.12D:  How familiar are you with the Microsoft Digital Civility Challenge?</a:t>
            </a:r>
          </a:p>
        </p:txBody>
      </p:sp>
    </p:spTree>
    <p:extLst>
      <p:ext uri="{BB962C8B-B14F-4D97-AF65-F5344CB8AC3E}">
        <p14:creationId xmlns:p14="http://schemas.microsoft.com/office/powerpoint/2010/main" val="334836383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E91EC4-E178-4138-9AA8-93EB51685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2021 DCI by country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475526EC-A7F0-441E-A8D8-6BE2CE11944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54434032"/>
              </p:ext>
            </p:extLst>
          </p:nvPr>
        </p:nvGraphicFramePr>
        <p:xfrm>
          <a:off x="585788" y="145097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9DEA209A-DD36-4F80-B1E2-B3CC4B07CA57}"/>
              </a:ext>
            </a:extLst>
          </p:cNvPr>
          <p:cNvSpPr txBox="1"/>
          <p:nvPr/>
        </p:nvSpPr>
        <p:spPr>
          <a:xfrm>
            <a:off x="660822" y="6505616"/>
            <a:ext cx="4221348" cy="4062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Q2: Which of these has ever happened to you or to a friend/family member ONLINE?</a:t>
            </a:r>
          </a:p>
        </p:txBody>
      </p:sp>
    </p:spTree>
    <p:extLst>
      <p:ext uri="{BB962C8B-B14F-4D97-AF65-F5344CB8AC3E}">
        <p14:creationId xmlns:p14="http://schemas.microsoft.com/office/powerpoint/2010/main" val="548794887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37841738-464B-4B5A-BC83-2576C67B3AA6}"/>
              </a:ext>
            </a:extLst>
          </p:cNvPr>
          <p:cNvGrpSpPr>
            <a:grpSpLocks noChangeAspect="1"/>
          </p:cNvGrpSpPr>
          <p:nvPr/>
        </p:nvGrpSpPr>
        <p:grpSpPr>
          <a:xfrm>
            <a:off x="2474261" y="2850778"/>
            <a:ext cx="8027375" cy="3657599"/>
            <a:chOff x="677862" y="1225541"/>
            <a:chExt cx="7500928" cy="4130642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7033CF33-DBBC-4BD2-9896-39EBD420C5CC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677862" y="1495414"/>
              <a:ext cx="784224" cy="446085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46B688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009DEF55-4999-4BCF-B63F-253E809DD78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138237" y="2111359"/>
              <a:ext cx="1381123" cy="769932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46B688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E762FB2E-22EC-40D8-9ADD-A0497F4FA919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971673" y="3662334"/>
              <a:ext cx="339725" cy="590545"/>
            </a:xfrm>
            <a:custGeom>
              <a:avLst/>
              <a:gdLst>
                <a:gd name="T0" fmla="*/ 252627 w 784"/>
                <a:gd name="T1" fmla="*/ 145020 h 1128"/>
                <a:gd name="T2" fmla="*/ 237894 w 784"/>
                <a:gd name="T3" fmla="*/ 154443 h 1128"/>
                <a:gd name="T4" fmla="*/ 209728 w 784"/>
                <a:gd name="T5" fmla="*/ 202609 h 1128"/>
                <a:gd name="T6" fmla="*/ 201495 w 784"/>
                <a:gd name="T7" fmla="*/ 239257 h 1128"/>
                <a:gd name="T8" fmla="*/ 208428 w 784"/>
                <a:gd name="T9" fmla="*/ 273286 h 1128"/>
                <a:gd name="T10" fmla="*/ 229661 w 784"/>
                <a:gd name="T11" fmla="*/ 309411 h 1128"/>
                <a:gd name="T12" fmla="*/ 250894 w 784"/>
                <a:gd name="T13" fmla="*/ 322499 h 1128"/>
                <a:gd name="T14" fmla="*/ 270827 w 784"/>
                <a:gd name="T15" fmla="*/ 314122 h 1128"/>
                <a:gd name="T16" fmla="*/ 283393 w 784"/>
                <a:gd name="T17" fmla="*/ 341870 h 1128"/>
                <a:gd name="T18" fmla="*/ 291193 w 784"/>
                <a:gd name="T19" fmla="*/ 357576 h 1128"/>
                <a:gd name="T20" fmla="*/ 309392 w 784"/>
                <a:gd name="T21" fmla="*/ 359670 h 1128"/>
                <a:gd name="T22" fmla="*/ 324559 w 784"/>
                <a:gd name="T23" fmla="*/ 372759 h 1128"/>
                <a:gd name="T24" fmla="*/ 333658 w 784"/>
                <a:gd name="T25" fmla="*/ 395794 h 1128"/>
                <a:gd name="T26" fmla="*/ 329759 w 784"/>
                <a:gd name="T27" fmla="*/ 413594 h 1128"/>
                <a:gd name="T28" fmla="*/ 329325 w 784"/>
                <a:gd name="T29" fmla="*/ 431918 h 1128"/>
                <a:gd name="T30" fmla="*/ 334525 w 784"/>
                <a:gd name="T31" fmla="*/ 461760 h 1128"/>
                <a:gd name="T32" fmla="*/ 328459 w 784"/>
                <a:gd name="T33" fmla="*/ 487937 h 1128"/>
                <a:gd name="T34" fmla="*/ 333658 w 784"/>
                <a:gd name="T35" fmla="*/ 520396 h 1128"/>
                <a:gd name="T36" fmla="*/ 330625 w 784"/>
                <a:gd name="T37" fmla="*/ 551808 h 1128"/>
                <a:gd name="T38" fmla="*/ 299426 w 784"/>
                <a:gd name="T39" fmla="*/ 587409 h 1128"/>
                <a:gd name="T40" fmla="*/ 280793 w 784"/>
                <a:gd name="T41" fmla="*/ 577462 h 1128"/>
                <a:gd name="T42" fmla="*/ 260860 w 784"/>
                <a:gd name="T43" fmla="*/ 552855 h 1128"/>
                <a:gd name="T44" fmla="*/ 200628 w 784"/>
                <a:gd name="T45" fmla="*/ 522490 h 1128"/>
                <a:gd name="T46" fmla="*/ 184162 w 784"/>
                <a:gd name="T47" fmla="*/ 506261 h 1128"/>
                <a:gd name="T48" fmla="*/ 143430 w 784"/>
                <a:gd name="T49" fmla="*/ 468042 h 1128"/>
                <a:gd name="T50" fmla="*/ 137797 w 784"/>
                <a:gd name="T51" fmla="*/ 453907 h 1128"/>
                <a:gd name="T52" fmla="*/ 142130 w 784"/>
                <a:gd name="T53" fmla="*/ 426683 h 1128"/>
                <a:gd name="T54" fmla="*/ 125664 w 784"/>
                <a:gd name="T55" fmla="*/ 407312 h 1128"/>
                <a:gd name="T56" fmla="*/ 112231 w 784"/>
                <a:gd name="T57" fmla="*/ 390035 h 1128"/>
                <a:gd name="T58" fmla="*/ 105297 w 784"/>
                <a:gd name="T59" fmla="*/ 360717 h 1128"/>
                <a:gd name="T60" fmla="*/ 66298 w 784"/>
                <a:gd name="T61" fmla="*/ 277475 h 1128"/>
                <a:gd name="T62" fmla="*/ 51999 w 784"/>
                <a:gd name="T63" fmla="*/ 254963 h 1128"/>
                <a:gd name="T64" fmla="*/ 38999 w 784"/>
                <a:gd name="T65" fmla="*/ 226168 h 1128"/>
                <a:gd name="T66" fmla="*/ 9533 w 784"/>
                <a:gd name="T67" fmla="*/ 207844 h 1128"/>
                <a:gd name="T68" fmla="*/ 0 w 784"/>
                <a:gd name="T69" fmla="*/ 190044 h 1128"/>
                <a:gd name="T70" fmla="*/ 5633 w 784"/>
                <a:gd name="T71" fmla="*/ 144496 h 1128"/>
                <a:gd name="T72" fmla="*/ 12133 w 784"/>
                <a:gd name="T73" fmla="*/ 128790 h 1128"/>
                <a:gd name="T74" fmla="*/ 31199 w 784"/>
                <a:gd name="T75" fmla="*/ 116225 h 1128"/>
                <a:gd name="T76" fmla="*/ 41166 w 784"/>
                <a:gd name="T77" fmla="*/ 142402 h 1128"/>
                <a:gd name="T78" fmla="*/ 68465 w 784"/>
                <a:gd name="T79" fmla="*/ 160726 h 1128"/>
                <a:gd name="T80" fmla="*/ 79731 w 784"/>
                <a:gd name="T81" fmla="*/ 141879 h 1128"/>
                <a:gd name="T82" fmla="*/ 87098 w 784"/>
                <a:gd name="T83" fmla="*/ 117796 h 1128"/>
                <a:gd name="T84" fmla="*/ 116997 w 784"/>
                <a:gd name="T85" fmla="*/ 89001 h 1128"/>
                <a:gd name="T86" fmla="*/ 149063 w 784"/>
                <a:gd name="T87" fmla="*/ 62824 h 1128"/>
                <a:gd name="T88" fmla="*/ 154696 w 784"/>
                <a:gd name="T89" fmla="*/ 36648 h 1128"/>
                <a:gd name="T90" fmla="*/ 150363 w 784"/>
                <a:gd name="T91" fmla="*/ 2618 h 1128"/>
                <a:gd name="T92" fmla="*/ 182862 w 784"/>
                <a:gd name="T93" fmla="*/ 27747 h 1128"/>
                <a:gd name="T94" fmla="*/ 202362 w 784"/>
                <a:gd name="T95" fmla="*/ 56018 h 1128"/>
                <a:gd name="T96" fmla="*/ 219261 w 784"/>
                <a:gd name="T97" fmla="*/ 80625 h 1128"/>
                <a:gd name="T98" fmla="*/ 243094 w 784"/>
                <a:gd name="T99" fmla="*/ 82195 h 1128"/>
                <a:gd name="T100" fmla="*/ 267360 w 784"/>
                <a:gd name="T101" fmla="*/ 78007 h 1128"/>
                <a:gd name="T102" fmla="*/ 277327 w 784"/>
                <a:gd name="T103" fmla="*/ 81672 h 1128"/>
                <a:gd name="T104" fmla="*/ 283393 w 784"/>
                <a:gd name="T105" fmla="*/ 101043 h 1128"/>
                <a:gd name="T106" fmla="*/ 271693 w 784"/>
                <a:gd name="T107" fmla="*/ 109943 h 1128"/>
                <a:gd name="T108" fmla="*/ 271693 w 784"/>
                <a:gd name="T109" fmla="*/ 125649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D73B0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DA7FD303-F8FE-4F98-93BC-837C8AE10690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271711" y="4225892"/>
              <a:ext cx="261937" cy="1130291"/>
            </a:xfrm>
            <a:custGeom>
              <a:avLst/>
              <a:gdLst>
                <a:gd name="T0" fmla="*/ 183093 w 598"/>
                <a:gd name="T1" fmla="*/ 1058543 h 2158"/>
                <a:gd name="T2" fmla="*/ 149803 w 598"/>
                <a:gd name="T3" fmla="*/ 1023974 h 2158"/>
                <a:gd name="T4" fmla="*/ 148489 w 598"/>
                <a:gd name="T5" fmla="*/ 991500 h 2158"/>
                <a:gd name="T6" fmla="*/ 151118 w 598"/>
                <a:gd name="T7" fmla="*/ 965312 h 2158"/>
                <a:gd name="T8" fmla="*/ 158564 w 598"/>
                <a:gd name="T9" fmla="*/ 938076 h 2158"/>
                <a:gd name="T10" fmla="*/ 155060 w 598"/>
                <a:gd name="T11" fmla="*/ 911363 h 2158"/>
                <a:gd name="T12" fmla="*/ 145423 w 598"/>
                <a:gd name="T13" fmla="*/ 881508 h 2158"/>
                <a:gd name="T14" fmla="*/ 132721 w 598"/>
                <a:gd name="T15" fmla="*/ 828084 h 2158"/>
                <a:gd name="T16" fmla="*/ 98993 w 598"/>
                <a:gd name="T17" fmla="*/ 764707 h 2158"/>
                <a:gd name="T18" fmla="*/ 90232 w 598"/>
                <a:gd name="T19" fmla="*/ 723329 h 2158"/>
                <a:gd name="T20" fmla="*/ 95051 w 598"/>
                <a:gd name="T21" fmla="*/ 680380 h 2158"/>
                <a:gd name="T22" fmla="*/ 91109 w 598"/>
                <a:gd name="T23" fmla="*/ 646858 h 2158"/>
                <a:gd name="T24" fmla="*/ 81034 w 598"/>
                <a:gd name="T25" fmla="*/ 610194 h 2158"/>
                <a:gd name="T26" fmla="*/ 92423 w 598"/>
                <a:gd name="T27" fmla="*/ 588196 h 2158"/>
                <a:gd name="T28" fmla="*/ 85414 w 598"/>
                <a:gd name="T29" fmla="*/ 566721 h 2158"/>
                <a:gd name="T30" fmla="*/ 92423 w 598"/>
                <a:gd name="T31" fmla="*/ 536866 h 2158"/>
                <a:gd name="T32" fmla="*/ 91985 w 598"/>
                <a:gd name="T33" fmla="*/ 520106 h 2158"/>
                <a:gd name="T34" fmla="*/ 81910 w 598"/>
                <a:gd name="T35" fmla="*/ 485537 h 2158"/>
                <a:gd name="T36" fmla="*/ 59571 w 598"/>
                <a:gd name="T37" fmla="*/ 446254 h 2158"/>
                <a:gd name="T38" fmla="*/ 58695 w 598"/>
                <a:gd name="T39" fmla="*/ 359308 h 2158"/>
                <a:gd name="T40" fmla="*/ 80158 w 598"/>
                <a:gd name="T41" fmla="*/ 305883 h 2158"/>
                <a:gd name="T42" fmla="*/ 82786 w 598"/>
                <a:gd name="T43" fmla="*/ 273409 h 2158"/>
                <a:gd name="T44" fmla="*/ 70083 w 598"/>
                <a:gd name="T45" fmla="*/ 240411 h 2158"/>
                <a:gd name="T46" fmla="*/ 79720 w 598"/>
                <a:gd name="T47" fmla="*/ 212651 h 2158"/>
                <a:gd name="T48" fmla="*/ 100307 w 598"/>
                <a:gd name="T49" fmla="*/ 181225 h 2158"/>
                <a:gd name="T50" fmla="*/ 87604 w 598"/>
                <a:gd name="T51" fmla="*/ 161322 h 2158"/>
                <a:gd name="T52" fmla="*/ 64827 w 598"/>
                <a:gd name="T53" fmla="*/ 116277 h 2158"/>
                <a:gd name="T54" fmla="*/ 56505 w 598"/>
                <a:gd name="T55" fmla="*/ 65472 h 2158"/>
                <a:gd name="T56" fmla="*/ 39860 w 598"/>
                <a:gd name="T57" fmla="*/ 19380 h 2158"/>
                <a:gd name="T58" fmla="*/ 0 w 598"/>
                <a:gd name="T59" fmla="*/ 23046 h 2158"/>
                <a:gd name="T60" fmla="*/ 13579 w 598"/>
                <a:gd name="T61" fmla="*/ 104754 h 2158"/>
                <a:gd name="T62" fmla="*/ 18397 w 598"/>
                <a:gd name="T63" fmla="*/ 159227 h 2158"/>
                <a:gd name="T64" fmla="*/ 11827 w 598"/>
                <a:gd name="T65" fmla="*/ 195891 h 2158"/>
                <a:gd name="T66" fmla="*/ 22777 w 598"/>
                <a:gd name="T67" fmla="*/ 274457 h 2158"/>
                <a:gd name="T68" fmla="*/ 20149 w 598"/>
                <a:gd name="T69" fmla="*/ 339928 h 2158"/>
                <a:gd name="T70" fmla="*/ 15769 w 598"/>
                <a:gd name="T71" fmla="*/ 376068 h 2158"/>
                <a:gd name="T72" fmla="*/ 22777 w 598"/>
                <a:gd name="T73" fmla="*/ 401733 h 2158"/>
                <a:gd name="T74" fmla="*/ 28033 w 598"/>
                <a:gd name="T75" fmla="*/ 456205 h 2158"/>
                <a:gd name="T76" fmla="*/ 35480 w 598"/>
                <a:gd name="T77" fmla="*/ 478204 h 2158"/>
                <a:gd name="T78" fmla="*/ 31976 w 598"/>
                <a:gd name="T79" fmla="*/ 547342 h 2158"/>
                <a:gd name="T80" fmla="*/ 27595 w 598"/>
                <a:gd name="T81" fmla="*/ 603385 h 2158"/>
                <a:gd name="T82" fmla="*/ 17521 w 598"/>
                <a:gd name="T83" fmla="*/ 622241 h 2158"/>
                <a:gd name="T84" fmla="*/ 26281 w 598"/>
                <a:gd name="T85" fmla="*/ 658905 h 2158"/>
                <a:gd name="T86" fmla="*/ 46430 w 598"/>
                <a:gd name="T87" fmla="*/ 703426 h 2158"/>
                <a:gd name="T88" fmla="*/ 40736 w 598"/>
                <a:gd name="T89" fmla="*/ 731186 h 2158"/>
                <a:gd name="T90" fmla="*/ 46430 w 598"/>
                <a:gd name="T91" fmla="*/ 758946 h 2158"/>
                <a:gd name="T92" fmla="*/ 71836 w 598"/>
                <a:gd name="T93" fmla="*/ 768374 h 2158"/>
                <a:gd name="T94" fmla="*/ 91547 w 598"/>
                <a:gd name="T95" fmla="*/ 849034 h 2158"/>
                <a:gd name="T96" fmla="*/ 99431 w 598"/>
                <a:gd name="T97" fmla="*/ 895126 h 2158"/>
                <a:gd name="T98" fmla="*/ 66141 w 598"/>
                <a:gd name="T99" fmla="*/ 916077 h 2158"/>
                <a:gd name="T100" fmla="*/ 90671 w 598"/>
                <a:gd name="T101" fmla="*/ 930219 h 2158"/>
                <a:gd name="T102" fmla="*/ 109505 w 598"/>
                <a:gd name="T103" fmla="*/ 953265 h 2158"/>
                <a:gd name="T104" fmla="*/ 120456 w 598"/>
                <a:gd name="T105" fmla="*/ 979977 h 2158"/>
                <a:gd name="T106" fmla="*/ 134911 w 598"/>
                <a:gd name="T107" fmla="*/ 1027117 h 2158"/>
                <a:gd name="T108" fmla="*/ 157250 w 598"/>
                <a:gd name="T109" fmla="*/ 1054353 h 2158"/>
                <a:gd name="T110" fmla="*/ 172143 w 598"/>
                <a:gd name="T111" fmla="*/ 1072685 h 2158"/>
                <a:gd name="T112" fmla="*/ 185721 w 598"/>
                <a:gd name="T113" fmla="*/ 1086303 h 2158"/>
                <a:gd name="T114" fmla="*/ 203680 w 598"/>
                <a:gd name="T115" fmla="*/ 1105159 h 2158"/>
                <a:gd name="T116" fmla="*/ 227333 w 598"/>
                <a:gd name="T117" fmla="*/ 1120872 h 2158"/>
                <a:gd name="T118" fmla="*/ 235656 w 598"/>
                <a:gd name="T119" fmla="*/ 1126634 h 2158"/>
                <a:gd name="T120" fmla="*/ 256681 w 598"/>
                <a:gd name="T121" fmla="*/ 1098874 h 2158"/>
                <a:gd name="T122" fmla="*/ 258871 w 598"/>
                <a:gd name="T123" fmla="*/ 1084732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46B688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242E2B34-203F-4212-9C96-5732795E86F7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176461" y="3508348"/>
              <a:ext cx="966786" cy="1203315"/>
            </a:xfrm>
            <a:custGeom>
              <a:avLst/>
              <a:gdLst>
                <a:gd name="T0" fmla="*/ 191099 w 2226"/>
                <a:gd name="T1" fmla="*/ 470410 h 2292"/>
                <a:gd name="T2" fmla="*/ 219329 w 2226"/>
                <a:gd name="T3" fmla="*/ 517136 h 2292"/>
                <a:gd name="T4" fmla="*/ 248429 w 2226"/>
                <a:gd name="T5" fmla="*/ 553361 h 2292"/>
                <a:gd name="T6" fmla="*/ 310970 w 2226"/>
                <a:gd name="T7" fmla="*/ 576462 h 2292"/>
                <a:gd name="T8" fmla="*/ 346584 w 2226"/>
                <a:gd name="T9" fmla="*/ 632113 h 2292"/>
                <a:gd name="T10" fmla="*/ 367431 w 2226"/>
                <a:gd name="T11" fmla="*/ 678314 h 2292"/>
                <a:gd name="T12" fmla="*/ 407823 w 2226"/>
                <a:gd name="T13" fmla="*/ 711390 h 2292"/>
                <a:gd name="T14" fmla="*/ 415640 w 2226"/>
                <a:gd name="T15" fmla="*/ 769666 h 2292"/>
                <a:gd name="T16" fmla="*/ 423892 w 2226"/>
                <a:gd name="T17" fmla="*/ 809042 h 2292"/>
                <a:gd name="T18" fmla="*/ 430841 w 2226"/>
                <a:gd name="T19" fmla="*/ 856818 h 2292"/>
                <a:gd name="T20" fmla="*/ 491211 w 2226"/>
                <a:gd name="T21" fmla="*/ 891469 h 2292"/>
                <a:gd name="T22" fmla="*/ 518139 w 2226"/>
                <a:gd name="T23" fmla="*/ 947645 h 2292"/>
                <a:gd name="T24" fmla="*/ 539855 w 2226"/>
                <a:gd name="T25" fmla="*/ 978620 h 2292"/>
                <a:gd name="T26" fmla="*/ 513796 w 2226"/>
                <a:gd name="T27" fmla="*/ 1051597 h 2292"/>
                <a:gd name="T28" fmla="*/ 470798 w 2226"/>
                <a:gd name="T29" fmla="*/ 1117223 h 2292"/>
                <a:gd name="T30" fmla="*/ 512493 w 2226"/>
                <a:gd name="T31" fmla="*/ 1134549 h 2292"/>
                <a:gd name="T32" fmla="*/ 562873 w 2226"/>
                <a:gd name="T33" fmla="*/ 1172874 h 2292"/>
                <a:gd name="T34" fmla="*/ 616294 w 2226"/>
                <a:gd name="T35" fmla="*/ 1153974 h 2292"/>
                <a:gd name="T36" fmla="*/ 659291 w 2226"/>
                <a:gd name="T37" fmla="*/ 1068922 h 2292"/>
                <a:gd name="T38" fmla="*/ 656686 w 2226"/>
                <a:gd name="T39" fmla="*/ 1006971 h 2292"/>
                <a:gd name="T40" fmla="*/ 677967 w 2226"/>
                <a:gd name="T41" fmla="*/ 941345 h 2292"/>
                <a:gd name="T42" fmla="*/ 740943 w 2226"/>
                <a:gd name="T43" fmla="*/ 906694 h 2292"/>
                <a:gd name="T44" fmla="*/ 780900 w 2226"/>
                <a:gd name="T45" fmla="*/ 882543 h 2292"/>
                <a:gd name="T46" fmla="*/ 823897 w 2226"/>
                <a:gd name="T47" fmla="*/ 861543 h 2292"/>
                <a:gd name="T48" fmla="*/ 860814 w 2226"/>
                <a:gd name="T49" fmla="*/ 735015 h 2292"/>
                <a:gd name="T50" fmla="*/ 874712 w 2226"/>
                <a:gd name="T51" fmla="*/ 676214 h 2292"/>
                <a:gd name="T52" fmla="*/ 869500 w 2226"/>
                <a:gd name="T53" fmla="*/ 572262 h 2292"/>
                <a:gd name="T54" fmla="*/ 900337 w 2226"/>
                <a:gd name="T55" fmla="*/ 529736 h 2292"/>
                <a:gd name="T56" fmla="*/ 951152 w 2226"/>
                <a:gd name="T57" fmla="*/ 460435 h 2292"/>
                <a:gd name="T58" fmla="*/ 965050 w 2226"/>
                <a:gd name="T59" fmla="*/ 384308 h 2292"/>
                <a:gd name="T60" fmla="*/ 936819 w 2226"/>
                <a:gd name="T61" fmla="*/ 314482 h 2292"/>
                <a:gd name="T62" fmla="*/ 894256 w 2226"/>
                <a:gd name="T63" fmla="*/ 295581 h 2292"/>
                <a:gd name="T64" fmla="*/ 834321 w 2226"/>
                <a:gd name="T65" fmla="*/ 242555 h 2292"/>
                <a:gd name="T66" fmla="*/ 756578 w 2226"/>
                <a:gd name="T67" fmla="*/ 236255 h 2292"/>
                <a:gd name="T68" fmla="*/ 725307 w 2226"/>
                <a:gd name="T69" fmla="*/ 234680 h 2292"/>
                <a:gd name="T70" fmla="*/ 710541 w 2226"/>
                <a:gd name="T71" fmla="*/ 206854 h 2292"/>
                <a:gd name="T72" fmla="*/ 656686 w 2226"/>
                <a:gd name="T73" fmla="*/ 182704 h 2292"/>
                <a:gd name="T74" fmla="*/ 612820 w 2226"/>
                <a:gd name="T75" fmla="*/ 214729 h 2292"/>
                <a:gd name="T76" fmla="*/ 581115 w 2226"/>
                <a:gd name="T77" fmla="*/ 212629 h 2292"/>
                <a:gd name="T78" fmla="*/ 541592 w 2226"/>
                <a:gd name="T79" fmla="*/ 201604 h 2292"/>
                <a:gd name="T80" fmla="*/ 571994 w 2226"/>
                <a:gd name="T81" fmla="*/ 140703 h 2292"/>
                <a:gd name="T82" fmla="*/ 581115 w 2226"/>
                <a:gd name="T83" fmla="*/ 96602 h 2292"/>
                <a:gd name="T84" fmla="*/ 560702 w 2226"/>
                <a:gd name="T85" fmla="*/ 35701 h 2292"/>
                <a:gd name="T86" fmla="*/ 488171 w 2226"/>
                <a:gd name="T87" fmla="*/ 70876 h 2292"/>
                <a:gd name="T88" fmla="*/ 435619 w 2226"/>
                <a:gd name="T89" fmla="*/ 89252 h 2292"/>
                <a:gd name="T90" fmla="*/ 416943 w 2226"/>
                <a:gd name="T91" fmla="*/ 98177 h 2292"/>
                <a:gd name="T92" fmla="*/ 352664 w 2226"/>
                <a:gd name="T93" fmla="*/ 92402 h 2292"/>
                <a:gd name="T94" fmla="*/ 352230 w 2226"/>
                <a:gd name="T95" fmla="*/ 35176 h 2292"/>
                <a:gd name="T96" fmla="*/ 323565 w 2226"/>
                <a:gd name="T97" fmla="*/ 0 h 2292"/>
                <a:gd name="T98" fmla="*/ 304021 w 2226"/>
                <a:gd name="T99" fmla="*/ 16275 h 2292"/>
                <a:gd name="T100" fmla="*/ 255812 w 2226"/>
                <a:gd name="T101" fmla="*/ 36751 h 2292"/>
                <a:gd name="T102" fmla="*/ 243217 w 2226"/>
                <a:gd name="T103" fmla="*/ 103952 h 2292"/>
                <a:gd name="T104" fmla="*/ 196745 w 2226"/>
                <a:gd name="T105" fmla="*/ 135453 h 2292"/>
                <a:gd name="T106" fmla="*/ 124214 w 2226"/>
                <a:gd name="T107" fmla="*/ 103427 h 2292"/>
                <a:gd name="T108" fmla="*/ 109882 w 2226"/>
                <a:gd name="T109" fmla="*/ 126003 h 2292"/>
                <a:gd name="T110" fmla="*/ 85995 w 2226"/>
                <a:gd name="T111" fmla="*/ 163278 h 2292"/>
                <a:gd name="T112" fmla="*/ 106842 w 2226"/>
                <a:gd name="T113" fmla="*/ 203704 h 2292"/>
                <a:gd name="T114" fmla="*/ 84257 w 2226"/>
                <a:gd name="T115" fmla="*/ 294006 h 2292"/>
                <a:gd name="T116" fmla="*/ 43432 w 2226"/>
                <a:gd name="T117" fmla="*/ 297681 h 2292"/>
                <a:gd name="T118" fmla="*/ 6949 w 2226"/>
                <a:gd name="T119" fmla="*/ 360682 h 2292"/>
                <a:gd name="T120" fmla="*/ 9555 w 2226"/>
                <a:gd name="T121" fmla="*/ 432609 h 2292"/>
                <a:gd name="T122" fmla="*/ 52118 w 2226"/>
                <a:gd name="T123" fmla="*/ 475135 h 2292"/>
                <a:gd name="T124" fmla="*/ 82954 w 2226"/>
                <a:gd name="T125" fmla="*/ 498235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D73B0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2A32A405-35A2-486B-A598-0CC6FBF2E56A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289420" y="2454256"/>
              <a:ext cx="69850" cy="49212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D41C130F-DBD2-46F6-BF09-2DA778C3E91B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787770" y="2328845"/>
              <a:ext cx="82550" cy="160335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DC57DB72-C97E-4AE0-8778-0F48F3BD9EBE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868734" y="1814499"/>
              <a:ext cx="171450" cy="269873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016AA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CFB08E26-8C54-4B2B-8BBF-56F66142FDD9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4227508" y="2117709"/>
              <a:ext cx="169862" cy="76199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3B02E56F-45E5-4D6E-BC3E-57E101DA6F12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719756" y="1966898"/>
              <a:ext cx="1281110" cy="1038216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4E2F30A2-EB05-4BD1-AEFE-1C51A901FA64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4411658" y="1508113"/>
              <a:ext cx="220661" cy="273048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" name="Freeform 16">
              <a:extLst>
                <a:ext uri="{FF2B5EF4-FFF2-40B4-BE49-F238E27FC236}">
                  <a16:creationId xmlns:a16="http://schemas.microsoft.com/office/drawing/2014/main" id="{6350BC8B-55A4-42B2-95BC-3D2B65784548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148133" y="1925623"/>
              <a:ext cx="182562" cy="238123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016AA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C3340162-6B18-474B-8848-2F3E891B9702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173533" y="2182796"/>
              <a:ext cx="250825" cy="274635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46B688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DF20E293-54EF-4677-AA20-7867F5C3BEF6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190995" y="2351070"/>
              <a:ext cx="33338" cy="82549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3B9C990-1269-4C4A-8F40-3E1750760BFE}"/>
                </a:ext>
              </a:extLst>
            </p:cNvPr>
            <p:cNvGrpSpPr>
              <a:grpSpLocks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510330" y="3411511"/>
              <a:ext cx="473075" cy="212723"/>
              <a:chOff x="4488" y="2394"/>
              <a:chExt cx="358" cy="124"/>
            </a:xfrm>
          </p:grpSpPr>
          <p:sp>
            <p:nvSpPr>
              <p:cNvPr id="548" name="Freeform 20">
                <a:extLst>
                  <a:ext uri="{FF2B5EF4-FFF2-40B4-BE49-F238E27FC236}">
                    <a16:creationId xmlns:a16="http://schemas.microsoft.com/office/drawing/2014/main" id="{06CA5397-2226-4E90-9525-520D68F139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49" name="Freeform 21">
                <a:extLst>
                  <a:ext uri="{FF2B5EF4-FFF2-40B4-BE49-F238E27FC236}">
                    <a16:creationId xmlns:a16="http://schemas.microsoft.com/office/drawing/2014/main" id="{939E648C-93D2-411F-AF8D-16652F2074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19" name="Freeform 22">
              <a:extLst>
                <a:ext uri="{FF2B5EF4-FFF2-40B4-BE49-F238E27FC236}">
                  <a16:creationId xmlns:a16="http://schemas.microsoft.com/office/drawing/2014/main" id="{B995165F-ACA9-45DF-9834-BB8F37007002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4532308" y="1287453"/>
              <a:ext cx="3065458" cy="1074728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D73B01"/>
            </a:solidFill>
            <a:ln w="9525" cap="flat" cmpd="sng">
              <a:solidFill>
                <a:srgbClr val="FFFFFF">
                  <a:alpha val="99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" name="Freeform 23">
              <a:extLst>
                <a:ext uri="{FF2B5EF4-FFF2-40B4-BE49-F238E27FC236}">
                  <a16:creationId xmlns:a16="http://schemas.microsoft.com/office/drawing/2014/main" id="{C3EE275C-DDD2-4FC3-BA22-BBD3B1159E41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3795709" y="2274870"/>
              <a:ext cx="280986" cy="247648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1" name="Freeform 24">
              <a:extLst>
                <a:ext uri="{FF2B5EF4-FFF2-40B4-BE49-F238E27FC236}">
                  <a16:creationId xmlns:a16="http://schemas.microsoft.com/office/drawing/2014/main" id="{A36A1B7C-68AD-403A-BB91-6EF094CADE4B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6427780" y="3013051"/>
              <a:ext cx="207962" cy="455609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" name="Line 26" descr="Horizontal dunkel">
              <a:extLst>
                <a:ext uri="{FF2B5EF4-FFF2-40B4-BE49-F238E27FC236}">
                  <a16:creationId xmlns:a16="http://schemas.microsoft.com/office/drawing/2014/main" id="{C676F9AC-03B1-4A0F-9441-D0652C77987C}"/>
                </a:ext>
              </a:extLst>
            </p:cNvPr>
            <p:cNvSpPr>
              <a:spLocks noChangeShapeType="1"/>
            </p:cNvSpPr>
            <p:nvPr>
              <p:custDataLst>
                <p:tags r:id="rId19"/>
              </p:custDataLst>
            </p:nvPr>
          </p:nvSpPr>
          <p:spPr bwMode="auto">
            <a:xfrm>
              <a:off x="998537" y="2322495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" name="Freeform 27">
              <a:extLst>
                <a:ext uri="{FF2B5EF4-FFF2-40B4-BE49-F238E27FC236}">
                  <a16:creationId xmlns:a16="http://schemas.microsoft.com/office/drawing/2014/main" id="{2A66AFE3-C16F-4B45-AA93-EC017DCCB03A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1001712" y="2319320"/>
              <a:ext cx="3175" cy="55562"/>
            </a:xfrm>
            <a:custGeom>
              <a:avLst/>
              <a:gdLst>
                <a:gd name="T0" fmla="*/ 0 w 6"/>
                <a:gd name="T1" fmla="*/ 55562 h 24"/>
                <a:gd name="T2" fmla="*/ 0 w 6"/>
                <a:gd name="T3" fmla="*/ 43987 h 24"/>
                <a:gd name="T4" fmla="*/ 529 w 6"/>
                <a:gd name="T5" fmla="*/ 32411 h 24"/>
                <a:gd name="T6" fmla="*/ 1588 w 6"/>
                <a:gd name="T7" fmla="*/ 18521 h 24"/>
                <a:gd name="T8" fmla="*/ 3175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" name="Freeform 28">
              <a:extLst>
                <a:ext uri="{FF2B5EF4-FFF2-40B4-BE49-F238E27FC236}">
                  <a16:creationId xmlns:a16="http://schemas.microsoft.com/office/drawing/2014/main" id="{C5063379-31DB-4290-9136-8C9129F1F76F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977899" y="2373295"/>
              <a:ext cx="23813" cy="57150"/>
            </a:xfrm>
            <a:custGeom>
              <a:avLst/>
              <a:gdLst>
                <a:gd name="T0" fmla="*/ 0 w 47"/>
                <a:gd name="T1" fmla="*/ 20472 h 67"/>
                <a:gd name="T2" fmla="*/ 0 w 47"/>
                <a:gd name="T3" fmla="*/ 25590 h 67"/>
                <a:gd name="T4" fmla="*/ 1013 w 47"/>
                <a:gd name="T5" fmla="*/ 30707 h 67"/>
                <a:gd name="T6" fmla="*/ 1520 w 47"/>
                <a:gd name="T7" fmla="*/ 35825 h 67"/>
                <a:gd name="T8" fmla="*/ 2533 w 47"/>
                <a:gd name="T9" fmla="*/ 40090 h 67"/>
                <a:gd name="T10" fmla="*/ 4560 w 47"/>
                <a:gd name="T11" fmla="*/ 49473 h 67"/>
                <a:gd name="T12" fmla="*/ 7093 w 47"/>
                <a:gd name="T13" fmla="*/ 57150 h 67"/>
                <a:gd name="T14" fmla="*/ 23813 w 47"/>
                <a:gd name="T15" fmla="*/ 57150 h 67"/>
                <a:gd name="T16" fmla="*/ 23813 w 47"/>
                <a:gd name="T17" fmla="*/ 0 h 67"/>
                <a:gd name="T18" fmla="*/ 18240 w 47"/>
                <a:gd name="T19" fmla="*/ 1706 h 67"/>
                <a:gd name="T20" fmla="*/ 13173 w 47"/>
                <a:gd name="T21" fmla="*/ 3412 h 67"/>
                <a:gd name="T22" fmla="*/ 9120 w 47"/>
                <a:gd name="T23" fmla="*/ 5971 h 67"/>
                <a:gd name="T24" fmla="*/ 5573 w 47"/>
                <a:gd name="T25" fmla="*/ 7677 h 67"/>
                <a:gd name="T26" fmla="*/ 3040 w 47"/>
                <a:gd name="T27" fmla="*/ 10236 h 67"/>
                <a:gd name="T28" fmla="*/ 1520 w 47"/>
                <a:gd name="T29" fmla="*/ 13648 h 67"/>
                <a:gd name="T30" fmla="*/ 0 w 47"/>
                <a:gd name="T31" fmla="*/ 17060 h 67"/>
                <a:gd name="T32" fmla="*/ 0 w 47"/>
                <a:gd name="T33" fmla="*/ 20472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" name="Freeform 29">
              <a:extLst>
                <a:ext uri="{FF2B5EF4-FFF2-40B4-BE49-F238E27FC236}">
                  <a16:creationId xmlns:a16="http://schemas.microsoft.com/office/drawing/2014/main" id="{3DC1DA92-29CD-4082-B4F7-CE481835B960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303461" y="2368532"/>
              <a:ext cx="49212" cy="57150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7" name="Freeform 30">
              <a:extLst>
                <a:ext uri="{FF2B5EF4-FFF2-40B4-BE49-F238E27FC236}">
                  <a16:creationId xmlns:a16="http://schemas.microsoft.com/office/drawing/2014/main" id="{58FEE803-4D85-4FB6-817D-AF28607ADA2F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5041894" y="1925623"/>
              <a:ext cx="874712" cy="452433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8" name="Freeform 31">
              <a:extLst>
                <a:ext uri="{FF2B5EF4-FFF2-40B4-BE49-F238E27FC236}">
                  <a16:creationId xmlns:a16="http://schemas.microsoft.com/office/drawing/2014/main" id="{4979405B-1728-4712-928C-8C1639032391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5272082" y="2228833"/>
              <a:ext cx="409574" cy="249236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" name="Freeform 32">
              <a:extLst>
                <a:ext uri="{FF2B5EF4-FFF2-40B4-BE49-F238E27FC236}">
                  <a16:creationId xmlns:a16="http://schemas.microsoft.com/office/drawing/2014/main" id="{738CE32B-51A0-4C88-B2D1-BEA588E4D17C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4079870" y="3232125"/>
              <a:ext cx="296862" cy="288923"/>
            </a:xfrm>
            <a:custGeom>
              <a:avLst/>
              <a:gdLst>
                <a:gd name="T0" fmla="*/ 2655 w 671"/>
                <a:gd name="T1" fmla="*/ 201563 h 549"/>
                <a:gd name="T2" fmla="*/ 3539 w 671"/>
                <a:gd name="T3" fmla="*/ 166303 h 549"/>
                <a:gd name="T4" fmla="*/ 7521 w 671"/>
                <a:gd name="T5" fmla="*/ 151041 h 549"/>
                <a:gd name="T6" fmla="*/ 23006 w 671"/>
                <a:gd name="T7" fmla="*/ 125253 h 549"/>
                <a:gd name="T8" fmla="*/ 31412 w 671"/>
                <a:gd name="T9" fmla="*/ 107886 h 549"/>
                <a:gd name="T10" fmla="*/ 32297 w 671"/>
                <a:gd name="T11" fmla="*/ 87888 h 549"/>
                <a:gd name="T12" fmla="*/ 32297 w 671"/>
                <a:gd name="T13" fmla="*/ 72100 h 549"/>
                <a:gd name="T14" fmla="*/ 23891 w 671"/>
                <a:gd name="T15" fmla="*/ 56838 h 549"/>
                <a:gd name="T16" fmla="*/ 26988 w 671"/>
                <a:gd name="T17" fmla="*/ 41576 h 549"/>
                <a:gd name="T18" fmla="*/ 33624 w 671"/>
                <a:gd name="T19" fmla="*/ 26314 h 549"/>
                <a:gd name="T20" fmla="*/ 42472 w 671"/>
                <a:gd name="T21" fmla="*/ 13157 h 549"/>
                <a:gd name="T22" fmla="*/ 53090 w 671"/>
                <a:gd name="T23" fmla="*/ 3684 h 549"/>
                <a:gd name="T24" fmla="*/ 64593 w 671"/>
                <a:gd name="T25" fmla="*/ 0 h 549"/>
                <a:gd name="T26" fmla="*/ 76538 w 671"/>
                <a:gd name="T27" fmla="*/ 2631 h 549"/>
                <a:gd name="T28" fmla="*/ 91138 w 671"/>
                <a:gd name="T29" fmla="*/ 13683 h 549"/>
                <a:gd name="T30" fmla="*/ 104411 w 671"/>
                <a:gd name="T31" fmla="*/ 23682 h 549"/>
                <a:gd name="T32" fmla="*/ 114586 w 671"/>
                <a:gd name="T33" fmla="*/ 26314 h 549"/>
                <a:gd name="T34" fmla="*/ 120338 w 671"/>
                <a:gd name="T35" fmla="*/ 23156 h 549"/>
                <a:gd name="T36" fmla="*/ 125647 w 671"/>
                <a:gd name="T37" fmla="*/ 18420 h 549"/>
                <a:gd name="T38" fmla="*/ 132726 w 671"/>
                <a:gd name="T39" fmla="*/ 16841 h 549"/>
                <a:gd name="T40" fmla="*/ 140689 w 671"/>
                <a:gd name="T41" fmla="*/ 20525 h 549"/>
                <a:gd name="T42" fmla="*/ 149095 w 671"/>
                <a:gd name="T43" fmla="*/ 34208 h 549"/>
                <a:gd name="T44" fmla="*/ 156174 w 671"/>
                <a:gd name="T45" fmla="*/ 41576 h 549"/>
                <a:gd name="T46" fmla="*/ 163695 w 671"/>
                <a:gd name="T47" fmla="*/ 42628 h 549"/>
                <a:gd name="T48" fmla="*/ 168562 w 671"/>
                <a:gd name="T49" fmla="*/ 39471 h 549"/>
                <a:gd name="T50" fmla="*/ 175640 w 671"/>
                <a:gd name="T51" fmla="*/ 29471 h 549"/>
                <a:gd name="T52" fmla="*/ 185373 w 671"/>
                <a:gd name="T53" fmla="*/ 19998 h 549"/>
                <a:gd name="T54" fmla="*/ 202628 w 671"/>
                <a:gd name="T55" fmla="*/ 11578 h 549"/>
                <a:gd name="T56" fmla="*/ 215458 w 671"/>
                <a:gd name="T57" fmla="*/ 13157 h 549"/>
                <a:gd name="T58" fmla="*/ 226076 w 671"/>
                <a:gd name="T59" fmla="*/ 18420 h 549"/>
                <a:gd name="T60" fmla="*/ 237579 w 671"/>
                <a:gd name="T61" fmla="*/ 22630 h 549"/>
                <a:gd name="T62" fmla="*/ 252621 w 671"/>
                <a:gd name="T63" fmla="*/ 20525 h 549"/>
                <a:gd name="T64" fmla="*/ 285803 w 671"/>
                <a:gd name="T65" fmla="*/ 35260 h 549"/>
                <a:gd name="T66" fmla="*/ 294208 w 671"/>
                <a:gd name="T67" fmla="*/ 55259 h 549"/>
                <a:gd name="T68" fmla="*/ 275627 w 671"/>
                <a:gd name="T69" fmla="*/ 96308 h 549"/>
                <a:gd name="T70" fmla="*/ 262354 w 671"/>
                <a:gd name="T71" fmla="*/ 122622 h 549"/>
                <a:gd name="T72" fmla="*/ 252179 w 671"/>
                <a:gd name="T73" fmla="*/ 153146 h 549"/>
                <a:gd name="T74" fmla="*/ 243330 w 671"/>
                <a:gd name="T75" fmla="*/ 180512 h 549"/>
                <a:gd name="T76" fmla="*/ 232270 w 671"/>
                <a:gd name="T77" fmla="*/ 214194 h 549"/>
                <a:gd name="T78" fmla="*/ 228288 w 671"/>
                <a:gd name="T79" fmla="*/ 222088 h 549"/>
                <a:gd name="T80" fmla="*/ 221209 w 671"/>
                <a:gd name="T81" fmla="*/ 231035 h 549"/>
                <a:gd name="T82" fmla="*/ 213246 w 671"/>
                <a:gd name="T83" fmla="*/ 233140 h 549"/>
                <a:gd name="T84" fmla="*/ 203070 w 671"/>
                <a:gd name="T85" fmla="*/ 227351 h 549"/>
                <a:gd name="T86" fmla="*/ 194664 w 671"/>
                <a:gd name="T87" fmla="*/ 221562 h 549"/>
                <a:gd name="T88" fmla="*/ 180507 w 671"/>
                <a:gd name="T89" fmla="*/ 223141 h 549"/>
                <a:gd name="T90" fmla="*/ 168562 w 671"/>
                <a:gd name="T91" fmla="*/ 232087 h 549"/>
                <a:gd name="T92" fmla="*/ 161040 w 671"/>
                <a:gd name="T93" fmla="*/ 246823 h 549"/>
                <a:gd name="T94" fmla="*/ 151307 w 671"/>
                <a:gd name="T95" fmla="*/ 274189 h 549"/>
                <a:gd name="T96" fmla="*/ 143786 w 671"/>
                <a:gd name="T97" fmla="*/ 288925 h 549"/>
                <a:gd name="T98" fmla="*/ 101314 w 671"/>
                <a:gd name="T99" fmla="*/ 287346 h 549"/>
                <a:gd name="T100" fmla="*/ 96005 w 671"/>
                <a:gd name="T101" fmla="*/ 288399 h 549"/>
                <a:gd name="T102" fmla="*/ 79193 w 671"/>
                <a:gd name="T103" fmla="*/ 285767 h 549"/>
                <a:gd name="T104" fmla="*/ 71229 w 671"/>
                <a:gd name="T105" fmla="*/ 284189 h 549"/>
                <a:gd name="T106" fmla="*/ 63708 w 671"/>
                <a:gd name="T107" fmla="*/ 279452 h 549"/>
                <a:gd name="T108" fmla="*/ 57072 w 671"/>
                <a:gd name="T109" fmla="*/ 271032 h 549"/>
                <a:gd name="T110" fmla="*/ 52648 w 671"/>
                <a:gd name="T111" fmla="*/ 261032 h 549"/>
                <a:gd name="T112" fmla="*/ 49993 w 671"/>
                <a:gd name="T113" fmla="*/ 248402 h 549"/>
                <a:gd name="T114" fmla="*/ 44242 w 671"/>
                <a:gd name="T115" fmla="*/ 242087 h 549"/>
                <a:gd name="T116" fmla="*/ 36721 w 671"/>
                <a:gd name="T117" fmla="*/ 235245 h 549"/>
                <a:gd name="T118" fmla="*/ 27872 w 671"/>
                <a:gd name="T119" fmla="*/ 227351 h 549"/>
                <a:gd name="T120" fmla="*/ 17254 w 671"/>
                <a:gd name="T121" fmla="*/ 225772 h 549"/>
                <a:gd name="T122" fmla="*/ 0 w 671"/>
                <a:gd name="T123" fmla="*/ 23050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" name="Freeform 33">
              <a:extLst>
                <a:ext uri="{FF2B5EF4-FFF2-40B4-BE49-F238E27FC236}">
                  <a16:creationId xmlns:a16="http://schemas.microsoft.com/office/drawing/2014/main" id="{DB29F2CE-22F7-4FFB-BFC8-CE6F5C7ABE40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4922832" y="3097189"/>
              <a:ext cx="152400" cy="169861"/>
            </a:xfrm>
            <a:custGeom>
              <a:avLst/>
              <a:gdLst>
                <a:gd name="T0" fmla="*/ 138778 w 358"/>
                <a:gd name="T1" fmla="*/ 168304 h 327"/>
                <a:gd name="T2" fmla="*/ 140906 w 358"/>
                <a:gd name="T3" fmla="*/ 166745 h 327"/>
                <a:gd name="T4" fmla="*/ 143460 w 358"/>
                <a:gd name="T5" fmla="*/ 165187 h 327"/>
                <a:gd name="T6" fmla="*/ 147292 w 358"/>
                <a:gd name="T7" fmla="*/ 165187 h 327"/>
                <a:gd name="T8" fmla="*/ 151549 w 358"/>
                <a:gd name="T9" fmla="*/ 168304 h 327"/>
                <a:gd name="T10" fmla="*/ 135798 w 358"/>
                <a:gd name="T11" fmla="*/ 148045 h 327"/>
                <a:gd name="T12" fmla="*/ 118344 w 358"/>
                <a:gd name="T13" fmla="*/ 122072 h 327"/>
                <a:gd name="T14" fmla="*/ 107702 w 358"/>
                <a:gd name="T15" fmla="*/ 105969 h 327"/>
                <a:gd name="T16" fmla="*/ 98762 w 358"/>
                <a:gd name="T17" fmla="*/ 96619 h 327"/>
                <a:gd name="T18" fmla="*/ 93228 w 358"/>
                <a:gd name="T19" fmla="*/ 94021 h 327"/>
                <a:gd name="T20" fmla="*/ 88545 w 358"/>
                <a:gd name="T21" fmla="*/ 93502 h 327"/>
                <a:gd name="T22" fmla="*/ 85565 w 358"/>
                <a:gd name="T23" fmla="*/ 92983 h 327"/>
                <a:gd name="T24" fmla="*/ 84714 w 358"/>
                <a:gd name="T25" fmla="*/ 90385 h 327"/>
                <a:gd name="T26" fmla="*/ 84288 w 358"/>
                <a:gd name="T27" fmla="*/ 88307 h 327"/>
                <a:gd name="T28" fmla="*/ 83011 w 358"/>
                <a:gd name="T29" fmla="*/ 87788 h 327"/>
                <a:gd name="T30" fmla="*/ 78328 w 358"/>
                <a:gd name="T31" fmla="*/ 89346 h 327"/>
                <a:gd name="T32" fmla="*/ 72794 w 358"/>
                <a:gd name="T33" fmla="*/ 89346 h 327"/>
                <a:gd name="T34" fmla="*/ 70240 w 358"/>
                <a:gd name="T35" fmla="*/ 87269 h 327"/>
                <a:gd name="T36" fmla="*/ 68112 w 358"/>
                <a:gd name="T37" fmla="*/ 83632 h 327"/>
                <a:gd name="T38" fmla="*/ 64706 w 358"/>
                <a:gd name="T39" fmla="*/ 74802 h 327"/>
                <a:gd name="T40" fmla="*/ 60875 w 358"/>
                <a:gd name="T41" fmla="*/ 68049 h 327"/>
                <a:gd name="T42" fmla="*/ 56618 w 358"/>
                <a:gd name="T43" fmla="*/ 61815 h 327"/>
                <a:gd name="T44" fmla="*/ 54064 w 358"/>
                <a:gd name="T45" fmla="*/ 54543 h 327"/>
                <a:gd name="T46" fmla="*/ 51935 w 358"/>
                <a:gd name="T47" fmla="*/ 43634 h 327"/>
                <a:gd name="T48" fmla="*/ 50658 w 358"/>
                <a:gd name="T49" fmla="*/ 27531 h 327"/>
                <a:gd name="T50" fmla="*/ 49807 w 358"/>
                <a:gd name="T51" fmla="*/ 11947 h 327"/>
                <a:gd name="T52" fmla="*/ 47678 w 358"/>
                <a:gd name="T53" fmla="*/ 0 h 327"/>
                <a:gd name="T54" fmla="*/ 31076 w 358"/>
                <a:gd name="T55" fmla="*/ 13506 h 327"/>
                <a:gd name="T56" fmla="*/ 25968 w 358"/>
                <a:gd name="T57" fmla="*/ 17142 h 327"/>
                <a:gd name="T58" fmla="*/ 14048 w 358"/>
                <a:gd name="T59" fmla="*/ 25973 h 327"/>
                <a:gd name="T60" fmla="*/ 8940 w 358"/>
                <a:gd name="T61" fmla="*/ 31687 h 327"/>
                <a:gd name="T62" fmla="*/ 7237 w 358"/>
                <a:gd name="T63" fmla="*/ 37401 h 327"/>
                <a:gd name="T64" fmla="*/ 6811 w 358"/>
                <a:gd name="T65" fmla="*/ 43115 h 327"/>
                <a:gd name="T66" fmla="*/ 8514 w 358"/>
                <a:gd name="T67" fmla="*/ 48309 h 327"/>
                <a:gd name="T68" fmla="*/ 9365 w 358"/>
                <a:gd name="T69" fmla="*/ 51946 h 327"/>
                <a:gd name="T70" fmla="*/ 8514 w 358"/>
                <a:gd name="T71" fmla="*/ 57140 h 327"/>
                <a:gd name="T72" fmla="*/ 6385 w 358"/>
                <a:gd name="T73" fmla="*/ 63893 h 327"/>
                <a:gd name="T74" fmla="*/ 2980 w 358"/>
                <a:gd name="T75" fmla="*/ 70646 h 327"/>
                <a:gd name="T76" fmla="*/ 0 w 358"/>
                <a:gd name="T77" fmla="*/ 80516 h 327"/>
                <a:gd name="T78" fmla="*/ 0 w 358"/>
                <a:gd name="T79" fmla="*/ 90385 h 327"/>
                <a:gd name="T80" fmla="*/ 2128 w 358"/>
                <a:gd name="T81" fmla="*/ 94541 h 327"/>
                <a:gd name="T82" fmla="*/ 4683 w 358"/>
                <a:gd name="T83" fmla="*/ 97138 h 327"/>
                <a:gd name="T84" fmla="*/ 8514 w 358"/>
                <a:gd name="T85" fmla="*/ 96619 h 327"/>
                <a:gd name="T86" fmla="*/ 18731 w 358"/>
                <a:gd name="T87" fmla="*/ 87269 h 327"/>
                <a:gd name="T88" fmla="*/ 25542 w 358"/>
                <a:gd name="T89" fmla="*/ 83632 h 327"/>
                <a:gd name="T90" fmla="*/ 32353 w 358"/>
                <a:gd name="T91" fmla="*/ 77918 h 327"/>
                <a:gd name="T92" fmla="*/ 39590 w 358"/>
                <a:gd name="T93" fmla="*/ 82593 h 327"/>
                <a:gd name="T94" fmla="*/ 46827 w 358"/>
                <a:gd name="T95" fmla="*/ 85191 h 327"/>
                <a:gd name="T96" fmla="*/ 60449 w 358"/>
                <a:gd name="T97" fmla="*/ 93502 h 327"/>
                <a:gd name="T98" fmla="*/ 69389 w 358"/>
                <a:gd name="T99" fmla="*/ 98697 h 327"/>
                <a:gd name="T100" fmla="*/ 83437 w 358"/>
                <a:gd name="T101" fmla="*/ 108566 h 327"/>
                <a:gd name="T102" fmla="*/ 93228 w 358"/>
                <a:gd name="T103" fmla="*/ 116878 h 327"/>
                <a:gd name="T104" fmla="*/ 104296 w 358"/>
                <a:gd name="T105" fmla="*/ 126747 h 327"/>
                <a:gd name="T106" fmla="*/ 108979 w 358"/>
                <a:gd name="T107" fmla="*/ 131942 h 327"/>
                <a:gd name="T108" fmla="*/ 113661 w 358"/>
                <a:gd name="T109" fmla="*/ 140253 h 327"/>
                <a:gd name="T110" fmla="*/ 114513 w 358"/>
                <a:gd name="T111" fmla="*/ 144928 h 327"/>
                <a:gd name="T112" fmla="*/ 114513 w 358"/>
                <a:gd name="T113" fmla="*/ 148564 h 327"/>
                <a:gd name="T114" fmla="*/ 114939 w 358"/>
                <a:gd name="T115" fmla="*/ 150642 h 327"/>
                <a:gd name="T116" fmla="*/ 117493 w 358"/>
                <a:gd name="T117" fmla="*/ 151681 h 327"/>
                <a:gd name="T118" fmla="*/ 124304 w 358"/>
                <a:gd name="T119" fmla="*/ 156876 h 327"/>
                <a:gd name="T120" fmla="*/ 135372 w 358"/>
                <a:gd name="T121" fmla="*/ 166745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" name="Freeform 34">
              <a:extLst>
                <a:ext uri="{FF2B5EF4-FFF2-40B4-BE49-F238E27FC236}">
                  <a16:creationId xmlns:a16="http://schemas.microsoft.com/office/drawing/2014/main" id="{EF41206B-B8D0-4BE5-8D60-E0B107F4EB78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384670" y="2101834"/>
              <a:ext cx="125413" cy="57150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2" name="Freeform 35">
              <a:extLst>
                <a:ext uri="{FF2B5EF4-FFF2-40B4-BE49-F238E27FC236}">
                  <a16:creationId xmlns:a16="http://schemas.microsoft.com/office/drawing/2014/main" id="{B3566034-A15C-4568-97A1-E115CFCFEDBF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5248269" y="2822553"/>
              <a:ext cx="19050" cy="57150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3" name="Freeform 36">
              <a:extLst>
                <a:ext uri="{FF2B5EF4-FFF2-40B4-BE49-F238E27FC236}">
                  <a16:creationId xmlns:a16="http://schemas.microsoft.com/office/drawing/2014/main" id="{DAEFB9CA-B05B-4A53-9E19-F0ADC5B19450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367332" y="2827316"/>
              <a:ext cx="14287" cy="57150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4" name="Freeform 37">
              <a:extLst>
                <a:ext uri="{FF2B5EF4-FFF2-40B4-BE49-F238E27FC236}">
                  <a16:creationId xmlns:a16="http://schemas.microsoft.com/office/drawing/2014/main" id="{7AAF239D-8F7A-40B1-8F0D-1A25F216BC22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854817" y="3487711"/>
              <a:ext cx="44450" cy="57150"/>
            </a:xfrm>
            <a:custGeom>
              <a:avLst/>
              <a:gdLst>
                <a:gd name="T0" fmla="*/ 0 w 106"/>
                <a:gd name="T1" fmla="*/ 5635 h 71"/>
                <a:gd name="T2" fmla="*/ 5032 w 106"/>
                <a:gd name="T3" fmla="*/ 8049 h 71"/>
                <a:gd name="T4" fmla="*/ 10064 w 106"/>
                <a:gd name="T5" fmla="*/ 9659 h 71"/>
                <a:gd name="T6" fmla="*/ 14677 w 106"/>
                <a:gd name="T7" fmla="*/ 10464 h 71"/>
                <a:gd name="T8" fmla="*/ 18870 w 106"/>
                <a:gd name="T9" fmla="*/ 10464 h 71"/>
                <a:gd name="T10" fmla="*/ 22644 w 106"/>
                <a:gd name="T11" fmla="*/ 8854 h 71"/>
                <a:gd name="T12" fmla="*/ 25580 w 106"/>
                <a:gd name="T13" fmla="*/ 6439 h 71"/>
                <a:gd name="T14" fmla="*/ 28515 w 106"/>
                <a:gd name="T15" fmla="*/ 4025 h 71"/>
                <a:gd name="T16" fmla="*/ 31031 w 106"/>
                <a:gd name="T17" fmla="*/ 0 h 71"/>
                <a:gd name="T18" fmla="*/ 35225 w 106"/>
                <a:gd name="T19" fmla="*/ 12879 h 71"/>
                <a:gd name="T20" fmla="*/ 39418 w 106"/>
                <a:gd name="T21" fmla="*/ 24148 h 71"/>
                <a:gd name="T22" fmla="*/ 42353 w 106"/>
                <a:gd name="T23" fmla="*/ 35417 h 71"/>
                <a:gd name="T24" fmla="*/ 44031 w 106"/>
                <a:gd name="T25" fmla="*/ 44271 h 71"/>
                <a:gd name="T26" fmla="*/ 44450 w 106"/>
                <a:gd name="T27" fmla="*/ 48296 h 71"/>
                <a:gd name="T28" fmla="*/ 44450 w 106"/>
                <a:gd name="T29" fmla="*/ 50711 h 71"/>
                <a:gd name="T30" fmla="*/ 44031 w 106"/>
                <a:gd name="T31" fmla="*/ 53930 h 71"/>
                <a:gd name="T32" fmla="*/ 43192 w 106"/>
                <a:gd name="T33" fmla="*/ 55540 h 71"/>
                <a:gd name="T34" fmla="*/ 42353 w 106"/>
                <a:gd name="T35" fmla="*/ 56345 h 71"/>
                <a:gd name="T36" fmla="*/ 41095 w 106"/>
                <a:gd name="T37" fmla="*/ 56345 h 71"/>
                <a:gd name="T38" fmla="*/ 38579 w 106"/>
                <a:gd name="T39" fmla="*/ 56345 h 71"/>
                <a:gd name="T40" fmla="*/ 36483 w 106"/>
                <a:gd name="T41" fmla="*/ 54735 h 71"/>
                <a:gd name="T42" fmla="*/ 31031 w 106"/>
                <a:gd name="T43" fmla="*/ 56345 h 71"/>
                <a:gd name="T44" fmla="*/ 26418 w 106"/>
                <a:gd name="T45" fmla="*/ 57150 h 71"/>
                <a:gd name="T46" fmla="*/ 22225 w 106"/>
                <a:gd name="T47" fmla="*/ 55540 h 71"/>
                <a:gd name="T48" fmla="*/ 18870 w 106"/>
                <a:gd name="T49" fmla="*/ 53125 h 71"/>
                <a:gd name="T50" fmla="*/ 15516 w 106"/>
                <a:gd name="T51" fmla="*/ 49906 h 71"/>
                <a:gd name="T52" fmla="*/ 13419 w 106"/>
                <a:gd name="T53" fmla="*/ 45881 h 71"/>
                <a:gd name="T54" fmla="*/ 11322 w 106"/>
                <a:gd name="T55" fmla="*/ 41051 h 71"/>
                <a:gd name="T56" fmla="*/ 10064 w 106"/>
                <a:gd name="T57" fmla="*/ 36222 h 71"/>
                <a:gd name="T58" fmla="*/ 8806 w 106"/>
                <a:gd name="T59" fmla="*/ 30587 h 71"/>
                <a:gd name="T60" fmla="*/ 8387 w 106"/>
                <a:gd name="T61" fmla="*/ 24148 h 71"/>
                <a:gd name="T62" fmla="*/ 7967 w 106"/>
                <a:gd name="T63" fmla="*/ 19318 h 71"/>
                <a:gd name="T64" fmla="*/ 7548 w 106"/>
                <a:gd name="T65" fmla="*/ 15294 h 71"/>
                <a:gd name="T66" fmla="*/ 7548 w 106"/>
                <a:gd name="T67" fmla="*/ 11269 h 71"/>
                <a:gd name="T68" fmla="*/ 7967 w 106"/>
                <a:gd name="T69" fmla="*/ 8049 h 71"/>
                <a:gd name="T70" fmla="*/ 8387 w 106"/>
                <a:gd name="T71" fmla="*/ 5635 h 71"/>
                <a:gd name="T72" fmla="*/ 8806 w 106"/>
                <a:gd name="T73" fmla="*/ 5635 h 71"/>
                <a:gd name="T74" fmla="*/ 8387 w 106"/>
                <a:gd name="T75" fmla="*/ 8049 h 71"/>
                <a:gd name="T76" fmla="*/ 7967 w 106"/>
                <a:gd name="T77" fmla="*/ 12879 h 71"/>
                <a:gd name="T78" fmla="*/ 7967 w 106"/>
                <a:gd name="T79" fmla="*/ 13684 h 71"/>
                <a:gd name="T80" fmla="*/ 7967 w 106"/>
                <a:gd name="T81" fmla="*/ 13684 h 71"/>
                <a:gd name="T82" fmla="*/ 8387 w 106"/>
                <a:gd name="T83" fmla="*/ 13684 h 71"/>
                <a:gd name="T84" fmla="*/ 8806 w 106"/>
                <a:gd name="T85" fmla="*/ 13684 h 71"/>
                <a:gd name="T86" fmla="*/ 9645 w 106"/>
                <a:gd name="T87" fmla="*/ 10464 h 71"/>
                <a:gd name="T88" fmla="*/ 11322 w 106"/>
                <a:gd name="T89" fmla="*/ 5635 h 71"/>
                <a:gd name="T90" fmla="*/ 0 w 106"/>
                <a:gd name="T91" fmla="*/ 5635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6" name="Freeform 41">
              <a:extLst>
                <a:ext uri="{FF2B5EF4-FFF2-40B4-BE49-F238E27FC236}">
                  <a16:creationId xmlns:a16="http://schemas.microsoft.com/office/drawing/2014/main" id="{9F099EAC-241F-4841-98AA-7FE5F802150F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2354261" y="3090839"/>
              <a:ext cx="31750" cy="58737"/>
            </a:xfrm>
            <a:custGeom>
              <a:avLst/>
              <a:gdLst>
                <a:gd name="T0" fmla="*/ 0 w 80"/>
                <a:gd name="T1" fmla="*/ 25913 h 34"/>
                <a:gd name="T2" fmla="*/ 397 w 80"/>
                <a:gd name="T3" fmla="*/ 32824 h 34"/>
                <a:gd name="T4" fmla="*/ 794 w 80"/>
                <a:gd name="T5" fmla="*/ 36279 h 34"/>
                <a:gd name="T6" fmla="*/ 1588 w 80"/>
                <a:gd name="T7" fmla="*/ 41461 h 34"/>
                <a:gd name="T8" fmla="*/ 2778 w 80"/>
                <a:gd name="T9" fmla="*/ 44917 h 34"/>
                <a:gd name="T10" fmla="*/ 5159 w 80"/>
                <a:gd name="T11" fmla="*/ 50099 h 34"/>
                <a:gd name="T12" fmla="*/ 8731 w 80"/>
                <a:gd name="T13" fmla="*/ 53554 h 34"/>
                <a:gd name="T14" fmla="*/ 15875 w 80"/>
                <a:gd name="T15" fmla="*/ 57009 h 34"/>
                <a:gd name="T16" fmla="*/ 21431 w 80"/>
                <a:gd name="T17" fmla="*/ 58737 h 34"/>
                <a:gd name="T18" fmla="*/ 23019 w 80"/>
                <a:gd name="T19" fmla="*/ 57009 h 34"/>
                <a:gd name="T20" fmla="*/ 24606 w 80"/>
                <a:gd name="T21" fmla="*/ 55282 h 34"/>
                <a:gd name="T22" fmla="*/ 25797 w 80"/>
                <a:gd name="T23" fmla="*/ 50099 h 34"/>
                <a:gd name="T24" fmla="*/ 26591 w 80"/>
                <a:gd name="T25" fmla="*/ 46644 h 34"/>
                <a:gd name="T26" fmla="*/ 28972 w 80"/>
                <a:gd name="T27" fmla="*/ 36279 h 34"/>
                <a:gd name="T28" fmla="*/ 31750 w 80"/>
                <a:gd name="T29" fmla="*/ 25913 h 34"/>
                <a:gd name="T30" fmla="*/ 29766 w 80"/>
                <a:gd name="T31" fmla="*/ 17276 h 34"/>
                <a:gd name="T32" fmla="*/ 27781 w 80"/>
                <a:gd name="T33" fmla="*/ 12093 h 34"/>
                <a:gd name="T34" fmla="*/ 25797 w 80"/>
                <a:gd name="T35" fmla="*/ 6910 h 34"/>
                <a:gd name="T36" fmla="*/ 23813 w 80"/>
                <a:gd name="T37" fmla="*/ 3455 h 34"/>
                <a:gd name="T38" fmla="*/ 21828 w 80"/>
                <a:gd name="T39" fmla="*/ 0 h 34"/>
                <a:gd name="T40" fmla="*/ 20241 w 80"/>
                <a:gd name="T41" fmla="*/ 0 h 34"/>
                <a:gd name="T42" fmla="*/ 17859 w 80"/>
                <a:gd name="T43" fmla="*/ 1728 h 34"/>
                <a:gd name="T44" fmla="*/ 16272 w 80"/>
                <a:gd name="T45" fmla="*/ 3455 h 34"/>
                <a:gd name="T46" fmla="*/ 13494 w 80"/>
                <a:gd name="T47" fmla="*/ 3455 h 34"/>
                <a:gd name="T48" fmla="*/ 8334 w 80"/>
                <a:gd name="T49" fmla="*/ 3455 h 34"/>
                <a:gd name="T50" fmla="*/ 5159 w 80"/>
                <a:gd name="T51" fmla="*/ 5183 h 34"/>
                <a:gd name="T52" fmla="*/ 2778 w 80"/>
                <a:gd name="T53" fmla="*/ 8638 h 34"/>
                <a:gd name="T54" fmla="*/ 1588 w 80"/>
                <a:gd name="T55" fmla="*/ 12093 h 34"/>
                <a:gd name="T56" fmla="*/ 794 w 80"/>
                <a:gd name="T57" fmla="*/ 15548 h 34"/>
                <a:gd name="T58" fmla="*/ 397 w 80"/>
                <a:gd name="T59" fmla="*/ 19003 h 34"/>
                <a:gd name="T60" fmla="*/ 0 w 80"/>
                <a:gd name="T61" fmla="*/ 25913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7" name="Freeform 42">
              <a:extLst>
                <a:ext uri="{FF2B5EF4-FFF2-40B4-BE49-F238E27FC236}">
                  <a16:creationId xmlns:a16="http://schemas.microsoft.com/office/drawing/2014/main" id="{59A02A99-DE73-4F9C-86ED-EDD13177A915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2409822" y="3097189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1588 w 7"/>
                <a:gd name="T3" fmla="*/ 58737 h 13"/>
                <a:gd name="T4" fmla="*/ 1588 w 7"/>
                <a:gd name="T5" fmla="*/ 31628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8" name="Freeform 43">
              <a:extLst>
                <a:ext uri="{FF2B5EF4-FFF2-40B4-BE49-F238E27FC236}">
                  <a16:creationId xmlns:a16="http://schemas.microsoft.com/office/drawing/2014/main" id="{BD5F77FD-2A4D-4A9A-9483-8C8349D25A11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2422522" y="3098776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2223 w 20"/>
                <a:gd name="T3" fmla="*/ 29369 h 6"/>
                <a:gd name="T4" fmla="*/ 6350 w 20"/>
                <a:gd name="T5" fmla="*/ 58738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9" name="Freeform 44">
              <a:extLst>
                <a:ext uri="{FF2B5EF4-FFF2-40B4-BE49-F238E27FC236}">
                  <a16:creationId xmlns:a16="http://schemas.microsoft.com/office/drawing/2014/main" id="{A0CE0141-88AF-4362-83E1-3E472D27512C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436811" y="3089251"/>
              <a:ext cx="7937" cy="57150"/>
            </a:xfrm>
            <a:custGeom>
              <a:avLst/>
              <a:gdLst>
                <a:gd name="T0" fmla="*/ 0 w 14"/>
                <a:gd name="T1" fmla="*/ 57150 h 12"/>
                <a:gd name="T2" fmla="*/ 7937 w 14"/>
                <a:gd name="T3" fmla="*/ 0 h 12"/>
                <a:gd name="T4" fmla="*/ 0 w 14"/>
                <a:gd name="T5" fmla="*/ 5715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0" name="Freeform 45">
              <a:extLst>
                <a:ext uri="{FF2B5EF4-FFF2-40B4-BE49-F238E27FC236}">
                  <a16:creationId xmlns:a16="http://schemas.microsoft.com/office/drawing/2014/main" id="{34C20D8F-5C3C-48C6-90F5-2EB47B2C5158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416172" y="3081314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33564 h 7"/>
                <a:gd name="T4" fmla="*/ 823 w 27"/>
                <a:gd name="T5" fmla="*/ 50346 h 7"/>
                <a:gd name="T6" fmla="*/ 2881 w 27"/>
                <a:gd name="T7" fmla="*/ 58737 h 7"/>
                <a:gd name="T8" fmla="*/ 4116 w 27"/>
                <a:gd name="T9" fmla="*/ 58737 h 7"/>
                <a:gd name="T10" fmla="*/ 6174 w 27"/>
                <a:gd name="T11" fmla="*/ 50346 h 7"/>
                <a:gd name="T12" fmla="*/ 7820 w 27"/>
                <a:gd name="T13" fmla="*/ 33564 h 7"/>
                <a:gd name="T14" fmla="*/ 9467 w 27"/>
                <a:gd name="T15" fmla="*/ 16782 h 7"/>
                <a:gd name="T16" fmla="*/ 11113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1" name="Freeform 46">
              <a:extLst>
                <a:ext uri="{FF2B5EF4-FFF2-40B4-BE49-F238E27FC236}">
                  <a16:creationId xmlns:a16="http://schemas.microsoft.com/office/drawing/2014/main" id="{305C40F4-88AA-4CE5-870E-4DE946B4B8D6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465385" y="3109889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5821 w 27"/>
                <a:gd name="T3" fmla="*/ 30163 h 6"/>
                <a:gd name="T4" fmla="*/ 14287 w 27"/>
                <a:gd name="T5" fmla="*/ 60325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2" name="Line 47">
              <a:extLst>
                <a:ext uri="{FF2B5EF4-FFF2-40B4-BE49-F238E27FC236}">
                  <a16:creationId xmlns:a16="http://schemas.microsoft.com/office/drawing/2014/main" id="{A4D2B487-D61B-442F-A931-F651CB79AD84}"/>
                </a:ext>
              </a:extLst>
            </p:cNvPr>
            <p:cNvSpPr>
              <a:spLocks noChangeShapeType="1"/>
            </p:cNvSpPr>
            <p:nvPr>
              <p:custDataLst>
                <p:tags r:id="rId37"/>
              </p:custDataLst>
            </p:nvPr>
          </p:nvSpPr>
          <p:spPr bwMode="auto">
            <a:xfrm flipH="1" flipV="1">
              <a:off x="2473323" y="3106714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3" name="Line 48">
              <a:extLst>
                <a:ext uri="{FF2B5EF4-FFF2-40B4-BE49-F238E27FC236}">
                  <a16:creationId xmlns:a16="http://schemas.microsoft.com/office/drawing/2014/main" id="{133C4ECD-4220-4D01-A222-851DD02EAC2B}"/>
                </a:ext>
              </a:extLst>
            </p:cNvPr>
            <p:cNvSpPr>
              <a:spLocks noChangeShapeType="1"/>
            </p:cNvSpPr>
            <p:nvPr>
              <p:custDataLst>
                <p:tags r:id="rId38"/>
              </p:custDataLst>
            </p:nvPr>
          </p:nvSpPr>
          <p:spPr bwMode="auto">
            <a:xfrm flipH="1">
              <a:off x="2473323" y="3132114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4" name="Freeform 49">
              <a:extLst>
                <a:ext uri="{FF2B5EF4-FFF2-40B4-BE49-F238E27FC236}">
                  <a16:creationId xmlns:a16="http://schemas.microsoft.com/office/drawing/2014/main" id="{E6D2070C-E980-413A-93F5-60FA56B0F17D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473323" y="3127351"/>
              <a:ext cx="11113" cy="58738"/>
            </a:xfrm>
            <a:custGeom>
              <a:avLst/>
              <a:gdLst>
                <a:gd name="T0" fmla="*/ 0 w 20"/>
                <a:gd name="T1" fmla="*/ 58738 h 24"/>
                <a:gd name="T2" fmla="*/ 1111 w 20"/>
                <a:gd name="T3" fmla="*/ 58738 h 24"/>
                <a:gd name="T4" fmla="*/ 3334 w 20"/>
                <a:gd name="T5" fmla="*/ 53843 h 24"/>
                <a:gd name="T6" fmla="*/ 5001 w 20"/>
                <a:gd name="T7" fmla="*/ 48948 h 24"/>
                <a:gd name="T8" fmla="*/ 6668 w 20"/>
                <a:gd name="T9" fmla="*/ 39159 h 24"/>
                <a:gd name="T10" fmla="*/ 8335 w 20"/>
                <a:gd name="T11" fmla="*/ 31816 h 24"/>
                <a:gd name="T12" fmla="*/ 10002 w 20"/>
                <a:gd name="T13" fmla="*/ 22027 h 24"/>
                <a:gd name="T14" fmla="*/ 10557 w 20"/>
                <a:gd name="T15" fmla="*/ 9790 h 24"/>
                <a:gd name="T16" fmla="*/ 11113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5" name="Freeform 50">
              <a:extLst>
                <a:ext uri="{FF2B5EF4-FFF2-40B4-BE49-F238E27FC236}">
                  <a16:creationId xmlns:a16="http://schemas.microsoft.com/office/drawing/2014/main" id="{F16E3AA4-9D9C-43E0-B830-7CABB266D838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2479672" y="3155925"/>
              <a:ext cx="17463" cy="55562"/>
            </a:xfrm>
            <a:custGeom>
              <a:avLst/>
              <a:gdLst>
                <a:gd name="T0" fmla="*/ 6879 w 33"/>
                <a:gd name="T1" fmla="*/ 15558 h 25"/>
                <a:gd name="T2" fmla="*/ 0 w 33"/>
                <a:gd name="T3" fmla="*/ 42228 h 25"/>
                <a:gd name="T4" fmla="*/ 5292 w 33"/>
                <a:gd name="T5" fmla="*/ 44450 h 25"/>
                <a:gd name="T6" fmla="*/ 10054 w 33"/>
                <a:gd name="T7" fmla="*/ 48895 h 25"/>
                <a:gd name="T8" fmla="*/ 14288 w 33"/>
                <a:gd name="T9" fmla="*/ 55563 h 25"/>
                <a:gd name="T10" fmla="*/ 17463 w 33"/>
                <a:gd name="T11" fmla="*/ 55563 h 25"/>
                <a:gd name="T12" fmla="*/ 17463 w 33"/>
                <a:gd name="T13" fmla="*/ 0 h 25"/>
                <a:gd name="T14" fmla="*/ 14288 w 33"/>
                <a:gd name="T15" fmla="*/ 0 h 25"/>
                <a:gd name="T16" fmla="*/ 6879 w 33"/>
                <a:gd name="T17" fmla="*/ 15558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6" name="Freeform 51">
              <a:extLst>
                <a:ext uri="{FF2B5EF4-FFF2-40B4-BE49-F238E27FC236}">
                  <a16:creationId xmlns:a16="http://schemas.microsoft.com/office/drawing/2014/main" id="{6F4E245E-D078-4EC5-9D0A-7DFA4404A567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2486022" y="3203550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1191 w 40"/>
                <a:gd name="T3" fmla="*/ 19050 h 18"/>
                <a:gd name="T4" fmla="*/ 2381 w 40"/>
                <a:gd name="T5" fmla="*/ 34925 h 18"/>
                <a:gd name="T6" fmla="*/ 3969 w 40"/>
                <a:gd name="T7" fmla="*/ 44450 h 18"/>
                <a:gd name="T8" fmla="*/ 5953 w 40"/>
                <a:gd name="T9" fmla="*/ 50800 h 18"/>
                <a:gd name="T10" fmla="*/ 10716 w 40"/>
                <a:gd name="T11" fmla="*/ 57150 h 18"/>
                <a:gd name="T12" fmla="*/ 15875 w 40"/>
                <a:gd name="T13" fmla="*/ 57150 h 18"/>
                <a:gd name="T14" fmla="*/ 15875 w 40"/>
                <a:gd name="T15" fmla="*/ 0 h 18"/>
                <a:gd name="T16" fmla="*/ 11906 w 40"/>
                <a:gd name="T17" fmla="*/ 0 h 18"/>
                <a:gd name="T18" fmla="*/ 7938 w 40"/>
                <a:gd name="T19" fmla="*/ 0 h 18"/>
                <a:gd name="T20" fmla="*/ 3969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7" name="Freeform 52">
              <a:extLst>
                <a:ext uri="{FF2B5EF4-FFF2-40B4-BE49-F238E27FC236}">
                  <a16:creationId xmlns:a16="http://schemas.microsoft.com/office/drawing/2014/main" id="{B34B7F29-120D-47D3-B561-93C8EEE7DB9E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495547" y="3228950"/>
              <a:ext cx="3175" cy="57150"/>
            </a:xfrm>
            <a:custGeom>
              <a:avLst/>
              <a:gdLst>
                <a:gd name="T0" fmla="*/ 1155 w 11"/>
                <a:gd name="T1" fmla="*/ 57150 h 32"/>
                <a:gd name="T2" fmla="*/ 1732 w 11"/>
                <a:gd name="T3" fmla="*/ 50006 h 32"/>
                <a:gd name="T4" fmla="*/ 2309 w 11"/>
                <a:gd name="T5" fmla="*/ 44648 h 32"/>
                <a:gd name="T6" fmla="*/ 2598 w 11"/>
                <a:gd name="T7" fmla="*/ 39291 h 32"/>
                <a:gd name="T8" fmla="*/ 2886 w 11"/>
                <a:gd name="T9" fmla="*/ 32147 h 32"/>
                <a:gd name="T10" fmla="*/ 3175 w 11"/>
                <a:gd name="T11" fmla="*/ 16073 h 32"/>
                <a:gd name="T12" fmla="*/ 3175 w 11"/>
                <a:gd name="T13" fmla="*/ 0 h 32"/>
                <a:gd name="T14" fmla="*/ 1732 w 11"/>
                <a:gd name="T15" fmla="*/ 5358 h 32"/>
                <a:gd name="T16" fmla="*/ 866 w 11"/>
                <a:gd name="T17" fmla="*/ 12502 h 32"/>
                <a:gd name="T18" fmla="*/ 289 w 11"/>
                <a:gd name="T19" fmla="*/ 19645 h 32"/>
                <a:gd name="T20" fmla="*/ 0 w 11"/>
                <a:gd name="T21" fmla="*/ 28575 h 32"/>
                <a:gd name="T22" fmla="*/ 0 w 11"/>
                <a:gd name="T23" fmla="*/ 35719 h 32"/>
                <a:gd name="T24" fmla="*/ 289 w 11"/>
                <a:gd name="T25" fmla="*/ 42863 h 32"/>
                <a:gd name="T26" fmla="*/ 577 w 11"/>
                <a:gd name="T27" fmla="*/ 50006 h 32"/>
                <a:gd name="T28" fmla="*/ 1155 w 11"/>
                <a:gd name="T29" fmla="*/ 5715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8" name="Freeform 53">
              <a:extLst>
                <a:ext uri="{FF2B5EF4-FFF2-40B4-BE49-F238E27FC236}">
                  <a16:creationId xmlns:a16="http://schemas.microsoft.com/office/drawing/2014/main" id="{16ED93F7-9F97-448B-A3FC-AB13DA405BB3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517772" y="3259113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55562 h 24"/>
                <a:gd name="T4" fmla="*/ 1588 w 14"/>
                <a:gd name="T5" fmla="*/ 2778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9" name="Freeform 54">
              <a:extLst>
                <a:ext uri="{FF2B5EF4-FFF2-40B4-BE49-F238E27FC236}">
                  <a16:creationId xmlns:a16="http://schemas.microsoft.com/office/drawing/2014/main" id="{34FECD01-FCDC-493D-B215-C856EA7276C7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479672" y="3271812"/>
              <a:ext cx="15875" cy="58737"/>
            </a:xfrm>
            <a:custGeom>
              <a:avLst/>
              <a:gdLst>
                <a:gd name="T0" fmla="*/ 0 w 27"/>
                <a:gd name="T1" fmla="*/ 39158 h 18"/>
                <a:gd name="T2" fmla="*/ 4116 w 27"/>
                <a:gd name="T3" fmla="*/ 48948 h 18"/>
                <a:gd name="T4" fmla="*/ 7644 w 27"/>
                <a:gd name="T5" fmla="*/ 58737 h 18"/>
                <a:gd name="T6" fmla="*/ 12935 w 27"/>
                <a:gd name="T7" fmla="*/ 22842 h 18"/>
                <a:gd name="T8" fmla="*/ 15875 w 27"/>
                <a:gd name="T9" fmla="*/ 0 h 18"/>
                <a:gd name="T10" fmla="*/ 12935 w 27"/>
                <a:gd name="T11" fmla="*/ 0 h 18"/>
                <a:gd name="T12" fmla="*/ 10583 w 27"/>
                <a:gd name="T13" fmla="*/ 3263 h 18"/>
                <a:gd name="T14" fmla="*/ 7644 w 27"/>
                <a:gd name="T15" fmla="*/ 6526 h 18"/>
                <a:gd name="T16" fmla="*/ 5880 w 27"/>
                <a:gd name="T17" fmla="*/ 13053 h 18"/>
                <a:gd name="T18" fmla="*/ 2940 w 27"/>
                <a:gd name="T19" fmla="*/ 26105 h 18"/>
                <a:gd name="T20" fmla="*/ 0 w 27"/>
                <a:gd name="T21" fmla="*/ 3915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0" name="Freeform 55">
              <a:extLst>
                <a:ext uri="{FF2B5EF4-FFF2-40B4-BE49-F238E27FC236}">
                  <a16:creationId xmlns:a16="http://schemas.microsoft.com/office/drawing/2014/main" id="{6A9909B2-6A8B-49DE-AF51-5BF36BAF96CF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465385" y="3336899"/>
              <a:ext cx="23812" cy="57150"/>
            </a:xfrm>
            <a:custGeom>
              <a:avLst/>
              <a:gdLst>
                <a:gd name="T0" fmla="*/ 0 w 47"/>
                <a:gd name="T1" fmla="*/ 41988 h 49"/>
                <a:gd name="T2" fmla="*/ 507 w 47"/>
                <a:gd name="T3" fmla="*/ 45487 h 49"/>
                <a:gd name="T4" fmla="*/ 1013 w 47"/>
                <a:gd name="T5" fmla="*/ 47819 h 49"/>
                <a:gd name="T6" fmla="*/ 2027 w 47"/>
                <a:gd name="T7" fmla="*/ 50152 h 49"/>
                <a:gd name="T8" fmla="*/ 3040 w 47"/>
                <a:gd name="T9" fmla="*/ 52485 h 49"/>
                <a:gd name="T10" fmla="*/ 6080 w 47"/>
                <a:gd name="T11" fmla="*/ 55984 h 49"/>
                <a:gd name="T12" fmla="*/ 7093 w 47"/>
                <a:gd name="T13" fmla="*/ 57150 h 49"/>
                <a:gd name="T14" fmla="*/ 9119 w 47"/>
                <a:gd name="T15" fmla="*/ 57150 h 49"/>
                <a:gd name="T16" fmla="*/ 12159 w 47"/>
                <a:gd name="T17" fmla="*/ 53651 h 49"/>
                <a:gd name="T18" fmla="*/ 14693 w 47"/>
                <a:gd name="T19" fmla="*/ 48986 h 49"/>
                <a:gd name="T20" fmla="*/ 17732 w 47"/>
                <a:gd name="T21" fmla="*/ 45487 h 49"/>
                <a:gd name="T22" fmla="*/ 19759 w 47"/>
                <a:gd name="T23" fmla="*/ 40821 h 49"/>
                <a:gd name="T24" fmla="*/ 22292 w 47"/>
                <a:gd name="T25" fmla="*/ 36156 h 49"/>
                <a:gd name="T26" fmla="*/ 23305 w 47"/>
                <a:gd name="T27" fmla="*/ 31491 h 49"/>
                <a:gd name="T28" fmla="*/ 23812 w 47"/>
                <a:gd name="T29" fmla="*/ 27992 h 49"/>
                <a:gd name="T30" fmla="*/ 23812 w 47"/>
                <a:gd name="T31" fmla="*/ 13996 h 49"/>
                <a:gd name="T32" fmla="*/ 23812 w 47"/>
                <a:gd name="T33" fmla="*/ 0 h 49"/>
                <a:gd name="T34" fmla="*/ 13679 w 47"/>
                <a:gd name="T35" fmla="*/ 0 h 49"/>
                <a:gd name="T36" fmla="*/ 8613 w 47"/>
                <a:gd name="T37" fmla="*/ 9331 h 49"/>
                <a:gd name="T38" fmla="*/ 4560 w 47"/>
                <a:gd name="T39" fmla="*/ 18661 h 49"/>
                <a:gd name="T40" fmla="*/ 2533 w 47"/>
                <a:gd name="T41" fmla="*/ 23327 h 49"/>
                <a:gd name="T42" fmla="*/ 1013 w 47"/>
                <a:gd name="T43" fmla="*/ 29158 h 49"/>
                <a:gd name="T44" fmla="*/ 507 w 47"/>
                <a:gd name="T45" fmla="*/ 34990 h 49"/>
                <a:gd name="T46" fmla="*/ 0 w 47"/>
                <a:gd name="T47" fmla="*/ 4198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1" name="Freeform 56">
              <a:extLst>
                <a:ext uri="{FF2B5EF4-FFF2-40B4-BE49-F238E27FC236}">
                  <a16:creationId xmlns:a16="http://schemas.microsoft.com/office/drawing/2014/main" id="{8FAF33BF-E97E-44B7-83E9-0EF84F5407E8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484435" y="3313087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5400 h 9"/>
                <a:gd name="T4" fmla="*/ 1465 w 26"/>
                <a:gd name="T5" fmla="*/ 44450 h 9"/>
                <a:gd name="T6" fmla="*/ 2931 w 26"/>
                <a:gd name="T7" fmla="*/ 50800 h 9"/>
                <a:gd name="T8" fmla="*/ 5373 w 26"/>
                <a:gd name="T9" fmla="*/ 57150 h 9"/>
                <a:gd name="T10" fmla="*/ 7327 w 26"/>
                <a:gd name="T11" fmla="*/ 50800 h 9"/>
                <a:gd name="T12" fmla="*/ 9769 w 26"/>
                <a:gd name="T13" fmla="*/ 44450 h 9"/>
                <a:gd name="T14" fmla="*/ 11235 w 26"/>
                <a:gd name="T15" fmla="*/ 25400 h 9"/>
                <a:gd name="T16" fmla="*/ 1270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2" name="Freeform 57">
              <a:extLst>
                <a:ext uri="{FF2B5EF4-FFF2-40B4-BE49-F238E27FC236}">
                  <a16:creationId xmlns:a16="http://schemas.microsoft.com/office/drawing/2014/main" id="{83DD51AE-9A7F-4DD9-8B0F-DF29771027F0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1966911" y="2984477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57150 h 18"/>
                <a:gd name="T4" fmla="*/ 2442 w 39"/>
                <a:gd name="T5" fmla="*/ 57150 h 18"/>
                <a:gd name="T6" fmla="*/ 5292 w 39"/>
                <a:gd name="T7" fmla="*/ 57150 h 18"/>
                <a:gd name="T8" fmla="*/ 9362 w 39"/>
                <a:gd name="T9" fmla="*/ 53975 h 18"/>
                <a:gd name="T10" fmla="*/ 12212 w 39"/>
                <a:gd name="T11" fmla="*/ 44450 h 18"/>
                <a:gd name="T12" fmla="*/ 13840 w 39"/>
                <a:gd name="T13" fmla="*/ 38100 h 18"/>
                <a:gd name="T14" fmla="*/ 15061 w 39"/>
                <a:gd name="T15" fmla="*/ 31750 h 18"/>
                <a:gd name="T16" fmla="*/ 15468 w 39"/>
                <a:gd name="T17" fmla="*/ 25400 h 18"/>
                <a:gd name="T18" fmla="*/ 15875 w 39"/>
                <a:gd name="T19" fmla="*/ 19050 h 18"/>
                <a:gd name="T20" fmla="*/ 11804 w 39"/>
                <a:gd name="T21" fmla="*/ 15875 h 18"/>
                <a:gd name="T22" fmla="*/ 7734 w 39"/>
                <a:gd name="T23" fmla="*/ 9525 h 18"/>
                <a:gd name="T24" fmla="*/ 4071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53" name="Group 58">
              <a:extLst>
                <a:ext uri="{FF2B5EF4-FFF2-40B4-BE49-F238E27FC236}">
                  <a16:creationId xmlns:a16="http://schemas.microsoft.com/office/drawing/2014/main" id="{2A2DD182-E8AD-443B-977F-3F1F118EF302}"/>
                </a:ext>
              </a:extLst>
            </p:cNvPr>
            <p:cNvGrpSpPr>
              <a:grpSpLocks/>
            </p:cNvGrpSpPr>
            <p:nvPr>
              <p:custDataLst>
                <p:tags r:id="rId48"/>
              </p:custDataLst>
            </p:nvPr>
          </p:nvGrpSpPr>
          <p:grpSpPr bwMode="auto">
            <a:xfrm>
              <a:off x="2092323" y="2817791"/>
              <a:ext cx="131763" cy="195260"/>
              <a:chOff x="1199" y="2121"/>
              <a:chExt cx="97" cy="123"/>
            </a:xfrm>
          </p:grpSpPr>
          <p:sp>
            <p:nvSpPr>
              <p:cNvPr id="536" name="Freeform 59">
                <a:extLst>
                  <a:ext uri="{FF2B5EF4-FFF2-40B4-BE49-F238E27FC236}">
                    <a16:creationId xmlns:a16="http://schemas.microsoft.com/office/drawing/2014/main" id="{A87AB111-B2EF-4E5C-8D1C-815977442B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8 h 25"/>
                  <a:gd name="T2" fmla="*/ 2 w 52"/>
                  <a:gd name="T3" fmla="*/ 8 h 25"/>
                  <a:gd name="T4" fmla="*/ 5 w 52"/>
                  <a:gd name="T5" fmla="*/ 8 h 25"/>
                  <a:gd name="T6" fmla="*/ 7 w 52"/>
                  <a:gd name="T7" fmla="*/ 7 h 25"/>
                  <a:gd name="T8" fmla="*/ 9 w 52"/>
                  <a:gd name="T9" fmla="*/ 6 h 25"/>
                  <a:gd name="T10" fmla="*/ 12 w 52"/>
                  <a:gd name="T11" fmla="*/ 5 h 25"/>
                  <a:gd name="T12" fmla="*/ 13 w 52"/>
                  <a:gd name="T13" fmla="*/ 4 h 25"/>
                  <a:gd name="T14" fmla="*/ 15 w 52"/>
                  <a:gd name="T15" fmla="*/ 2 h 25"/>
                  <a:gd name="T16" fmla="*/ 16 w 52"/>
                  <a:gd name="T17" fmla="*/ 0 h 25"/>
                  <a:gd name="T18" fmla="*/ 12 w 52"/>
                  <a:gd name="T19" fmla="*/ 0 h 25"/>
                  <a:gd name="T20" fmla="*/ 10 w 52"/>
                  <a:gd name="T21" fmla="*/ 0 h 25"/>
                  <a:gd name="T22" fmla="*/ 7 w 52"/>
                  <a:gd name="T23" fmla="*/ 0 h 25"/>
                  <a:gd name="T24" fmla="*/ 5 w 52"/>
                  <a:gd name="T25" fmla="*/ 1 h 25"/>
                  <a:gd name="T26" fmla="*/ 3 w 52"/>
                  <a:gd name="T27" fmla="*/ 2 h 25"/>
                  <a:gd name="T28" fmla="*/ 2 w 52"/>
                  <a:gd name="T29" fmla="*/ 3 h 25"/>
                  <a:gd name="T30" fmla="*/ 1 w 52"/>
                  <a:gd name="T31" fmla="*/ 5 h 25"/>
                  <a:gd name="T32" fmla="*/ 0 w 52"/>
                  <a:gd name="T33" fmla="*/ 8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37" name="Freeform 60">
                <a:extLst>
                  <a:ext uri="{FF2B5EF4-FFF2-40B4-BE49-F238E27FC236}">
                    <a16:creationId xmlns:a16="http://schemas.microsoft.com/office/drawing/2014/main" id="{FE9E54E7-270B-4B7C-9E70-3B8172D792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2 h 13"/>
                  <a:gd name="T4" fmla="*/ 0 w 33"/>
                  <a:gd name="T5" fmla="*/ 4 h 13"/>
                  <a:gd name="T6" fmla="*/ 3 w 33"/>
                  <a:gd name="T7" fmla="*/ 4 h 13"/>
                  <a:gd name="T8" fmla="*/ 5 w 33"/>
                  <a:gd name="T9" fmla="*/ 4 h 13"/>
                  <a:gd name="T10" fmla="*/ 8 w 33"/>
                  <a:gd name="T11" fmla="*/ 3 h 13"/>
                  <a:gd name="T12" fmla="*/ 11 w 33"/>
                  <a:gd name="T13" fmla="*/ 2 h 13"/>
                  <a:gd name="T14" fmla="*/ 8 w 33"/>
                  <a:gd name="T15" fmla="*/ 1 h 13"/>
                  <a:gd name="T16" fmla="*/ 5 w 33"/>
                  <a:gd name="T17" fmla="*/ 0 h 13"/>
                  <a:gd name="T18" fmla="*/ 3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38" name="Freeform 61">
                <a:extLst>
                  <a:ext uri="{FF2B5EF4-FFF2-40B4-BE49-F238E27FC236}">
                    <a16:creationId xmlns:a16="http://schemas.microsoft.com/office/drawing/2014/main" id="{8843FAC3-1177-4EB6-A67B-9AE8D3679B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8 w 67"/>
                  <a:gd name="T1" fmla="*/ 6 h 86"/>
                  <a:gd name="T2" fmla="*/ 0 w 67"/>
                  <a:gd name="T3" fmla="*/ 0 h 86"/>
                  <a:gd name="T4" fmla="*/ 8 w 67"/>
                  <a:gd name="T5" fmla="*/ 0 h 86"/>
                  <a:gd name="T6" fmla="*/ 9 w 67"/>
                  <a:gd name="T7" fmla="*/ 1 h 86"/>
                  <a:gd name="T8" fmla="*/ 10 w 67"/>
                  <a:gd name="T9" fmla="*/ 3 h 86"/>
                  <a:gd name="T10" fmla="*/ 11 w 67"/>
                  <a:gd name="T11" fmla="*/ 4 h 86"/>
                  <a:gd name="T12" fmla="*/ 12 w 67"/>
                  <a:gd name="T13" fmla="*/ 5 h 86"/>
                  <a:gd name="T14" fmla="*/ 14 w 67"/>
                  <a:gd name="T15" fmla="*/ 6 h 86"/>
                  <a:gd name="T16" fmla="*/ 16 w 67"/>
                  <a:gd name="T17" fmla="*/ 6 h 86"/>
                  <a:gd name="T18" fmla="*/ 17 w 67"/>
                  <a:gd name="T19" fmla="*/ 10 h 86"/>
                  <a:gd name="T20" fmla="*/ 19 w 67"/>
                  <a:gd name="T21" fmla="*/ 13 h 86"/>
                  <a:gd name="T22" fmla="*/ 19 w 67"/>
                  <a:gd name="T23" fmla="*/ 15 h 86"/>
                  <a:gd name="T24" fmla="*/ 20 w 67"/>
                  <a:gd name="T25" fmla="*/ 16 h 86"/>
                  <a:gd name="T26" fmla="*/ 20 w 67"/>
                  <a:gd name="T27" fmla="*/ 18 h 86"/>
                  <a:gd name="T28" fmla="*/ 20 w 67"/>
                  <a:gd name="T29" fmla="*/ 20 h 86"/>
                  <a:gd name="T30" fmla="*/ 19 w 67"/>
                  <a:gd name="T31" fmla="*/ 24 h 86"/>
                  <a:gd name="T32" fmla="*/ 18 w 67"/>
                  <a:gd name="T33" fmla="*/ 28 h 86"/>
                  <a:gd name="T34" fmla="*/ 16 w 67"/>
                  <a:gd name="T35" fmla="*/ 22 h 86"/>
                  <a:gd name="T36" fmla="*/ 15 w 67"/>
                  <a:gd name="T37" fmla="*/ 18 h 86"/>
                  <a:gd name="T38" fmla="*/ 15 w 67"/>
                  <a:gd name="T39" fmla="*/ 15 h 86"/>
                  <a:gd name="T40" fmla="*/ 15 w 67"/>
                  <a:gd name="T41" fmla="*/ 13 h 86"/>
                  <a:gd name="T42" fmla="*/ 15 w 67"/>
                  <a:gd name="T43" fmla="*/ 11 h 86"/>
                  <a:gd name="T44" fmla="*/ 16 w 67"/>
                  <a:gd name="T45" fmla="*/ 10 h 86"/>
                  <a:gd name="T46" fmla="*/ 13 w 67"/>
                  <a:gd name="T47" fmla="*/ 10 h 86"/>
                  <a:gd name="T48" fmla="*/ 10 w 67"/>
                  <a:gd name="T49" fmla="*/ 9 h 86"/>
                  <a:gd name="T50" fmla="*/ 10 w 67"/>
                  <a:gd name="T51" fmla="*/ 9 h 86"/>
                  <a:gd name="T52" fmla="*/ 8 w 67"/>
                  <a:gd name="T53" fmla="*/ 8 h 86"/>
                  <a:gd name="T54" fmla="*/ 8 w 67"/>
                  <a:gd name="T55" fmla="*/ 7 h 86"/>
                  <a:gd name="T56" fmla="*/ 8 w 67"/>
                  <a:gd name="T57" fmla="*/ 6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39" name="Freeform 62">
                <a:extLst>
                  <a:ext uri="{FF2B5EF4-FFF2-40B4-BE49-F238E27FC236}">
                    <a16:creationId xmlns:a16="http://schemas.microsoft.com/office/drawing/2014/main" id="{C6FEAB20-7609-4860-B195-6195A8745C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9 w 49"/>
                  <a:gd name="T1" fmla="*/ 4 h 86"/>
                  <a:gd name="T2" fmla="*/ 7 w 49"/>
                  <a:gd name="T3" fmla="*/ 2 h 86"/>
                  <a:gd name="T4" fmla="*/ 5 w 49"/>
                  <a:gd name="T5" fmla="*/ 0 h 86"/>
                  <a:gd name="T6" fmla="*/ 3 w 49"/>
                  <a:gd name="T7" fmla="*/ 2 h 86"/>
                  <a:gd name="T8" fmla="*/ 2 w 49"/>
                  <a:gd name="T9" fmla="*/ 4 h 86"/>
                  <a:gd name="T10" fmla="*/ 0 w 49"/>
                  <a:gd name="T11" fmla="*/ 7 h 86"/>
                  <a:gd name="T12" fmla="*/ 0 w 49"/>
                  <a:gd name="T13" fmla="*/ 10 h 86"/>
                  <a:gd name="T14" fmla="*/ 0 w 49"/>
                  <a:gd name="T15" fmla="*/ 12 h 86"/>
                  <a:gd name="T16" fmla="*/ 1 w 49"/>
                  <a:gd name="T17" fmla="*/ 14 h 86"/>
                  <a:gd name="T18" fmla="*/ 2 w 49"/>
                  <a:gd name="T19" fmla="*/ 16 h 86"/>
                  <a:gd name="T20" fmla="*/ 3 w 49"/>
                  <a:gd name="T21" fmla="*/ 19 h 86"/>
                  <a:gd name="T22" fmla="*/ 4 w 49"/>
                  <a:gd name="T23" fmla="*/ 21 h 86"/>
                  <a:gd name="T24" fmla="*/ 6 w 49"/>
                  <a:gd name="T25" fmla="*/ 24 h 86"/>
                  <a:gd name="T26" fmla="*/ 7 w 49"/>
                  <a:gd name="T27" fmla="*/ 26 h 86"/>
                  <a:gd name="T28" fmla="*/ 9 w 49"/>
                  <a:gd name="T29" fmla="*/ 28 h 86"/>
                  <a:gd name="T30" fmla="*/ 10 w 49"/>
                  <a:gd name="T31" fmla="*/ 26 h 86"/>
                  <a:gd name="T32" fmla="*/ 12 w 49"/>
                  <a:gd name="T33" fmla="*/ 22 h 86"/>
                  <a:gd name="T34" fmla="*/ 14 w 49"/>
                  <a:gd name="T35" fmla="*/ 19 h 86"/>
                  <a:gd name="T36" fmla="*/ 15 w 49"/>
                  <a:gd name="T37" fmla="*/ 15 h 86"/>
                  <a:gd name="T38" fmla="*/ 16 w 49"/>
                  <a:gd name="T39" fmla="*/ 13 h 86"/>
                  <a:gd name="T40" fmla="*/ 16 w 49"/>
                  <a:gd name="T41" fmla="*/ 11 h 86"/>
                  <a:gd name="T42" fmla="*/ 16 w 49"/>
                  <a:gd name="T43" fmla="*/ 8 h 86"/>
                  <a:gd name="T44" fmla="*/ 16 w 49"/>
                  <a:gd name="T45" fmla="*/ 7 h 86"/>
                  <a:gd name="T46" fmla="*/ 14 w 49"/>
                  <a:gd name="T47" fmla="*/ 6 h 86"/>
                  <a:gd name="T48" fmla="*/ 13 w 49"/>
                  <a:gd name="T49" fmla="*/ 5 h 86"/>
                  <a:gd name="T50" fmla="*/ 11 w 49"/>
                  <a:gd name="T51" fmla="*/ 4 h 86"/>
                  <a:gd name="T52" fmla="*/ 9 w 49"/>
                  <a:gd name="T53" fmla="*/ 4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40" name="Freeform 63">
                <a:extLst>
                  <a:ext uri="{FF2B5EF4-FFF2-40B4-BE49-F238E27FC236}">
                    <a16:creationId xmlns:a16="http://schemas.microsoft.com/office/drawing/2014/main" id="{7A00D5C8-5C60-44C3-B30B-C03188C190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4 h 12"/>
                  <a:gd name="T2" fmla="*/ 2 w 6"/>
                  <a:gd name="T3" fmla="*/ 0 h 12"/>
                  <a:gd name="T4" fmla="*/ 1 w 6"/>
                  <a:gd name="T5" fmla="*/ 0 h 12"/>
                  <a:gd name="T6" fmla="*/ 1 w 6"/>
                  <a:gd name="T7" fmla="*/ 1 h 12"/>
                  <a:gd name="T8" fmla="*/ 0 w 6"/>
                  <a:gd name="T9" fmla="*/ 1 h 12"/>
                  <a:gd name="T10" fmla="*/ 0 w 6"/>
                  <a:gd name="T11" fmla="*/ 2 h 12"/>
                  <a:gd name="T12" fmla="*/ 0 w 6"/>
                  <a:gd name="T13" fmla="*/ 3 h 12"/>
                  <a:gd name="T14" fmla="*/ 0 w 6"/>
                  <a:gd name="T15" fmla="*/ 4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41" name="Freeform 64">
                <a:extLst>
                  <a:ext uri="{FF2B5EF4-FFF2-40B4-BE49-F238E27FC236}">
                    <a16:creationId xmlns:a16="http://schemas.microsoft.com/office/drawing/2014/main" id="{A442455C-46F7-4E89-8E60-02FC6514EA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4 w 39"/>
                  <a:gd name="T3" fmla="*/ 3 h 48"/>
                  <a:gd name="T4" fmla="*/ 7 w 39"/>
                  <a:gd name="T5" fmla="*/ 5 h 48"/>
                  <a:gd name="T6" fmla="*/ 11 w 39"/>
                  <a:gd name="T7" fmla="*/ 8 h 48"/>
                  <a:gd name="T8" fmla="*/ 13 w 39"/>
                  <a:gd name="T9" fmla="*/ 9 h 48"/>
                  <a:gd name="T10" fmla="*/ 12 w 39"/>
                  <a:gd name="T11" fmla="*/ 12 h 48"/>
                  <a:gd name="T12" fmla="*/ 11 w 39"/>
                  <a:gd name="T13" fmla="*/ 15 h 48"/>
                  <a:gd name="T14" fmla="*/ 6 w 39"/>
                  <a:gd name="T15" fmla="*/ 11 h 48"/>
                  <a:gd name="T16" fmla="*/ 3 w 39"/>
                  <a:gd name="T17" fmla="*/ 8 h 48"/>
                  <a:gd name="T18" fmla="*/ 1 w 39"/>
                  <a:gd name="T19" fmla="*/ 7 h 48"/>
                  <a:gd name="T20" fmla="*/ 1 w 39"/>
                  <a:gd name="T21" fmla="*/ 5 h 48"/>
                  <a:gd name="T22" fmla="*/ 0 w 39"/>
                  <a:gd name="T23" fmla="*/ 3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42" name="Freeform 65">
                <a:extLst>
                  <a:ext uri="{FF2B5EF4-FFF2-40B4-BE49-F238E27FC236}">
                    <a16:creationId xmlns:a16="http://schemas.microsoft.com/office/drawing/2014/main" id="{24779B8B-E1ED-4A25-9BD0-25506A2808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3 w 16"/>
                  <a:gd name="T1" fmla="*/ 0 h 43"/>
                  <a:gd name="T2" fmla="*/ 4 w 16"/>
                  <a:gd name="T3" fmla="*/ 3 h 43"/>
                  <a:gd name="T4" fmla="*/ 6 w 16"/>
                  <a:gd name="T5" fmla="*/ 5 h 43"/>
                  <a:gd name="T6" fmla="*/ 6 w 16"/>
                  <a:gd name="T7" fmla="*/ 7 h 43"/>
                  <a:gd name="T8" fmla="*/ 6 w 16"/>
                  <a:gd name="T9" fmla="*/ 9 h 43"/>
                  <a:gd name="T10" fmla="*/ 6 w 16"/>
                  <a:gd name="T11" fmla="*/ 10 h 43"/>
                  <a:gd name="T12" fmla="*/ 4 w 16"/>
                  <a:gd name="T13" fmla="*/ 11 h 43"/>
                  <a:gd name="T14" fmla="*/ 3 w 16"/>
                  <a:gd name="T15" fmla="*/ 13 h 43"/>
                  <a:gd name="T16" fmla="*/ 0 w 16"/>
                  <a:gd name="T17" fmla="*/ 14 h 43"/>
                  <a:gd name="T18" fmla="*/ 1 w 16"/>
                  <a:gd name="T19" fmla="*/ 9 h 43"/>
                  <a:gd name="T20" fmla="*/ 2 w 16"/>
                  <a:gd name="T21" fmla="*/ 6 h 43"/>
                  <a:gd name="T22" fmla="*/ 2 w 16"/>
                  <a:gd name="T23" fmla="*/ 3 h 43"/>
                  <a:gd name="T24" fmla="*/ 3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43" name="Freeform 66">
                <a:extLst>
                  <a:ext uri="{FF2B5EF4-FFF2-40B4-BE49-F238E27FC236}">
                    <a16:creationId xmlns:a16="http://schemas.microsoft.com/office/drawing/2014/main" id="{D148BCA9-5E95-4A80-8B08-2419E42B78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8 w 24"/>
                  <a:gd name="T1" fmla="*/ 12 h 37"/>
                  <a:gd name="T2" fmla="*/ 6 w 24"/>
                  <a:gd name="T3" fmla="*/ 9 h 37"/>
                  <a:gd name="T4" fmla="*/ 5 w 24"/>
                  <a:gd name="T5" fmla="*/ 6 h 37"/>
                  <a:gd name="T6" fmla="*/ 4 w 24"/>
                  <a:gd name="T7" fmla="*/ 3 h 37"/>
                  <a:gd name="T8" fmla="*/ 4 w 24"/>
                  <a:gd name="T9" fmla="*/ 0 h 37"/>
                  <a:gd name="T10" fmla="*/ 2 w 24"/>
                  <a:gd name="T11" fmla="*/ 3 h 37"/>
                  <a:gd name="T12" fmla="*/ 1 w 24"/>
                  <a:gd name="T13" fmla="*/ 6 h 37"/>
                  <a:gd name="T14" fmla="*/ 0 w 24"/>
                  <a:gd name="T15" fmla="*/ 8 h 37"/>
                  <a:gd name="T16" fmla="*/ 0 w 24"/>
                  <a:gd name="T17" fmla="*/ 10 h 37"/>
                  <a:gd name="T18" fmla="*/ 0 w 24"/>
                  <a:gd name="T19" fmla="*/ 11 h 37"/>
                  <a:gd name="T20" fmla="*/ 1 w 24"/>
                  <a:gd name="T21" fmla="*/ 11 h 37"/>
                  <a:gd name="T22" fmla="*/ 1 w 24"/>
                  <a:gd name="T23" fmla="*/ 12 h 37"/>
                  <a:gd name="T24" fmla="*/ 2 w 24"/>
                  <a:gd name="T25" fmla="*/ 12 h 37"/>
                  <a:gd name="T26" fmla="*/ 5 w 24"/>
                  <a:gd name="T27" fmla="*/ 12 h 37"/>
                  <a:gd name="T28" fmla="*/ 8 w 24"/>
                  <a:gd name="T29" fmla="*/ 12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44" name="Freeform 67">
                <a:extLst>
                  <a:ext uri="{FF2B5EF4-FFF2-40B4-BE49-F238E27FC236}">
                    <a16:creationId xmlns:a16="http://schemas.microsoft.com/office/drawing/2014/main" id="{B0E5062A-75EB-4CF6-9E52-C00DD0CBFA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1 w 34"/>
                  <a:gd name="T1" fmla="*/ 0 h 55"/>
                  <a:gd name="T2" fmla="*/ 11 w 34"/>
                  <a:gd name="T3" fmla="*/ 4 h 55"/>
                  <a:gd name="T4" fmla="*/ 11 w 34"/>
                  <a:gd name="T5" fmla="*/ 8 h 55"/>
                  <a:gd name="T6" fmla="*/ 11 w 34"/>
                  <a:gd name="T7" fmla="*/ 10 h 55"/>
                  <a:gd name="T8" fmla="*/ 10 w 34"/>
                  <a:gd name="T9" fmla="*/ 12 h 55"/>
                  <a:gd name="T10" fmla="*/ 9 w 34"/>
                  <a:gd name="T11" fmla="*/ 13 h 55"/>
                  <a:gd name="T12" fmla="*/ 8 w 34"/>
                  <a:gd name="T13" fmla="*/ 15 h 55"/>
                  <a:gd name="T14" fmla="*/ 6 w 34"/>
                  <a:gd name="T15" fmla="*/ 16 h 55"/>
                  <a:gd name="T16" fmla="*/ 5 w 34"/>
                  <a:gd name="T17" fmla="*/ 16 h 55"/>
                  <a:gd name="T18" fmla="*/ 3 w 34"/>
                  <a:gd name="T19" fmla="*/ 17 h 55"/>
                  <a:gd name="T20" fmla="*/ 0 w 34"/>
                  <a:gd name="T21" fmla="*/ 17 h 55"/>
                  <a:gd name="T22" fmla="*/ 3 w 34"/>
                  <a:gd name="T23" fmla="*/ 11 h 55"/>
                  <a:gd name="T24" fmla="*/ 5 w 34"/>
                  <a:gd name="T25" fmla="*/ 6 h 55"/>
                  <a:gd name="T26" fmla="*/ 6 w 34"/>
                  <a:gd name="T27" fmla="*/ 5 h 55"/>
                  <a:gd name="T28" fmla="*/ 7 w 34"/>
                  <a:gd name="T29" fmla="*/ 3 h 55"/>
                  <a:gd name="T30" fmla="*/ 9 w 34"/>
                  <a:gd name="T31" fmla="*/ 2 h 55"/>
                  <a:gd name="T32" fmla="*/ 1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45" name="Freeform 68">
                <a:extLst>
                  <a:ext uri="{FF2B5EF4-FFF2-40B4-BE49-F238E27FC236}">
                    <a16:creationId xmlns:a16="http://schemas.microsoft.com/office/drawing/2014/main" id="{E2ABAE04-AC80-4B6C-B30E-C6145F132B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1 w 33"/>
                  <a:gd name="T3" fmla="*/ 1 h 12"/>
                  <a:gd name="T4" fmla="*/ 2 w 33"/>
                  <a:gd name="T5" fmla="*/ 2 h 12"/>
                  <a:gd name="T6" fmla="*/ 3 w 33"/>
                  <a:gd name="T7" fmla="*/ 3 h 12"/>
                  <a:gd name="T8" fmla="*/ 5 w 33"/>
                  <a:gd name="T9" fmla="*/ 4 h 12"/>
                  <a:gd name="T10" fmla="*/ 8 w 33"/>
                  <a:gd name="T11" fmla="*/ 4 h 12"/>
                  <a:gd name="T12" fmla="*/ 11 w 33"/>
                  <a:gd name="T13" fmla="*/ 4 h 12"/>
                  <a:gd name="T14" fmla="*/ 9 w 33"/>
                  <a:gd name="T15" fmla="*/ 3 h 12"/>
                  <a:gd name="T16" fmla="*/ 6 w 33"/>
                  <a:gd name="T17" fmla="*/ 1 h 12"/>
                  <a:gd name="T18" fmla="*/ 3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54" name="Freeform 69">
              <a:extLst>
                <a:ext uri="{FF2B5EF4-FFF2-40B4-BE49-F238E27FC236}">
                  <a16:creationId xmlns:a16="http://schemas.microsoft.com/office/drawing/2014/main" id="{2E17D6B9-CB87-4D4D-A3E3-58537606AB1F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7905741" y="4244941"/>
              <a:ext cx="12700" cy="57150"/>
            </a:xfrm>
            <a:custGeom>
              <a:avLst/>
              <a:gdLst>
                <a:gd name="T0" fmla="*/ 0 w 33"/>
                <a:gd name="T1" fmla="*/ 57150 h 62"/>
                <a:gd name="T2" fmla="*/ 0 w 33"/>
                <a:gd name="T3" fmla="*/ 48854 h 62"/>
                <a:gd name="T4" fmla="*/ 0 w 33"/>
                <a:gd name="T5" fmla="*/ 41480 h 62"/>
                <a:gd name="T6" fmla="*/ 0 w 33"/>
                <a:gd name="T7" fmla="*/ 34106 h 62"/>
                <a:gd name="T8" fmla="*/ 0 w 33"/>
                <a:gd name="T9" fmla="*/ 28575 h 62"/>
                <a:gd name="T10" fmla="*/ 0 w 33"/>
                <a:gd name="T11" fmla="*/ 23966 h 62"/>
                <a:gd name="T12" fmla="*/ 770 w 33"/>
                <a:gd name="T13" fmla="*/ 20279 h 62"/>
                <a:gd name="T14" fmla="*/ 1539 w 33"/>
                <a:gd name="T15" fmla="*/ 15670 h 62"/>
                <a:gd name="T16" fmla="*/ 3079 w 33"/>
                <a:gd name="T17" fmla="*/ 11983 h 62"/>
                <a:gd name="T18" fmla="*/ 5388 w 33"/>
                <a:gd name="T19" fmla="*/ 5531 h 62"/>
                <a:gd name="T20" fmla="*/ 7697 w 33"/>
                <a:gd name="T21" fmla="*/ 0 h 62"/>
                <a:gd name="T22" fmla="*/ 10006 w 33"/>
                <a:gd name="T23" fmla="*/ 5531 h 62"/>
                <a:gd name="T24" fmla="*/ 12700 w 33"/>
                <a:gd name="T25" fmla="*/ 1198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5" name="Freeform 70">
              <a:extLst>
                <a:ext uri="{FF2B5EF4-FFF2-40B4-BE49-F238E27FC236}">
                  <a16:creationId xmlns:a16="http://schemas.microsoft.com/office/drawing/2014/main" id="{E880A140-369A-429C-A0D7-707EF0080B52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7915265" y="4335429"/>
              <a:ext cx="9525" cy="58737"/>
            </a:xfrm>
            <a:custGeom>
              <a:avLst/>
              <a:gdLst>
                <a:gd name="T0" fmla="*/ 0 w 26"/>
                <a:gd name="T1" fmla="*/ 58737 h 18"/>
                <a:gd name="T2" fmla="*/ 0 w 26"/>
                <a:gd name="T3" fmla="*/ 0 h 18"/>
                <a:gd name="T4" fmla="*/ 9525 w 26"/>
                <a:gd name="T5" fmla="*/ 0 h 18"/>
                <a:gd name="T6" fmla="*/ 2198 w 26"/>
                <a:gd name="T7" fmla="*/ 39158 h 18"/>
                <a:gd name="T8" fmla="*/ 2198 w 26"/>
                <a:gd name="T9" fmla="*/ 1957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6" name="Freeform 71">
              <a:extLst>
                <a:ext uri="{FF2B5EF4-FFF2-40B4-BE49-F238E27FC236}">
                  <a16:creationId xmlns:a16="http://schemas.microsoft.com/office/drawing/2014/main" id="{C8C9B274-3A0A-437E-A1CA-FDE9BCC034B7}"/>
                </a:ext>
              </a:extLst>
            </p:cNvPr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8029565" y="4244941"/>
              <a:ext cx="77788" cy="130174"/>
            </a:xfrm>
            <a:custGeom>
              <a:avLst/>
              <a:gdLst>
                <a:gd name="T0" fmla="*/ 77788 w 180"/>
                <a:gd name="T1" fmla="*/ 120412 h 240"/>
                <a:gd name="T2" fmla="*/ 75627 w 180"/>
                <a:gd name="T3" fmla="*/ 120954 h 240"/>
                <a:gd name="T4" fmla="*/ 73899 w 180"/>
                <a:gd name="T5" fmla="*/ 120954 h 240"/>
                <a:gd name="T6" fmla="*/ 72170 w 180"/>
                <a:gd name="T7" fmla="*/ 122039 h 240"/>
                <a:gd name="T8" fmla="*/ 70874 w 180"/>
                <a:gd name="T9" fmla="*/ 123124 h 240"/>
                <a:gd name="T10" fmla="*/ 68281 w 180"/>
                <a:gd name="T11" fmla="*/ 125836 h 240"/>
                <a:gd name="T12" fmla="*/ 66120 w 180"/>
                <a:gd name="T13" fmla="*/ 130175 h 240"/>
                <a:gd name="T14" fmla="*/ 60502 w 180"/>
                <a:gd name="T15" fmla="*/ 125836 h 240"/>
                <a:gd name="T16" fmla="*/ 56612 w 180"/>
                <a:gd name="T17" fmla="*/ 120954 h 240"/>
                <a:gd name="T18" fmla="*/ 53155 w 180"/>
                <a:gd name="T19" fmla="*/ 116073 h 240"/>
                <a:gd name="T20" fmla="*/ 50994 w 180"/>
                <a:gd name="T21" fmla="*/ 111734 h 240"/>
                <a:gd name="T22" fmla="*/ 48401 w 180"/>
                <a:gd name="T23" fmla="*/ 105767 h 240"/>
                <a:gd name="T24" fmla="*/ 45808 w 180"/>
                <a:gd name="T25" fmla="*/ 100343 h 240"/>
                <a:gd name="T26" fmla="*/ 42351 w 180"/>
                <a:gd name="T27" fmla="*/ 94377 h 240"/>
                <a:gd name="T28" fmla="*/ 37598 w 180"/>
                <a:gd name="T29" fmla="*/ 87326 h 240"/>
                <a:gd name="T30" fmla="*/ 35437 w 180"/>
                <a:gd name="T31" fmla="*/ 82987 h 240"/>
                <a:gd name="T32" fmla="*/ 32412 w 180"/>
                <a:gd name="T33" fmla="*/ 79190 h 240"/>
                <a:gd name="T34" fmla="*/ 30251 w 180"/>
                <a:gd name="T35" fmla="*/ 75393 h 240"/>
                <a:gd name="T36" fmla="*/ 26794 w 180"/>
                <a:gd name="T37" fmla="*/ 72139 h 240"/>
                <a:gd name="T38" fmla="*/ 20743 w 180"/>
                <a:gd name="T39" fmla="*/ 65630 h 240"/>
                <a:gd name="T40" fmla="*/ 14261 w 180"/>
                <a:gd name="T41" fmla="*/ 59664 h 240"/>
                <a:gd name="T42" fmla="*/ 11668 w 180"/>
                <a:gd name="T43" fmla="*/ 56409 h 240"/>
                <a:gd name="T44" fmla="*/ 9075 w 180"/>
                <a:gd name="T45" fmla="*/ 53155 h 240"/>
                <a:gd name="T46" fmla="*/ 6482 w 180"/>
                <a:gd name="T47" fmla="*/ 49900 h 240"/>
                <a:gd name="T48" fmla="*/ 4322 w 180"/>
                <a:gd name="T49" fmla="*/ 45561 h 240"/>
                <a:gd name="T50" fmla="*/ 2593 w 180"/>
                <a:gd name="T51" fmla="*/ 41764 h 240"/>
                <a:gd name="T52" fmla="*/ 1729 w 180"/>
                <a:gd name="T53" fmla="*/ 36883 h 240"/>
                <a:gd name="T54" fmla="*/ 432 w 180"/>
                <a:gd name="T55" fmla="*/ 32544 h 240"/>
                <a:gd name="T56" fmla="*/ 0 w 180"/>
                <a:gd name="T57" fmla="*/ 27120 h 240"/>
                <a:gd name="T58" fmla="*/ 0 w 180"/>
                <a:gd name="T59" fmla="*/ 18984 h 240"/>
                <a:gd name="T60" fmla="*/ 0 w 180"/>
                <a:gd name="T61" fmla="*/ 13560 h 240"/>
                <a:gd name="T62" fmla="*/ 0 w 180"/>
                <a:gd name="T63" fmla="*/ 8136 h 240"/>
                <a:gd name="T64" fmla="*/ 0 w 180"/>
                <a:gd name="T65" fmla="*/ 0 h 240"/>
                <a:gd name="T66" fmla="*/ 4322 w 180"/>
                <a:gd name="T67" fmla="*/ 4339 h 240"/>
                <a:gd name="T68" fmla="*/ 8211 w 180"/>
                <a:gd name="T69" fmla="*/ 9221 h 240"/>
                <a:gd name="T70" fmla="*/ 11668 w 180"/>
                <a:gd name="T71" fmla="*/ 14645 h 240"/>
                <a:gd name="T72" fmla="*/ 14693 w 180"/>
                <a:gd name="T73" fmla="*/ 20611 h 240"/>
                <a:gd name="T74" fmla="*/ 17718 w 180"/>
                <a:gd name="T75" fmla="*/ 26035 h 240"/>
                <a:gd name="T76" fmla="*/ 19879 w 180"/>
                <a:gd name="T77" fmla="*/ 31459 h 240"/>
                <a:gd name="T78" fmla="*/ 22040 w 180"/>
                <a:gd name="T79" fmla="*/ 35798 h 240"/>
                <a:gd name="T80" fmla="*/ 23336 w 180"/>
                <a:gd name="T81" fmla="*/ 40137 h 240"/>
                <a:gd name="T82" fmla="*/ 25929 w 180"/>
                <a:gd name="T83" fmla="*/ 46646 h 240"/>
                <a:gd name="T84" fmla="*/ 28522 w 180"/>
                <a:gd name="T85" fmla="*/ 53155 h 240"/>
                <a:gd name="T86" fmla="*/ 31980 w 180"/>
                <a:gd name="T87" fmla="*/ 58036 h 240"/>
                <a:gd name="T88" fmla="*/ 35437 w 180"/>
                <a:gd name="T89" fmla="*/ 62918 h 240"/>
                <a:gd name="T90" fmla="*/ 43216 w 180"/>
                <a:gd name="T91" fmla="*/ 72139 h 240"/>
                <a:gd name="T92" fmla="*/ 51427 w 180"/>
                <a:gd name="T93" fmla="*/ 80817 h 240"/>
                <a:gd name="T94" fmla="*/ 60070 w 180"/>
                <a:gd name="T95" fmla="*/ 88953 h 240"/>
                <a:gd name="T96" fmla="*/ 66984 w 180"/>
                <a:gd name="T97" fmla="*/ 97631 h 240"/>
                <a:gd name="T98" fmla="*/ 70441 w 180"/>
                <a:gd name="T99" fmla="*/ 102513 h 240"/>
                <a:gd name="T100" fmla="*/ 73034 w 180"/>
                <a:gd name="T101" fmla="*/ 107937 h 240"/>
                <a:gd name="T102" fmla="*/ 75627 w 180"/>
                <a:gd name="T103" fmla="*/ 113903 h 240"/>
                <a:gd name="T104" fmla="*/ 77788 w 180"/>
                <a:gd name="T105" fmla="*/ 12041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7" name="Freeform 72">
              <a:extLst>
                <a:ext uri="{FF2B5EF4-FFF2-40B4-BE49-F238E27FC236}">
                  <a16:creationId xmlns:a16="http://schemas.microsoft.com/office/drawing/2014/main" id="{602E9591-C74D-43BE-8767-031B122A6EF2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8029565" y="4217955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529 w 27"/>
                <a:gd name="T3" fmla="*/ 9525 h 30"/>
                <a:gd name="T4" fmla="*/ 1588 w 27"/>
                <a:gd name="T5" fmla="*/ 20955 h 30"/>
                <a:gd name="T6" fmla="*/ 2117 w 27"/>
                <a:gd name="T7" fmla="*/ 26670 h 30"/>
                <a:gd name="T8" fmla="*/ 2117 w 27"/>
                <a:gd name="T9" fmla="*/ 36195 h 30"/>
                <a:gd name="T10" fmla="*/ 1588 w 27"/>
                <a:gd name="T11" fmla="*/ 45720 h 30"/>
                <a:gd name="T12" fmla="*/ 0 w 27"/>
                <a:gd name="T13" fmla="*/ 57150 h 30"/>
                <a:gd name="T14" fmla="*/ 8996 w 27"/>
                <a:gd name="T15" fmla="*/ 51435 h 30"/>
                <a:gd name="T16" fmla="*/ 14288 w 27"/>
                <a:gd name="T17" fmla="*/ 45720 h 30"/>
                <a:gd name="T18" fmla="*/ 12171 w 27"/>
                <a:gd name="T19" fmla="*/ 38100 h 30"/>
                <a:gd name="T20" fmla="*/ 8996 w 27"/>
                <a:gd name="T21" fmla="*/ 22860 h 30"/>
                <a:gd name="T22" fmla="*/ 5821 w 27"/>
                <a:gd name="T23" fmla="*/ 15240 h 30"/>
                <a:gd name="T24" fmla="*/ 3704 w 27"/>
                <a:gd name="T25" fmla="*/ 7620 h 30"/>
                <a:gd name="T26" fmla="*/ 2117 w 27"/>
                <a:gd name="T27" fmla="*/ 190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58" name="Group 73">
              <a:extLst>
                <a:ext uri="{FF2B5EF4-FFF2-40B4-BE49-F238E27FC236}">
                  <a16:creationId xmlns:a16="http://schemas.microsoft.com/office/drawing/2014/main" id="{B023462B-DE29-4C09-951D-764FF3D6CA2E}"/>
                </a:ext>
              </a:extLst>
            </p:cNvPr>
            <p:cNvGrpSpPr>
              <a:grpSpLocks/>
            </p:cNvGrpSpPr>
            <p:nvPr>
              <p:custDataLst>
                <p:tags r:id="rId53"/>
              </p:custDataLst>
            </p:nvPr>
          </p:nvGrpSpPr>
          <p:grpSpPr bwMode="auto">
            <a:xfrm>
              <a:off x="7720004" y="4738651"/>
              <a:ext cx="458786" cy="404809"/>
              <a:chOff x="5372" y="3323"/>
              <a:chExt cx="341" cy="253"/>
            </a:xfrm>
          </p:grpSpPr>
          <p:sp>
            <p:nvSpPr>
              <p:cNvPr id="533" name="Freeform 74">
                <a:extLst>
                  <a:ext uri="{FF2B5EF4-FFF2-40B4-BE49-F238E27FC236}">
                    <a16:creationId xmlns:a16="http://schemas.microsoft.com/office/drawing/2014/main" id="{B0051BE7-1AD0-4EEB-BC26-197EE45AA3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34" name="Freeform 75">
                <a:extLst>
                  <a:ext uri="{FF2B5EF4-FFF2-40B4-BE49-F238E27FC236}">
                    <a16:creationId xmlns:a16="http://schemas.microsoft.com/office/drawing/2014/main" id="{05FBB798-5F6A-4914-A309-D4C0BE24F6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35" name="Freeform 76">
                <a:extLst>
                  <a:ext uri="{FF2B5EF4-FFF2-40B4-BE49-F238E27FC236}">
                    <a16:creationId xmlns:a16="http://schemas.microsoft.com/office/drawing/2014/main" id="{E9BFA0DE-B36E-49FF-A503-D9CEC5B298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59" name="Freeform 77">
              <a:extLst>
                <a:ext uri="{FF2B5EF4-FFF2-40B4-BE49-F238E27FC236}">
                  <a16:creationId xmlns:a16="http://schemas.microsoft.com/office/drawing/2014/main" id="{38736183-71F8-4E58-B131-6D5516980531}"/>
                </a:ext>
              </a:extLst>
            </p:cNvPr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7362816" y="3395637"/>
              <a:ext cx="9525" cy="57150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0" name="Freeform 78">
              <a:extLst>
                <a:ext uri="{FF2B5EF4-FFF2-40B4-BE49-F238E27FC236}">
                  <a16:creationId xmlns:a16="http://schemas.microsoft.com/office/drawing/2014/main" id="{B07AE022-FE73-4330-8978-68D76AB5D7EE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089890" y="4297329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2165 w 33"/>
                <a:gd name="T3" fmla="*/ 11906 h 24"/>
                <a:gd name="T4" fmla="*/ 4330 w 33"/>
                <a:gd name="T5" fmla="*/ 23813 h 24"/>
                <a:gd name="T6" fmla="*/ 4763 w 33"/>
                <a:gd name="T7" fmla="*/ 30956 h 24"/>
                <a:gd name="T8" fmla="*/ 5196 w 33"/>
                <a:gd name="T9" fmla="*/ 38100 h 24"/>
                <a:gd name="T10" fmla="*/ 5629 w 33"/>
                <a:gd name="T11" fmla="*/ 47625 h 24"/>
                <a:gd name="T12" fmla="*/ 5629 w 33"/>
                <a:gd name="T13" fmla="*/ 57150 h 24"/>
                <a:gd name="T14" fmla="*/ 14288 w 33"/>
                <a:gd name="T15" fmla="*/ 0 h 24"/>
                <a:gd name="T16" fmla="*/ 10391 w 33"/>
                <a:gd name="T17" fmla="*/ 0 h 24"/>
                <a:gd name="T18" fmla="*/ 6928 w 33"/>
                <a:gd name="T19" fmla="*/ 0 h 24"/>
                <a:gd name="T20" fmla="*/ 389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1" name="Freeform 79">
              <a:extLst>
                <a:ext uri="{FF2B5EF4-FFF2-40B4-BE49-F238E27FC236}">
                  <a16:creationId xmlns:a16="http://schemas.microsoft.com/office/drawing/2014/main" id="{E03CD9CA-54BA-4FE1-81EE-1BA7AA2848C6}"/>
                </a:ext>
              </a:extLst>
            </p:cNvPr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8112115" y="4306854"/>
              <a:ext cx="17463" cy="58737"/>
            </a:xfrm>
            <a:custGeom>
              <a:avLst/>
              <a:gdLst>
                <a:gd name="T0" fmla="*/ 13759 w 33"/>
                <a:gd name="T1" fmla="*/ 58737 h 25"/>
                <a:gd name="T2" fmla="*/ 15346 w 33"/>
                <a:gd name="T3" fmla="*/ 51689 h 25"/>
                <a:gd name="T4" fmla="*/ 17463 w 33"/>
                <a:gd name="T5" fmla="*/ 42291 h 25"/>
                <a:gd name="T6" fmla="*/ 17463 w 33"/>
                <a:gd name="T7" fmla="*/ 0 h 25"/>
                <a:gd name="T8" fmla="*/ 13230 w 33"/>
                <a:gd name="T9" fmla="*/ 0 h 25"/>
                <a:gd name="T10" fmla="*/ 8467 w 33"/>
                <a:gd name="T11" fmla="*/ 0 h 25"/>
                <a:gd name="T12" fmla="*/ 3175 w 33"/>
                <a:gd name="T13" fmla="*/ 0 h 25"/>
                <a:gd name="T14" fmla="*/ 0 w 33"/>
                <a:gd name="T15" fmla="*/ 0 h 25"/>
                <a:gd name="T16" fmla="*/ 13759 w 33"/>
                <a:gd name="T17" fmla="*/ 5873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2" name="Freeform 80">
              <a:extLst>
                <a:ext uri="{FF2B5EF4-FFF2-40B4-BE49-F238E27FC236}">
                  <a16:creationId xmlns:a16="http://schemas.microsoft.com/office/drawing/2014/main" id="{88D02077-10E7-45F8-8C87-0118F1787325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7426316" y="3384524"/>
              <a:ext cx="1588" cy="55562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3" name="Freeform 81">
              <a:extLst>
                <a:ext uri="{FF2B5EF4-FFF2-40B4-BE49-F238E27FC236}">
                  <a16:creationId xmlns:a16="http://schemas.microsoft.com/office/drawing/2014/main" id="{62D55735-B265-45C8-8FF9-F7FC5B84F1E0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7485054" y="3328962"/>
              <a:ext cx="6350" cy="57150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4" name="Freeform 82">
              <a:extLst>
                <a:ext uri="{FF2B5EF4-FFF2-40B4-BE49-F238E27FC236}">
                  <a16:creationId xmlns:a16="http://schemas.microsoft.com/office/drawing/2014/main" id="{3E462DCC-CB16-4842-A4E7-5EE065CC0C3E}"/>
                </a:ext>
              </a:extLst>
            </p:cNvPr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7597766" y="3217838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5" name="Freeform 83">
              <a:extLst>
                <a:ext uri="{FF2B5EF4-FFF2-40B4-BE49-F238E27FC236}">
                  <a16:creationId xmlns:a16="http://schemas.microsoft.com/office/drawing/2014/main" id="{6FAF0501-8EEA-48F5-A0C0-B08CED87E884}"/>
                </a:ext>
              </a:extLst>
            </p:cNvPr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7750165" y="3916332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403 w 67"/>
                <a:gd name="T3" fmla="*/ 13494 h 74"/>
                <a:gd name="T4" fmla="*/ 1208 w 67"/>
                <a:gd name="T5" fmla="*/ 23812 h 74"/>
                <a:gd name="T6" fmla="*/ 2820 w 67"/>
                <a:gd name="T7" fmla="*/ 32543 h 74"/>
                <a:gd name="T8" fmla="*/ 4834 w 67"/>
                <a:gd name="T9" fmla="*/ 39687 h 74"/>
                <a:gd name="T10" fmla="*/ 6848 w 67"/>
                <a:gd name="T11" fmla="*/ 46037 h 74"/>
                <a:gd name="T12" fmla="*/ 9265 w 67"/>
                <a:gd name="T13" fmla="*/ 50800 h 74"/>
                <a:gd name="T14" fmla="*/ 11279 w 67"/>
                <a:gd name="T15" fmla="*/ 54768 h 74"/>
                <a:gd name="T16" fmla="*/ 13293 w 67"/>
                <a:gd name="T17" fmla="*/ 58737 h 74"/>
                <a:gd name="T18" fmla="*/ 17723 w 67"/>
                <a:gd name="T19" fmla="*/ 51593 h 74"/>
                <a:gd name="T20" fmla="*/ 22154 w 67"/>
                <a:gd name="T21" fmla="*/ 43656 h 74"/>
                <a:gd name="T22" fmla="*/ 23766 w 67"/>
                <a:gd name="T23" fmla="*/ 38893 h 74"/>
                <a:gd name="T24" fmla="*/ 25377 w 67"/>
                <a:gd name="T25" fmla="*/ 34131 h 74"/>
                <a:gd name="T26" fmla="*/ 26585 w 67"/>
                <a:gd name="T27" fmla="*/ 29369 h 74"/>
                <a:gd name="T28" fmla="*/ 26988 w 67"/>
                <a:gd name="T29" fmla="*/ 23812 h 74"/>
                <a:gd name="T30" fmla="*/ 26988 w 67"/>
                <a:gd name="T31" fmla="*/ 19844 h 74"/>
                <a:gd name="T32" fmla="*/ 26988 w 67"/>
                <a:gd name="T33" fmla="*/ 14287 h 74"/>
                <a:gd name="T34" fmla="*/ 26988 w 67"/>
                <a:gd name="T35" fmla="*/ 7144 h 74"/>
                <a:gd name="T36" fmla="*/ 26988 w 67"/>
                <a:gd name="T37" fmla="*/ 0 h 74"/>
                <a:gd name="T38" fmla="*/ 19335 w 67"/>
                <a:gd name="T39" fmla="*/ 0 h 74"/>
                <a:gd name="T40" fmla="*/ 13293 w 67"/>
                <a:gd name="T41" fmla="*/ 0 h 74"/>
                <a:gd name="T42" fmla="*/ 6848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6" name="Freeform 84">
              <a:extLst>
                <a:ext uri="{FF2B5EF4-FFF2-40B4-BE49-F238E27FC236}">
                  <a16:creationId xmlns:a16="http://schemas.microsoft.com/office/drawing/2014/main" id="{16564439-54EC-4E07-BA0B-E6BA10CC2641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813666" y="3930619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747 w 34"/>
                <a:gd name="T3" fmla="*/ 4512 h 38"/>
                <a:gd name="T4" fmla="*/ 1494 w 34"/>
                <a:gd name="T5" fmla="*/ 10528 h 38"/>
                <a:gd name="T6" fmla="*/ 1868 w 34"/>
                <a:gd name="T7" fmla="*/ 16543 h 38"/>
                <a:gd name="T8" fmla="*/ 2241 w 34"/>
                <a:gd name="T9" fmla="*/ 24063 h 38"/>
                <a:gd name="T10" fmla="*/ 3735 w 34"/>
                <a:gd name="T11" fmla="*/ 42111 h 38"/>
                <a:gd name="T12" fmla="*/ 4856 w 34"/>
                <a:gd name="T13" fmla="*/ 57150 h 38"/>
                <a:gd name="T14" fmla="*/ 5976 w 34"/>
                <a:gd name="T15" fmla="*/ 55646 h 38"/>
                <a:gd name="T16" fmla="*/ 7471 w 34"/>
                <a:gd name="T17" fmla="*/ 54142 h 38"/>
                <a:gd name="T18" fmla="*/ 8591 w 34"/>
                <a:gd name="T19" fmla="*/ 51134 h 38"/>
                <a:gd name="T20" fmla="*/ 9712 w 34"/>
                <a:gd name="T21" fmla="*/ 46622 h 38"/>
                <a:gd name="T22" fmla="*/ 10459 w 34"/>
                <a:gd name="T23" fmla="*/ 42111 h 38"/>
                <a:gd name="T24" fmla="*/ 11953 w 34"/>
                <a:gd name="T25" fmla="*/ 36095 h 38"/>
                <a:gd name="T26" fmla="*/ 12326 w 34"/>
                <a:gd name="T27" fmla="*/ 31583 h 38"/>
                <a:gd name="T28" fmla="*/ 12700 w 34"/>
                <a:gd name="T29" fmla="*/ 28575 h 38"/>
                <a:gd name="T30" fmla="*/ 11579 w 34"/>
                <a:gd name="T31" fmla="*/ 27071 h 38"/>
                <a:gd name="T32" fmla="*/ 10459 w 34"/>
                <a:gd name="T33" fmla="*/ 25567 h 38"/>
                <a:gd name="T34" fmla="*/ 9712 w 34"/>
                <a:gd name="T35" fmla="*/ 21055 h 38"/>
                <a:gd name="T36" fmla="*/ 8965 w 34"/>
                <a:gd name="T37" fmla="*/ 18047 h 38"/>
                <a:gd name="T38" fmla="*/ 7097 w 34"/>
                <a:gd name="T39" fmla="*/ 9024 h 38"/>
                <a:gd name="T40" fmla="*/ 4856 w 34"/>
                <a:gd name="T41" fmla="*/ 0 h 38"/>
                <a:gd name="T42" fmla="*/ 2241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7" name="Freeform 85">
              <a:extLst>
                <a:ext uri="{FF2B5EF4-FFF2-40B4-BE49-F238E27FC236}">
                  <a16:creationId xmlns:a16="http://schemas.microsoft.com/office/drawing/2014/main" id="{C141D90C-2606-4EF4-8492-269ABF622AD9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7670791" y="3706784"/>
              <a:ext cx="25400" cy="55562"/>
            </a:xfrm>
            <a:custGeom>
              <a:avLst/>
              <a:gdLst>
                <a:gd name="T0" fmla="*/ 25400 w 53"/>
                <a:gd name="T1" fmla="*/ 55562 h 23"/>
                <a:gd name="T2" fmla="*/ 25400 w 53"/>
                <a:gd name="T3" fmla="*/ 9663 h 23"/>
                <a:gd name="T4" fmla="*/ 23483 w 53"/>
                <a:gd name="T5" fmla="*/ 4831 h 23"/>
                <a:gd name="T6" fmla="*/ 21566 w 53"/>
                <a:gd name="T7" fmla="*/ 2416 h 23"/>
                <a:gd name="T8" fmla="*/ 20128 w 53"/>
                <a:gd name="T9" fmla="*/ 0 h 23"/>
                <a:gd name="T10" fmla="*/ 18211 w 53"/>
                <a:gd name="T11" fmla="*/ 0 h 23"/>
                <a:gd name="T12" fmla="*/ 14857 w 53"/>
                <a:gd name="T13" fmla="*/ 2416 h 23"/>
                <a:gd name="T14" fmla="*/ 11502 w 53"/>
                <a:gd name="T15" fmla="*/ 9663 h 23"/>
                <a:gd name="T16" fmla="*/ 5272 w 53"/>
                <a:gd name="T17" fmla="*/ 31405 h 23"/>
                <a:gd name="T18" fmla="*/ 0 w 53"/>
                <a:gd name="T19" fmla="*/ 55562 h 23"/>
                <a:gd name="T20" fmla="*/ 25400 w 53"/>
                <a:gd name="T21" fmla="*/ 55562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8" name="Freeform 86">
              <a:extLst>
                <a:ext uri="{FF2B5EF4-FFF2-40B4-BE49-F238E27FC236}">
                  <a16:creationId xmlns:a16="http://schemas.microsoft.com/office/drawing/2014/main" id="{65AB2AE7-848F-4AFE-AECB-29772B049898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613641" y="3681384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1710 w 26"/>
                <a:gd name="T3" fmla="*/ 19050 h 12"/>
                <a:gd name="T4" fmla="*/ 4702 w 26"/>
                <a:gd name="T5" fmla="*/ 38100 h 12"/>
                <a:gd name="T6" fmla="*/ 5984 w 26"/>
                <a:gd name="T7" fmla="*/ 42863 h 12"/>
                <a:gd name="T8" fmla="*/ 7694 w 26"/>
                <a:gd name="T9" fmla="*/ 52388 h 12"/>
                <a:gd name="T10" fmla="*/ 9403 w 26"/>
                <a:gd name="T11" fmla="*/ 52388 h 12"/>
                <a:gd name="T12" fmla="*/ 11113 w 26"/>
                <a:gd name="T13" fmla="*/ 57150 h 12"/>
                <a:gd name="T14" fmla="*/ 8976 w 26"/>
                <a:gd name="T15" fmla="*/ 33338 h 12"/>
                <a:gd name="T16" fmla="*/ 5557 w 26"/>
                <a:gd name="T17" fmla="*/ 14288 h 12"/>
                <a:gd name="T18" fmla="*/ 2137 w 26"/>
                <a:gd name="T19" fmla="*/ 4763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9" name="Freeform 87">
              <a:extLst>
                <a:ext uri="{FF2B5EF4-FFF2-40B4-BE49-F238E27FC236}">
                  <a16:creationId xmlns:a16="http://schemas.microsoft.com/office/drawing/2014/main" id="{B523DEB4-16C3-4E42-87EC-8FCE07B45587}"/>
                </a:ext>
              </a:extLst>
            </p:cNvPr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813666" y="4013169"/>
              <a:ext cx="31750" cy="57150"/>
            </a:xfrm>
            <a:custGeom>
              <a:avLst/>
              <a:gdLst>
                <a:gd name="T0" fmla="*/ 0 w 73"/>
                <a:gd name="T1" fmla="*/ 0 h 57150"/>
                <a:gd name="T2" fmla="*/ 8699 w 73"/>
                <a:gd name="T3" fmla="*/ 0 h 57150"/>
                <a:gd name="T4" fmla="*/ 16092 w 73"/>
                <a:gd name="T5" fmla="*/ 0 h 57150"/>
                <a:gd name="T6" fmla="*/ 23921 w 73"/>
                <a:gd name="T7" fmla="*/ 0 h 57150"/>
                <a:gd name="T8" fmla="*/ 31750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0" name="Freeform 88">
              <a:extLst>
                <a:ext uri="{FF2B5EF4-FFF2-40B4-BE49-F238E27FC236}">
                  <a16:creationId xmlns:a16="http://schemas.microsoft.com/office/drawing/2014/main" id="{8EF91227-C75B-47F8-9A99-D0A8E98F9FEF}"/>
                </a:ext>
              </a:extLst>
            </p:cNvPr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7769216" y="4002057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5871 w 53"/>
                <a:gd name="T3" fmla="*/ 0 h 3"/>
                <a:gd name="T4" fmla="*/ 11322 w 53"/>
                <a:gd name="T5" fmla="*/ 57150 h 3"/>
                <a:gd name="T6" fmla="*/ 13419 w 53"/>
                <a:gd name="T7" fmla="*/ 57150 h 3"/>
                <a:gd name="T8" fmla="*/ 16354 w 53"/>
                <a:gd name="T9" fmla="*/ 57150 h 3"/>
                <a:gd name="T10" fmla="*/ 18870 w 53"/>
                <a:gd name="T11" fmla="*/ 19050 h 3"/>
                <a:gd name="T12" fmla="*/ 22225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1" name="Line 89">
              <a:extLst>
                <a:ext uri="{FF2B5EF4-FFF2-40B4-BE49-F238E27FC236}">
                  <a16:creationId xmlns:a16="http://schemas.microsoft.com/office/drawing/2014/main" id="{18B72AD7-5CFB-495F-B6F0-1C5633A3CC32}"/>
                </a:ext>
              </a:extLst>
            </p:cNvPr>
            <p:cNvSpPr>
              <a:spLocks noChangeShapeType="1"/>
            </p:cNvSpPr>
            <p:nvPr>
              <p:custDataLst>
                <p:tags r:id="rId66"/>
              </p:custDataLst>
            </p:nvPr>
          </p:nvSpPr>
          <p:spPr bwMode="auto">
            <a:xfrm>
              <a:off x="7802553" y="3987768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2" name="Freeform 90">
              <a:extLst>
                <a:ext uri="{FF2B5EF4-FFF2-40B4-BE49-F238E27FC236}">
                  <a16:creationId xmlns:a16="http://schemas.microsoft.com/office/drawing/2014/main" id="{B06D4758-2D17-4690-BC13-604C9446B159}"/>
                </a:ext>
              </a:extLst>
            </p:cNvPr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7823190" y="3994119"/>
              <a:ext cx="1588" cy="5715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6377 h 13"/>
                <a:gd name="T4" fmla="*/ 0 w 1588"/>
                <a:gd name="T5" fmla="*/ 5715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3" name="Freeform 91">
              <a:extLst>
                <a:ext uri="{FF2B5EF4-FFF2-40B4-BE49-F238E27FC236}">
                  <a16:creationId xmlns:a16="http://schemas.microsoft.com/office/drawing/2014/main" id="{D2EE81D7-3350-4249-977D-504C04FE70DC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7777153" y="3987768"/>
              <a:ext cx="14287" cy="58738"/>
            </a:xfrm>
            <a:custGeom>
              <a:avLst/>
              <a:gdLst>
                <a:gd name="T0" fmla="*/ 0 w 26"/>
                <a:gd name="T1" fmla="*/ 0 h 58738"/>
                <a:gd name="T2" fmla="*/ 8243 w 26"/>
                <a:gd name="T3" fmla="*/ 0 h 58738"/>
                <a:gd name="T4" fmla="*/ 1428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4" name="Freeform 92">
              <a:extLst>
                <a:ext uri="{FF2B5EF4-FFF2-40B4-BE49-F238E27FC236}">
                  <a16:creationId xmlns:a16="http://schemas.microsoft.com/office/drawing/2014/main" id="{E5158B78-4B0B-498D-AB84-5C9588D809E9}"/>
                </a:ext>
              </a:extLst>
            </p:cNvPr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7770804" y="3968719"/>
              <a:ext cx="6350" cy="60325"/>
            </a:xfrm>
            <a:custGeom>
              <a:avLst/>
              <a:gdLst>
                <a:gd name="T0" fmla="*/ 6350 w 20"/>
                <a:gd name="T1" fmla="*/ 0 h 25"/>
                <a:gd name="T2" fmla="*/ 0 w 20"/>
                <a:gd name="T3" fmla="*/ 31369 h 25"/>
                <a:gd name="T4" fmla="*/ 1270 w 20"/>
                <a:gd name="T5" fmla="*/ 43434 h 25"/>
                <a:gd name="T6" fmla="*/ 3175 w 20"/>
                <a:gd name="T7" fmla="*/ 50673 h 25"/>
                <a:gd name="T8" fmla="*/ 4445 w 20"/>
                <a:gd name="T9" fmla="*/ 57912 h 25"/>
                <a:gd name="T10" fmla="*/ 6350 w 20"/>
                <a:gd name="T11" fmla="*/ 60325 h 25"/>
                <a:gd name="T12" fmla="*/ 635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5" name="Freeform 93">
              <a:extLst>
                <a:ext uri="{FF2B5EF4-FFF2-40B4-BE49-F238E27FC236}">
                  <a16:creationId xmlns:a16="http://schemas.microsoft.com/office/drawing/2014/main" id="{D15A5316-BA14-407E-BD79-81A198CED049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7851765" y="3695671"/>
              <a:ext cx="1588" cy="57150"/>
            </a:xfrm>
            <a:custGeom>
              <a:avLst/>
              <a:gdLst>
                <a:gd name="T0" fmla="*/ 0 w 6"/>
                <a:gd name="T1" fmla="*/ 57150 h 24"/>
                <a:gd name="T2" fmla="*/ 0 w 6"/>
                <a:gd name="T3" fmla="*/ 0 h 24"/>
                <a:gd name="T4" fmla="*/ 1588 w 6"/>
                <a:gd name="T5" fmla="*/ 28575 h 24"/>
                <a:gd name="T6" fmla="*/ 0 w 6"/>
                <a:gd name="T7" fmla="*/ 5715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76" name="Group 94">
              <a:extLst>
                <a:ext uri="{FF2B5EF4-FFF2-40B4-BE49-F238E27FC236}">
                  <a16:creationId xmlns:a16="http://schemas.microsoft.com/office/drawing/2014/main" id="{43DD4335-7E1A-4ABC-BD73-E3FD2B8258A9}"/>
                </a:ext>
              </a:extLst>
            </p:cNvPr>
            <p:cNvGrpSpPr>
              <a:grpSpLocks/>
            </p:cNvGrpSpPr>
            <p:nvPr>
              <p:custDataLst>
                <p:tags r:id="rId71"/>
              </p:custDataLst>
            </p:nvPr>
          </p:nvGrpSpPr>
          <p:grpSpPr bwMode="auto">
            <a:xfrm>
              <a:off x="7726354" y="3367062"/>
              <a:ext cx="163512" cy="114299"/>
              <a:chOff x="5379" y="2466"/>
              <a:chExt cx="122" cy="71"/>
            </a:xfrm>
          </p:grpSpPr>
          <p:sp>
            <p:nvSpPr>
              <p:cNvPr id="524" name="Freeform 95">
                <a:extLst>
                  <a:ext uri="{FF2B5EF4-FFF2-40B4-BE49-F238E27FC236}">
                    <a16:creationId xmlns:a16="http://schemas.microsoft.com/office/drawing/2014/main" id="{50E0A7AC-2058-4698-9DA1-28B28D1689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25" name="Freeform 96">
                <a:extLst>
                  <a:ext uri="{FF2B5EF4-FFF2-40B4-BE49-F238E27FC236}">
                    <a16:creationId xmlns:a16="http://schemas.microsoft.com/office/drawing/2014/main" id="{C42CCC81-9857-4122-A3FC-5554CFA6B7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26" name="Freeform 97">
                <a:extLst>
                  <a:ext uri="{FF2B5EF4-FFF2-40B4-BE49-F238E27FC236}">
                    <a16:creationId xmlns:a16="http://schemas.microsoft.com/office/drawing/2014/main" id="{7E1B3688-3E4D-4913-AC9E-F15AA916C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27" name="Freeform 98">
                <a:extLst>
                  <a:ext uri="{FF2B5EF4-FFF2-40B4-BE49-F238E27FC236}">
                    <a16:creationId xmlns:a16="http://schemas.microsoft.com/office/drawing/2014/main" id="{35B6096F-824A-4A98-A6B6-B0E6A70C59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28" name="Freeform 99">
                <a:extLst>
                  <a:ext uri="{FF2B5EF4-FFF2-40B4-BE49-F238E27FC236}">
                    <a16:creationId xmlns:a16="http://schemas.microsoft.com/office/drawing/2014/main" id="{19150332-5BC1-402E-BD7C-EFFA0D61B4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29" name="Line 100">
                <a:extLst>
                  <a:ext uri="{FF2B5EF4-FFF2-40B4-BE49-F238E27FC236}">
                    <a16:creationId xmlns:a16="http://schemas.microsoft.com/office/drawing/2014/main" id="{09A7D137-629F-4281-ACD4-A8A0ACFE87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30" name="Freeform 101">
                <a:extLst>
                  <a:ext uri="{FF2B5EF4-FFF2-40B4-BE49-F238E27FC236}">
                    <a16:creationId xmlns:a16="http://schemas.microsoft.com/office/drawing/2014/main" id="{4E175154-BD56-4F17-AB3D-CE35045BC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31" name="Line 102">
                <a:extLst>
                  <a:ext uri="{FF2B5EF4-FFF2-40B4-BE49-F238E27FC236}">
                    <a16:creationId xmlns:a16="http://schemas.microsoft.com/office/drawing/2014/main" id="{0E99C33C-4A7E-46D9-BA16-9CB49DDEA7C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32" name="Freeform 103">
                <a:extLst>
                  <a:ext uri="{FF2B5EF4-FFF2-40B4-BE49-F238E27FC236}">
                    <a16:creationId xmlns:a16="http://schemas.microsoft.com/office/drawing/2014/main" id="{483AD08E-F25E-4E6D-8C1D-925518EE9E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77" name="Freeform 104">
              <a:extLst>
                <a:ext uri="{FF2B5EF4-FFF2-40B4-BE49-F238E27FC236}">
                  <a16:creationId xmlns:a16="http://schemas.microsoft.com/office/drawing/2014/main" id="{171BFA17-0089-4ED7-B0E7-083052F37DB8}"/>
                </a:ext>
              </a:extLst>
            </p:cNvPr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6310305" y="3228950"/>
              <a:ext cx="6350" cy="57150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9" name="Freeform 106">
              <a:extLst>
                <a:ext uri="{FF2B5EF4-FFF2-40B4-BE49-F238E27FC236}">
                  <a16:creationId xmlns:a16="http://schemas.microsoft.com/office/drawing/2014/main" id="{5806E9BF-C8D4-4614-BB63-4DC49F536B67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5511793" y="5206959"/>
              <a:ext cx="30163" cy="55562"/>
            </a:xfrm>
            <a:custGeom>
              <a:avLst/>
              <a:gdLst>
                <a:gd name="T0" fmla="*/ 0 w 66"/>
                <a:gd name="T1" fmla="*/ 0 h 44"/>
                <a:gd name="T2" fmla="*/ 5941 w 66"/>
                <a:gd name="T3" fmla="*/ 1263 h 44"/>
                <a:gd name="T4" fmla="*/ 10511 w 66"/>
                <a:gd name="T5" fmla="*/ 2526 h 44"/>
                <a:gd name="T6" fmla="*/ 14624 w 66"/>
                <a:gd name="T7" fmla="*/ 5051 h 44"/>
                <a:gd name="T8" fmla="*/ 17367 w 66"/>
                <a:gd name="T9" fmla="*/ 8840 h 44"/>
                <a:gd name="T10" fmla="*/ 20109 w 66"/>
                <a:gd name="T11" fmla="*/ 11365 h 44"/>
                <a:gd name="T12" fmla="*/ 22851 w 66"/>
                <a:gd name="T13" fmla="*/ 13891 h 44"/>
                <a:gd name="T14" fmla="*/ 26050 w 66"/>
                <a:gd name="T15" fmla="*/ 15154 h 44"/>
                <a:gd name="T16" fmla="*/ 30163 w 66"/>
                <a:gd name="T17" fmla="*/ 16416 h 44"/>
                <a:gd name="T18" fmla="*/ 29706 w 66"/>
                <a:gd name="T19" fmla="*/ 21468 h 44"/>
                <a:gd name="T20" fmla="*/ 28335 w 66"/>
                <a:gd name="T21" fmla="*/ 26519 h 44"/>
                <a:gd name="T22" fmla="*/ 27421 w 66"/>
                <a:gd name="T23" fmla="*/ 31570 h 44"/>
                <a:gd name="T24" fmla="*/ 26050 w 66"/>
                <a:gd name="T25" fmla="*/ 35358 h 44"/>
                <a:gd name="T26" fmla="*/ 22394 w 66"/>
                <a:gd name="T27" fmla="*/ 42935 h 44"/>
                <a:gd name="T28" fmla="*/ 18281 w 66"/>
                <a:gd name="T29" fmla="*/ 49249 h 44"/>
                <a:gd name="T30" fmla="*/ 14167 w 66"/>
                <a:gd name="T31" fmla="*/ 53037 h 44"/>
                <a:gd name="T32" fmla="*/ 9597 w 66"/>
                <a:gd name="T33" fmla="*/ 55563 h 44"/>
                <a:gd name="T34" fmla="*/ 4570 w 66"/>
                <a:gd name="T35" fmla="*/ 55563 h 44"/>
                <a:gd name="T36" fmla="*/ 0 w 66"/>
                <a:gd name="T37" fmla="*/ 54300 h 44"/>
                <a:gd name="T38" fmla="*/ 0 w 66"/>
                <a:gd name="T39" fmla="*/ 39147 h 44"/>
                <a:gd name="T40" fmla="*/ 0 w 66"/>
                <a:gd name="T41" fmla="*/ 27782 h 44"/>
                <a:gd name="T42" fmla="*/ 0 w 66"/>
                <a:gd name="T43" fmla="*/ 15154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0" name="Freeform 107">
              <a:extLst>
                <a:ext uri="{FF2B5EF4-FFF2-40B4-BE49-F238E27FC236}">
                  <a16:creationId xmlns:a16="http://schemas.microsoft.com/office/drawing/2014/main" id="{CE8DFB2B-F3B1-49AB-A4DF-B5CB02153050}"/>
                </a:ext>
              </a:extLst>
            </p:cNvPr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7666029" y="1978010"/>
              <a:ext cx="20637" cy="57150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1" name="Freeform 108">
              <a:extLst>
                <a:ext uri="{FF2B5EF4-FFF2-40B4-BE49-F238E27FC236}">
                  <a16:creationId xmlns:a16="http://schemas.microsoft.com/office/drawing/2014/main" id="{28CBB486-07EC-4B8D-9410-5D7A637A499A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7842240" y="2011348"/>
              <a:ext cx="15875" cy="57150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2" name="Freeform 109">
              <a:extLst>
                <a:ext uri="{FF2B5EF4-FFF2-40B4-BE49-F238E27FC236}">
                  <a16:creationId xmlns:a16="http://schemas.microsoft.com/office/drawing/2014/main" id="{8895EA80-9B3B-4577-BA63-D4B3C644630E}"/>
                </a:ext>
              </a:extLst>
            </p:cNvPr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7291379" y="2241533"/>
              <a:ext cx="4762" cy="58738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3" name="Freeform 110">
              <a:extLst>
                <a:ext uri="{FF2B5EF4-FFF2-40B4-BE49-F238E27FC236}">
                  <a16:creationId xmlns:a16="http://schemas.microsoft.com/office/drawing/2014/main" id="{816308C2-C95D-4252-B913-B67183CBD971}"/>
                </a:ext>
              </a:extLst>
            </p:cNvPr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7105641" y="2803503"/>
              <a:ext cx="14288" cy="58738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4" name="Freeform 111">
              <a:extLst>
                <a:ext uri="{FF2B5EF4-FFF2-40B4-BE49-F238E27FC236}">
                  <a16:creationId xmlns:a16="http://schemas.microsoft.com/office/drawing/2014/main" id="{D15BE3FE-E82A-4D54-AC58-490D5E58E1DD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7123104" y="2738417"/>
              <a:ext cx="15875" cy="57150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5" name="Freeform 112">
              <a:extLst>
                <a:ext uri="{FF2B5EF4-FFF2-40B4-BE49-F238E27FC236}">
                  <a16:creationId xmlns:a16="http://schemas.microsoft.com/office/drawing/2014/main" id="{32AA0972-8D88-4E66-AD2F-5BCAEE33BC97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7011979" y="2587605"/>
              <a:ext cx="1587" cy="60325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6" name="Freeform 113">
              <a:extLst>
                <a:ext uri="{FF2B5EF4-FFF2-40B4-BE49-F238E27FC236}">
                  <a16:creationId xmlns:a16="http://schemas.microsoft.com/office/drawing/2014/main" id="{02468DD3-D4F5-48A0-8E17-68B6D19C7E26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3863970" y="1714487"/>
              <a:ext cx="9525" cy="57150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7" name="Freeform 114">
              <a:extLst>
                <a:ext uri="{FF2B5EF4-FFF2-40B4-BE49-F238E27FC236}">
                  <a16:creationId xmlns:a16="http://schemas.microsoft.com/office/drawing/2014/main" id="{3867ADA9-6C2F-4B3F-B248-262140B0A728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3849683" y="1482714"/>
              <a:ext cx="3175" cy="57150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8" name="Freeform 115">
              <a:extLst>
                <a:ext uri="{FF2B5EF4-FFF2-40B4-BE49-F238E27FC236}">
                  <a16:creationId xmlns:a16="http://schemas.microsoft.com/office/drawing/2014/main" id="{CB2B4310-2FE1-43BC-A796-662BC305F22C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5330819" y="3260699"/>
              <a:ext cx="25400" cy="55562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9" name="Freeform 116">
              <a:extLst>
                <a:ext uri="{FF2B5EF4-FFF2-40B4-BE49-F238E27FC236}">
                  <a16:creationId xmlns:a16="http://schemas.microsoft.com/office/drawing/2014/main" id="{6D172431-50CD-489C-B1B4-7393816B5F27}"/>
                </a:ext>
              </a:extLst>
            </p:cNvPr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5033957" y="3122589"/>
              <a:ext cx="19050" cy="58737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90" name="Group 117">
              <a:extLst>
                <a:ext uri="{FF2B5EF4-FFF2-40B4-BE49-F238E27FC236}">
                  <a16:creationId xmlns:a16="http://schemas.microsoft.com/office/drawing/2014/main" id="{A45E24BB-15A4-415E-889B-576B5B08659C}"/>
                </a:ext>
              </a:extLst>
            </p:cNvPr>
            <p:cNvGrpSpPr>
              <a:grpSpLocks/>
            </p:cNvGrpSpPr>
            <p:nvPr>
              <p:custDataLst>
                <p:tags r:id="rId84"/>
              </p:custDataLst>
            </p:nvPr>
          </p:nvGrpSpPr>
          <p:grpSpPr bwMode="auto">
            <a:xfrm>
              <a:off x="5805481" y="3309912"/>
              <a:ext cx="46037" cy="374647"/>
              <a:chOff x="3950" y="2430"/>
              <a:chExt cx="36" cy="234"/>
            </a:xfrm>
          </p:grpSpPr>
          <p:sp>
            <p:nvSpPr>
              <p:cNvPr id="493" name="Freeform 118">
                <a:extLst>
                  <a:ext uri="{FF2B5EF4-FFF2-40B4-BE49-F238E27FC236}">
                    <a16:creationId xmlns:a16="http://schemas.microsoft.com/office/drawing/2014/main" id="{A14EAACD-2470-4362-AF9F-FE47088A1A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94" name="Freeform 119">
                <a:extLst>
                  <a:ext uri="{FF2B5EF4-FFF2-40B4-BE49-F238E27FC236}">
                    <a16:creationId xmlns:a16="http://schemas.microsoft.com/office/drawing/2014/main" id="{CFDFB471-0DAB-4F06-90F2-81821DCEBA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95" name="Freeform 120">
                <a:extLst>
                  <a:ext uri="{FF2B5EF4-FFF2-40B4-BE49-F238E27FC236}">
                    <a16:creationId xmlns:a16="http://schemas.microsoft.com/office/drawing/2014/main" id="{DBAFF806-9358-44CA-9BCD-5779101ED4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96" name="Rectangle 121">
                <a:extLst>
                  <a:ext uri="{FF2B5EF4-FFF2-40B4-BE49-F238E27FC236}">
                    <a16:creationId xmlns:a16="http://schemas.microsoft.com/office/drawing/2014/main" id="{6CB95B78-3CAC-45D0-8A57-AD57BCCA9B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+mn-cs"/>
                </a:endParaRPr>
              </a:p>
            </p:txBody>
          </p:sp>
          <p:sp>
            <p:nvSpPr>
              <p:cNvPr id="497" name="Line 122">
                <a:extLst>
                  <a:ext uri="{FF2B5EF4-FFF2-40B4-BE49-F238E27FC236}">
                    <a16:creationId xmlns:a16="http://schemas.microsoft.com/office/drawing/2014/main" id="{E8CF079C-A2B8-4C4B-84F2-249994378AF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98" name="Freeform 123">
                <a:extLst>
                  <a:ext uri="{FF2B5EF4-FFF2-40B4-BE49-F238E27FC236}">
                    <a16:creationId xmlns:a16="http://schemas.microsoft.com/office/drawing/2014/main" id="{441E5E3B-EA7B-4070-A09E-C825A7A556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99" name="Freeform 124">
                <a:extLst>
                  <a:ext uri="{FF2B5EF4-FFF2-40B4-BE49-F238E27FC236}">
                    <a16:creationId xmlns:a16="http://schemas.microsoft.com/office/drawing/2014/main" id="{B217C970-2A2B-4DEC-8D24-66861C0D74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00" name="Line 125">
                <a:extLst>
                  <a:ext uri="{FF2B5EF4-FFF2-40B4-BE49-F238E27FC236}">
                    <a16:creationId xmlns:a16="http://schemas.microsoft.com/office/drawing/2014/main" id="{E0A98D4B-1532-4F4E-84A1-D4CADAFF3F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01" name="Freeform 126">
                <a:extLst>
                  <a:ext uri="{FF2B5EF4-FFF2-40B4-BE49-F238E27FC236}">
                    <a16:creationId xmlns:a16="http://schemas.microsoft.com/office/drawing/2014/main" id="{DC1E911E-E24C-4A28-AD79-1E0A747512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02" name="Freeform 127">
                <a:extLst>
                  <a:ext uri="{FF2B5EF4-FFF2-40B4-BE49-F238E27FC236}">
                    <a16:creationId xmlns:a16="http://schemas.microsoft.com/office/drawing/2014/main" id="{C244167F-4412-4A60-A3F5-CB203A55E9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03" name="Line 128">
                <a:extLst>
                  <a:ext uri="{FF2B5EF4-FFF2-40B4-BE49-F238E27FC236}">
                    <a16:creationId xmlns:a16="http://schemas.microsoft.com/office/drawing/2014/main" id="{5B65AFE1-6066-433E-B26D-17FA41B7CF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04" name="Freeform 129">
                <a:extLst>
                  <a:ext uri="{FF2B5EF4-FFF2-40B4-BE49-F238E27FC236}">
                    <a16:creationId xmlns:a16="http://schemas.microsoft.com/office/drawing/2014/main" id="{58234F36-1244-4786-A116-E0060D3659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05" name="Freeform 130">
                <a:extLst>
                  <a:ext uri="{FF2B5EF4-FFF2-40B4-BE49-F238E27FC236}">
                    <a16:creationId xmlns:a16="http://schemas.microsoft.com/office/drawing/2014/main" id="{6955B861-F5C3-4628-8E80-75306A5DF3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06" name="Freeform 131">
                <a:extLst>
                  <a:ext uri="{FF2B5EF4-FFF2-40B4-BE49-F238E27FC236}">
                    <a16:creationId xmlns:a16="http://schemas.microsoft.com/office/drawing/2014/main" id="{8BCDCE53-F7C8-414E-9D37-FCA1CFF27F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07" name="Freeform 132">
                <a:extLst>
                  <a:ext uri="{FF2B5EF4-FFF2-40B4-BE49-F238E27FC236}">
                    <a16:creationId xmlns:a16="http://schemas.microsoft.com/office/drawing/2014/main" id="{37073AFC-5F0A-407A-B993-397B5D2B45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08" name="Freeform 133">
                <a:extLst>
                  <a:ext uri="{FF2B5EF4-FFF2-40B4-BE49-F238E27FC236}">
                    <a16:creationId xmlns:a16="http://schemas.microsoft.com/office/drawing/2014/main" id="{5492C701-9F57-4CC6-8EAE-94C9A4AC6F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09" name="Freeform 134">
                <a:extLst>
                  <a:ext uri="{FF2B5EF4-FFF2-40B4-BE49-F238E27FC236}">
                    <a16:creationId xmlns:a16="http://schemas.microsoft.com/office/drawing/2014/main" id="{D6AD98B9-F0AD-4C3F-871A-E35166C4BD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10" name="Freeform 135">
                <a:extLst>
                  <a:ext uri="{FF2B5EF4-FFF2-40B4-BE49-F238E27FC236}">
                    <a16:creationId xmlns:a16="http://schemas.microsoft.com/office/drawing/2014/main" id="{004BF3F1-054C-49E0-B844-6537E993A8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11" name="Rectangle 136">
                <a:extLst>
                  <a:ext uri="{FF2B5EF4-FFF2-40B4-BE49-F238E27FC236}">
                    <a16:creationId xmlns:a16="http://schemas.microsoft.com/office/drawing/2014/main" id="{FAC67805-470D-4390-B4BF-148A5DBCA4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+mn-cs"/>
                </a:endParaRPr>
              </a:p>
            </p:txBody>
          </p:sp>
          <p:sp>
            <p:nvSpPr>
              <p:cNvPr id="512" name="Line 137">
                <a:extLst>
                  <a:ext uri="{FF2B5EF4-FFF2-40B4-BE49-F238E27FC236}">
                    <a16:creationId xmlns:a16="http://schemas.microsoft.com/office/drawing/2014/main" id="{EF352AF8-AF88-43C1-A5DB-5269199559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13" name="Freeform 138">
                <a:extLst>
                  <a:ext uri="{FF2B5EF4-FFF2-40B4-BE49-F238E27FC236}">
                    <a16:creationId xmlns:a16="http://schemas.microsoft.com/office/drawing/2014/main" id="{6F2EDF90-134A-4801-81F5-B9AD05E00B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14" name="Freeform 139">
                <a:extLst>
                  <a:ext uri="{FF2B5EF4-FFF2-40B4-BE49-F238E27FC236}">
                    <a16:creationId xmlns:a16="http://schemas.microsoft.com/office/drawing/2014/main" id="{613FED4A-113C-4506-92B3-41621DB45C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15" name="Line 140">
                <a:extLst>
                  <a:ext uri="{FF2B5EF4-FFF2-40B4-BE49-F238E27FC236}">
                    <a16:creationId xmlns:a16="http://schemas.microsoft.com/office/drawing/2014/main" id="{6634115B-E6EE-4EF2-B25F-0A16777F4E6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16" name="Freeform 141">
                <a:extLst>
                  <a:ext uri="{FF2B5EF4-FFF2-40B4-BE49-F238E27FC236}">
                    <a16:creationId xmlns:a16="http://schemas.microsoft.com/office/drawing/2014/main" id="{D288A888-A79B-4A36-AC16-4CF7838649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17" name="Freeform 142">
                <a:extLst>
                  <a:ext uri="{FF2B5EF4-FFF2-40B4-BE49-F238E27FC236}">
                    <a16:creationId xmlns:a16="http://schemas.microsoft.com/office/drawing/2014/main" id="{081180E1-2EB4-4986-A4CB-4934992C1C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18" name="Line 143">
                <a:extLst>
                  <a:ext uri="{FF2B5EF4-FFF2-40B4-BE49-F238E27FC236}">
                    <a16:creationId xmlns:a16="http://schemas.microsoft.com/office/drawing/2014/main" id="{090D9BA5-E9D7-4641-9C66-B02E071DCB9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19" name="Freeform 144">
                <a:extLst>
                  <a:ext uri="{FF2B5EF4-FFF2-40B4-BE49-F238E27FC236}">
                    <a16:creationId xmlns:a16="http://schemas.microsoft.com/office/drawing/2014/main" id="{3280F6D3-C84E-4B41-808A-1EFE4B4661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20" name="Freeform 145">
                <a:extLst>
                  <a:ext uri="{FF2B5EF4-FFF2-40B4-BE49-F238E27FC236}">
                    <a16:creationId xmlns:a16="http://schemas.microsoft.com/office/drawing/2014/main" id="{BAEE58C0-2143-472A-BEF7-53B1A270D8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21" name="Freeform 146">
                <a:extLst>
                  <a:ext uri="{FF2B5EF4-FFF2-40B4-BE49-F238E27FC236}">
                    <a16:creationId xmlns:a16="http://schemas.microsoft.com/office/drawing/2014/main" id="{5E5252DE-CBA9-4DDC-9165-7011289852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22" name="Freeform 147">
                <a:extLst>
                  <a:ext uri="{FF2B5EF4-FFF2-40B4-BE49-F238E27FC236}">
                    <a16:creationId xmlns:a16="http://schemas.microsoft.com/office/drawing/2014/main" id="{01346290-7F8D-4234-8F78-71A1A5D2F3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23" name="Freeform 148">
                <a:extLst>
                  <a:ext uri="{FF2B5EF4-FFF2-40B4-BE49-F238E27FC236}">
                    <a16:creationId xmlns:a16="http://schemas.microsoft.com/office/drawing/2014/main" id="{8528A9E8-E757-45E1-AC89-5A0EAB5B41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grpSp>
          <p:nvGrpSpPr>
            <p:cNvPr id="91" name="Group 149">
              <a:extLst>
                <a:ext uri="{FF2B5EF4-FFF2-40B4-BE49-F238E27FC236}">
                  <a16:creationId xmlns:a16="http://schemas.microsoft.com/office/drawing/2014/main" id="{409AD81F-03CD-40CA-976B-AA972017D626}"/>
                </a:ext>
              </a:extLst>
            </p:cNvPr>
            <p:cNvGrpSpPr>
              <a:grpSpLocks/>
            </p:cNvGrpSpPr>
            <p:nvPr>
              <p:custDataLst>
                <p:tags r:id="rId85"/>
              </p:custDataLst>
            </p:nvPr>
          </p:nvGrpSpPr>
          <p:grpSpPr bwMode="auto">
            <a:xfrm>
              <a:off x="7870815" y="3809970"/>
              <a:ext cx="185737" cy="214311"/>
              <a:chOff x="5486" y="2743"/>
              <a:chExt cx="137" cy="132"/>
            </a:xfrm>
          </p:grpSpPr>
          <p:sp>
            <p:nvSpPr>
              <p:cNvPr id="484" name="Freeform 150">
                <a:extLst>
                  <a:ext uri="{FF2B5EF4-FFF2-40B4-BE49-F238E27FC236}">
                    <a16:creationId xmlns:a16="http://schemas.microsoft.com/office/drawing/2014/main" id="{BBDD5464-EA7D-4B0A-9747-EA5AD22B8D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0 h 87"/>
                  <a:gd name="T2" fmla="*/ 0 w 40"/>
                  <a:gd name="T3" fmla="*/ 14 h 87"/>
                  <a:gd name="T4" fmla="*/ 1 w 40"/>
                  <a:gd name="T5" fmla="*/ 16 h 87"/>
                  <a:gd name="T6" fmla="*/ 2 w 40"/>
                  <a:gd name="T7" fmla="*/ 19 h 87"/>
                  <a:gd name="T8" fmla="*/ 3 w 40"/>
                  <a:gd name="T9" fmla="*/ 21 h 87"/>
                  <a:gd name="T10" fmla="*/ 5 w 40"/>
                  <a:gd name="T11" fmla="*/ 23 h 87"/>
                  <a:gd name="T12" fmla="*/ 7 w 40"/>
                  <a:gd name="T13" fmla="*/ 25 h 87"/>
                  <a:gd name="T14" fmla="*/ 10 w 40"/>
                  <a:gd name="T15" fmla="*/ 26 h 87"/>
                  <a:gd name="T16" fmla="*/ 13 w 40"/>
                  <a:gd name="T17" fmla="*/ 28 h 87"/>
                  <a:gd name="T18" fmla="*/ 11 w 40"/>
                  <a:gd name="T19" fmla="*/ 26 h 87"/>
                  <a:gd name="T20" fmla="*/ 10 w 40"/>
                  <a:gd name="T21" fmla="*/ 25 h 87"/>
                  <a:gd name="T22" fmla="*/ 9 w 40"/>
                  <a:gd name="T23" fmla="*/ 23 h 87"/>
                  <a:gd name="T24" fmla="*/ 8 w 40"/>
                  <a:gd name="T25" fmla="*/ 21 h 87"/>
                  <a:gd name="T26" fmla="*/ 7 w 40"/>
                  <a:gd name="T27" fmla="*/ 17 h 87"/>
                  <a:gd name="T28" fmla="*/ 7 w 40"/>
                  <a:gd name="T29" fmla="*/ 13 h 87"/>
                  <a:gd name="T30" fmla="*/ 6 w 40"/>
                  <a:gd name="T31" fmla="*/ 9 h 87"/>
                  <a:gd name="T32" fmla="*/ 4 w 40"/>
                  <a:gd name="T33" fmla="*/ 5 h 87"/>
                  <a:gd name="T34" fmla="*/ 4 w 40"/>
                  <a:gd name="T35" fmla="*/ 4 h 87"/>
                  <a:gd name="T36" fmla="*/ 3 w 40"/>
                  <a:gd name="T37" fmla="*/ 2 h 87"/>
                  <a:gd name="T38" fmla="*/ 1 w 40"/>
                  <a:gd name="T39" fmla="*/ 1 h 87"/>
                  <a:gd name="T40" fmla="*/ 0 w 40"/>
                  <a:gd name="T41" fmla="*/ 0 h 87"/>
                  <a:gd name="T42" fmla="*/ 0 w 40"/>
                  <a:gd name="T43" fmla="*/ 3 h 87"/>
                  <a:gd name="T44" fmla="*/ 0 w 40"/>
                  <a:gd name="T45" fmla="*/ 5 h 87"/>
                  <a:gd name="T46" fmla="*/ 0 w 40"/>
                  <a:gd name="T47" fmla="*/ 7 h 87"/>
                  <a:gd name="T48" fmla="*/ 0 w 40"/>
                  <a:gd name="T49" fmla="*/ 1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85" name="Freeform 151">
                <a:extLst>
                  <a:ext uri="{FF2B5EF4-FFF2-40B4-BE49-F238E27FC236}">
                    <a16:creationId xmlns:a16="http://schemas.microsoft.com/office/drawing/2014/main" id="{4B7F51EE-DDD7-48E6-8DDA-1B7DCDFC8A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0 h 37"/>
                  <a:gd name="T2" fmla="*/ 6 w 61"/>
                  <a:gd name="T3" fmla="*/ 10 h 37"/>
                  <a:gd name="T4" fmla="*/ 11 w 61"/>
                  <a:gd name="T5" fmla="*/ 11 h 37"/>
                  <a:gd name="T6" fmla="*/ 16 w 61"/>
                  <a:gd name="T7" fmla="*/ 12 h 37"/>
                  <a:gd name="T8" fmla="*/ 20 w 61"/>
                  <a:gd name="T9" fmla="*/ 12 h 37"/>
                  <a:gd name="T10" fmla="*/ 18 w 61"/>
                  <a:gd name="T11" fmla="*/ 9 h 37"/>
                  <a:gd name="T12" fmla="*/ 16 w 61"/>
                  <a:gd name="T13" fmla="*/ 7 h 37"/>
                  <a:gd name="T14" fmla="*/ 14 w 61"/>
                  <a:gd name="T15" fmla="*/ 6 h 37"/>
                  <a:gd name="T16" fmla="*/ 11 w 61"/>
                  <a:gd name="T17" fmla="*/ 4 h 37"/>
                  <a:gd name="T18" fmla="*/ 9 w 61"/>
                  <a:gd name="T19" fmla="*/ 3 h 37"/>
                  <a:gd name="T20" fmla="*/ 6 w 61"/>
                  <a:gd name="T21" fmla="*/ 2 h 37"/>
                  <a:gd name="T22" fmla="*/ 3 w 61"/>
                  <a:gd name="T23" fmla="*/ 1 h 37"/>
                  <a:gd name="T24" fmla="*/ 0 w 61"/>
                  <a:gd name="T25" fmla="*/ 0 h 37"/>
                  <a:gd name="T26" fmla="*/ 0 w 61"/>
                  <a:gd name="T27" fmla="*/ 1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86" name="Freeform 152">
                <a:extLst>
                  <a:ext uri="{FF2B5EF4-FFF2-40B4-BE49-F238E27FC236}">
                    <a16:creationId xmlns:a16="http://schemas.microsoft.com/office/drawing/2014/main" id="{9E7934DE-7EBB-450E-B676-8EF452A242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3 w 40"/>
                  <a:gd name="T1" fmla="*/ 10 h 30"/>
                  <a:gd name="T2" fmla="*/ 11 w 40"/>
                  <a:gd name="T3" fmla="*/ 9 h 30"/>
                  <a:gd name="T4" fmla="*/ 8 w 40"/>
                  <a:gd name="T5" fmla="*/ 8 h 30"/>
                  <a:gd name="T6" fmla="*/ 7 w 40"/>
                  <a:gd name="T7" fmla="*/ 7 h 30"/>
                  <a:gd name="T8" fmla="*/ 5 w 40"/>
                  <a:gd name="T9" fmla="*/ 6 h 30"/>
                  <a:gd name="T10" fmla="*/ 4 w 40"/>
                  <a:gd name="T11" fmla="*/ 5 h 30"/>
                  <a:gd name="T12" fmla="*/ 2 w 40"/>
                  <a:gd name="T13" fmla="*/ 4 h 30"/>
                  <a:gd name="T14" fmla="*/ 1 w 40"/>
                  <a:gd name="T15" fmla="*/ 2 h 30"/>
                  <a:gd name="T16" fmla="*/ 0 w 40"/>
                  <a:gd name="T17" fmla="*/ 0 h 30"/>
                  <a:gd name="T18" fmla="*/ 3 w 40"/>
                  <a:gd name="T19" fmla="*/ 1 h 30"/>
                  <a:gd name="T20" fmla="*/ 5 w 40"/>
                  <a:gd name="T21" fmla="*/ 2 h 30"/>
                  <a:gd name="T22" fmla="*/ 7 w 40"/>
                  <a:gd name="T23" fmla="*/ 3 h 30"/>
                  <a:gd name="T24" fmla="*/ 9 w 40"/>
                  <a:gd name="T25" fmla="*/ 5 h 30"/>
                  <a:gd name="T26" fmla="*/ 11 w 40"/>
                  <a:gd name="T27" fmla="*/ 6 h 30"/>
                  <a:gd name="T28" fmla="*/ 12 w 40"/>
                  <a:gd name="T29" fmla="*/ 8 h 30"/>
                  <a:gd name="T30" fmla="*/ 13 w 40"/>
                  <a:gd name="T31" fmla="*/ 9 h 30"/>
                  <a:gd name="T32" fmla="*/ 13 w 40"/>
                  <a:gd name="T33" fmla="*/ 1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87" name="Freeform 153">
                <a:extLst>
                  <a:ext uri="{FF2B5EF4-FFF2-40B4-BE49-F238E27FC236}">
                    <a16:creationId xmlns:a16="http://schemas.microsoft.com/office/drawing/2014/main" id="{AD0ABCCB-ECA7-461B-AE0A-C0C6ADE49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24 w 74"/>
                  <a:gd name="T1" fmla="*/ 26 h 80"/>
                  <a:gd name="T2" fmla="*/ 23 w 74"/>
                  <a:gd name="T3" fmla="*/ 24 h 80"/>
                  <a:gd name="T4" fmla="*/ 23 w 74"/>
                  <a:gd name="T5" fmla="*/ 21 h 80"/>
                  <a:gd name="T6" fmla="*/ 22 w 74"/>
                  <a:gd name="T7" fmla="*/ 20 h 80"/>
                  <a:gd name="T8" fmla="*/ 21 w 74"/>
                  <a:gd name="T9" fmla="*/ 17 h 80"/>
                  <a:gd name="T10" fmla="*/ 19 w 74"/>
                  <a:gd name="T11" fmla="*/ 14 h 80"/>
                  <a:gd name="T12" fmla="*/ 16 w 74"/>
                  <a:gd name="T13" fmla="*/ 11 h 80"/>
                  <a:gd name="T14" fmla="*/ 12 w 74"/>
                  <a:gd name="T15" fmla="*/ 8 h 80"/>
                  <a:gd name="T16" fmla="*/ 9 w 74"/>
                  <a:gd name="T17" fmla="*/ 6 h 80"/>
                  <a:gd name="T18" fmla="*/ 6 w 74"/>
                  <a:gd name="T19" fmla="*/ 3 h 80"/>
                  <a:gd name="T20" fmla="*/ 4 w 74"/>
                  <a:gd name="T21" fmla="*/ 0 h 80"/>
                  <a:gd name="T22" fmla="*/ 3 w 74"/>
                  <a:gd name="T23" fmla="*/ 2 h 80"/>
                  <a:gd name="T24" fmla="*/ 1 w 74"/>
                  <a:gd name="T25" fmla="*/ 3 h 80"/>
                  <a:gd name="T26" fmla="*/ 0 w 74"/>
                  <a:gd name="T27" fmla="*/ 5 h 80"/>
                  <a:gd name="T28" fmla="*/ 0 w 74"/>
                  <a:gd name="T29" fmla="*/ 6 h 80"/>
                  <a:gd name="T30" fmla="*/ 0 w 74"/>
                  <a:gd name="T31" fmla="*/ 8 h 80"/>
                  <a:gd name="T32" fmla="*/ 1 w 74"/>
                  <a:gd name="T33" fmla="*/ 10 h 80"/>
                  <a:gd name="T34" fmla="*/ 1 w 74"/>
                  <a:gd name="T35" fmla="*/ 12 h 80"/>
                  <a:gd name="T36" fmla="*/ 2 w 74"/>
                  <a:gd name="T37" fmla="*/ 13 h 80"/>
                  <a:gd name="T38" fmla="*/ 3 w 74"/>
                  <a:gd name="T39" fmla="*/ 15 h 80"/>
                  <a:gd name="T40" fmla="*/ 5 w 74"/>
                  <a:gd name="T41" fmla="*/ 17 h 80"/>
                  <a:gd name="T42" fmla="*/ 6 w 74"/>
                  <a:gd name="T43" fmla="*/ 18 h 80"/>
                  <a:gd name="T44" fmla="*/ 8 w 74"/>
                  <a:gd name="T45" fmla="*/ 20 h 80"/>
                  <a:gd name="T46" fmla="*/ 10 w 74"/>
                  <a:gd name="T47" fmla="*/ 21 h 80"/>
                  <a:gd name="T48" fmla="*/ 11 w 74"/>
                  <a:gd name="T49" fmla="*/ 22 h 80"/>
                  <a:gd name="T50" fmla="*/ 14 w 74"/>
                  <a:gd name="T51" fmla="*/ 23 h 80"/>
                  <a:gd name="T52" fmla="*/ 15 w 74"/>
                  <a:gd name="T53" fmla="*/ 24 h 80"/>
                  <a:gd name="T54" fmla="*/ 18 w 74"/>
                  <a:gd name="T55" fmla="*/ 25 h 80"/>
                  <a:gd name="T56" fmla="*/ 19 w 74"/>
                  <a:gd name="T57" fmla="*/ 26 h 80"/>
                  <a:gd name="T58" fmla="*/ 22 w 74"/>
                  <a:gd name="T59" fmla="*/ 26 h 80"/>
                  <a:gd name="T60" fmla="*/ 24 w 74"/>
                  <a:gd name="T61" fmla="*/ 26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88" name="Freeform 154">
                <a:extLst>
                  <a:ext uri="{FF2B5EF4-FFF2-40B4-BE49-F238E27FC236}">
                    <a16:creationId xmlns:a16="http://schemas.microsoft.com/office/drawing/2014/main" id="{5F3F062A-5BB0-4A04-8D87-4BC91412BD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6 w 86"/>
                  <a:gd name="T1" fmla="*/ 27 h 80"/>
                  <a:gd name="T2" fmla="*/ 26 w 86"/>
                  <a:gd name="T3" fmla="*/ 27 h 80"/>
                  <a:gd name="T4" fmla="*/ 26 w 86"/>
                  <a:gd name="T5" fmla="*/ 21 h 80"/>
                  <a:gd name="T6" fmla="*/ 24 w 86"/>
                  <a:gd name="T7" fmla="*/ 20 h 80"/>
                  <a:gd name="T8" fmla="*/ 22 w 86"/>
                  <a:gd name="T9" fmla="*/ 19 h 80"/>
                  <a:gd name="T10" fmla="*/ 20 w 86"/>
                  <a:gd name="T11" fmla="*/ 18 h 80"/>
                  <a:gd name="T12" fmla="*/ 18 w 86"/>
                  <a:gd name="T13" fmla="*/ 17 h 80"/>
                  <a:gd name="T14" fmla="*/ 15 w 86"/>
                  <a:gd name="T15" fmla="*/ 14 h 80"/>
                  <a:gd name="T16" fmla="*/ 13 w 86"/>
                  <a:gd name="T17" fmla="*/ 11 h 80"/>
                  <a:gd name="T18" fmla="*/ 10 w 86"/>
                  <a:gd name="T19" fmla="*/ 8 h 80"/>
                  <a:gd name="T20" fmla="*/ 7 w 86"/>
                  <a:gd name="T21" fmla="*/ 5 h 80"/>
                  <a:gd name="T22" fmla="*/ 4 w 86"/>
                  <a:gd name="T23" fmla="*/ 2 h 80"/>
                  <a:gd name="T24" fmla="*/ 0 w 86"/>
                  <a:gd name="T25" fmla="*/ 0 h 80"/>
                  <a:gd name="T26" fmla="*/ 0 w 86"/>
                  <a:gd name="T27" fmla="*/ 3 h 80"/>
                  <a:gd name="T28" fmla="*/ 2 w 86"/>
                  <a:gd name="T29" fmla="*/ 7 h 80"/>
                  <a:gd name="T30" fmla="*/ 3 w 86"/>
                  <a:gd name="T31" fmla="*/ 11 h 80"/>
                  <a:gd name="T32" fmla="*/ 5 w 86"/>
                  <a:gd name="T33" fmla="*/ 15 h 80"/>
                  <a:gd name="T34" fmla="*/ 8 w 86"/>
                  <a:gd name="T35" fmla="*/ 19 h 80"/>
                  <a:gd name="T36" fmla="*/ 11 w 86"/>
                  <a:gd name="T37" fmla="*/ 23 h 80"/>
                  <a:gd name="T38" fmla="*/ 12 w 86"/>
                  <a:gd name="T39" fmla="*/ 24 h 80"/>
                  <a:gd name="T40" fmla="*/ 14 w 86"/>
                  <a:gd name="T41" fmla="*/ 26 h 80"/>
                  <a:gd name="T42" fmla="*/ 15 w 86"/>
                  <a:gd name="T43" fmla="*/ 27 h 80"/>
                  <a:gd name="T44" fmla="*/ 16 w 86"/>
                  <a:gd name="T45" fmla="*/ 27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89" name="Freeform 155">
                <a:extLst>
                  <a:ext uri="{FF2B5EF4-FFF2-40B4-BE49-F238E27FC236}">
                    <a16:creationId xmlns:a16="http://schemas.microsoft.com/office/drawing/2014/main" id="{E37D6AE2-D1D9-45E5-871A-782B65B74E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2 h 31"/>
                  <a:gd name="T2" fmla="*/ 1 w 74"/>
                  <a:gd name="T3" fmla="*/ 4 h 31"/>
                  <a:gd name="T4" fmla="*/ 2 w 74"/>
                  <a:gd name="T5" fmla="*/ 5 h 31"/>
                  <a:gd name="T6" fmla="*/ 3 w 74"/>
                  <a:gd name="T7" fmla="*/ 6 h 31"/>
                  <a:gd name="T8" fmla="*/ 5 w 74"/>
                  <a:gd name="T9" fmla="*/ 7 h 31"/>
                  <a:gd name="T10" fmla="*/ 6 w 74"/>
                  <a:gd name="T11" fmla="*/ 9 h 31"/>
                  <a:gd name="T12" fmla="*/ 8 w 74"/>
                  <a:gd name="T13" fmla="*/ 9 h 31"/>
                  <a:gd name="T14" fmla="*/ 10 w 74"/>
                  <a:gd name="T15" fmla="*/ 10 h 31"/>
                  <a:gd name="T16" fmla="*/ 11 w 74"/>
                  <a:gd name="T17" fmla="*/ 10 h 31"/>
                  <a:gd name="T18" fmla="*/ 16 w 74"/>
                  <a:gd name="T19" fmla="*/ 11 h 31"/>
                  <a:gd name="T20" fmla="*/ 20 w 74"/>
                  <a:gd name="T21" fmla="*/ 11 h 31"/>
                  <a:gd name="T22" fmla="*/ 21 w 74"/>
                  <a:gd name="T23" fmla="*/ 11 h 31"/>
                  <a:gd name="T24" fmla="*/ 23 w 74"/>
                  <a:gd name="T25" fmla="*/ 10 h 31"/>
                  <a:gd name="T26" fmla="*/ 24 w 74"/>
                  <a:gd name="T27" fmla="*/ 10 h 31"/>
                  <a:gd name="T28" fmla="*/ 25 w 74"/>
                  <a:gd name="T29" fmla="*/ 9 h 31"/>
                  <a:gd name="T30" fmla="*/ 22 w 74"/>
                  <a:gd name="T31" fmla="*/ 6 h 31"/>
                  <a:gd name="T32" fmla="*/ 19 w 74"/>
                  <a:gd name="T33" fmla="*/ 5 h 31"/>
                  <a:gd name="T34" fmla="*/ 17 w 74"/>
                  <a:gd name="T35" fmla="*/ 4 h 31"/>
                  <a:gd name="T36" fmla="*/ 16 w 74"/>
                  <a:gd name="T37" fmla="*/ 3 h 31"/>
                  <a:gd name="T38" fmla="*/ 15 w 74"/>
                  <a:gd name="T39" fmla="*/ 2 h 31"/>
                  <a:gd name="T40" fmla="*/ 14 w 74"/>
                  <a:gd name="T41" fmla="*/ 0 h 31"/>
                  <a:gd name="T42" fmla="*/ 11 w 74"/>
                  <a:gd name="T43" fmla="*/ 0 h 31"/>
                  <a:gd name="T44" fmla="*/ 9 w 74"/>
                  <a:gd name="T45" fmla="*/ 0 h 31"/>
                  <a:gd name="T46" fmla="*/ 7 w 74"/>
                  <a:gd name="T47" fmla="*/ 0 h 31"/>
                  <a:gd name="T48" fmla="*/ 6 w 74"/>
                  <a:gd name="T49" fmla="*/ 0 h 31"/>
                  <a:gd name="T50" fmla="*/ 5 w 74"/>
                  <a:gd name="T51" fmla="*/ 0 h 31"/>
                  <a:gd name="T52" fmla="*/ 3 w 74"/>
                  <a:gd name="T53" fmla="*/ 0 h 31"/>
                  <a:gd name="T54" fmla="*/ 2 w 74"/>
                  <a:gd name="T55" fmla="*/ 1 h 31"/>
                  <a:gd name="T56" fmla="*/ 0 w 74"/>
                  <a:gd name="T57" fmla="*/ 2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90" name="Freeform 156">
                <a:extLst>
                  <a:ext uri="{FF2B5EF4-FFF2-40B4-BE49-F238E27FC236}">
                    <a16:creationId xmlns:a16="http://schemas.microsoft.com/office/drawing/2014/main" id="{6106CCC8-A80D-4502-92B8-63653D1D1D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0 w 20"/>
                  <a:gd name="T3" fmla="*/ 0 h 1"/>
                  <a:gd name="T4" fmla="*/ 3 w 20"/>
                  <a:gd name="T5" fmla="*/ 0 h 1"/>
                  <a:gd name="T6" fmla="*/ 6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91" name="Freeform 157">
                <a:extLst>
                  <a:ext uri="{FF2B5EF4-FFF2-40B4-BE49-F238E27FC236}">
                    <a16:creationId xmlns:a16="http://schemas.microsoft.com/office/drawing/2014/main" id="{A1AA5081-48CE-429A-920C-990FFC8F64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2 w 100"/>
                  <a:gd name="T1" fmla="*/ 8 h 65"/>
                  <a:gd name="T2" fmla="*/ 11 w 100"/>
                  <a:gd name="T3" fmla="*/ 13 h 65"/>
                  <a:gd name="T4" fmla="*/ 20 w 100"/>
                  <a:gd name="T5" fmla="*/ 18 h 65"/>
                  <a:gd name="T6" fmla="*/ 23 w 100"/>
                  <a:gd name="T7" fmla="*/ 19 h 65"/>
                  <a:gd name="T8" fmla="*/ 27 w 100"/>
                  <a:gd name="T9" fmla="*/ 21 h 65"/>
                  <a:gd name="T10" fmla="*/ 28 w 100"/>
                  <a:gd name="T11" fmla="*/ 21 h 65"/>
                  <a:gd name="T12" fmla="*/ 29 w 100"/>
                  <a:gd name="T13" fmla="*/ 21 h 65"/>
                  <a:gd name="T14" fmla="*/ 31 w 100"/>
                  <a:gd name="T15" fmla="*/ 21 h 65"/>
                  <a:gd name="T16" fmla="*/ 32 w 100"/>
                  <a:gd name="T17" fmla="*/ 20 h 65"/>
                  <a:gd name="T18" fmla="*/ 30 w 100"/>
                  <a:gd name="T19" fmla="*/ 19 h 65"/>
                  <a:gd name="T20" fmla="*/ 28 w 100"/>
                  <a:gd name="T21" fmla="*/ 18 h 65"/>
                  <a:gd name="T22" fmla="*/ 27 w 100"/>
                  <a:gd name="T23" fmla="*/ 17 h 65"/>
                  <a:gd name="T24" fmla="*/ 25 w 100"/>
                  <a:gd name="T25" fmla="*/ 15 h 65"/>
                  <a:gd name="T26" fmla="*/ 21 w 100"/>
                  <a:gd name="T27" fmla="*/ 11 h 65"/>
                  <a:gd name="T28" fmla="*/ 18 w 100"/>
                  <a:gd name="T29" fmla="*/ 7 h 65"/>
                  <a:gd name="T30" fmla="*/ 17 w 100"/>
                  <a:gd name="T31" fmla="*/ 5 h 65"/>
                  <a:gd name="T32" fmla="*/ 15 w 100"/>
                  <a:gd name="T33" fmla="*/ 3 h 65"/>
                  <a:gd name="T34" fmla="*/ 13 w 100"/>
                  <a:gd name="T35" fmla="*/ 1 h 65"/>
                  <a:gd name="T36" fmla="*/ 11 w 100"/>
                  <a:gd name="T37" fmla="*/ 0 h 65"/>
                  <a:gd name="T38" fmla="*/ 9 w 100"/>
                  <a:gd name="T39" fmla="*/ 0 h 65"/>
                  <a:gd name="T40" fmla="*/ 6 w 100"/>
                  <a:gd name="T41" fmla="*/ 0 h 65"/>
                  <a:gd name="T42" fmla="*/ 3 w 100"/>
                  <a:gd name="T43" fmla="*/ 1 h 65"/>
                  <a:gd name="T44" fmla="*/ 0 w 100"/>
                  <a:gd name="T45" fmla="*/ 2 h 65"/>
                  <a:gd name="T46" fmla="*/ 2 w 100"/>
                  <a:gd name="T47" fmla="*/ 8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92" name="Freeform 158">
                <a:extLst>
                  <a:ext uri="{FF2B5EF4-FFF2-40B4-BE49-F238E27FC236}">
                    <a16:creationId xmlns:a16="http://schemas.microsoft.com/office/drawing/2014/main" id="{9411C371-2B07-41DA-AAE2-DBB4CDC784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2 w 79"/>
                  <a:gd name="T1" fmla="*/ 28 h 104"/>
                  <a:gd name="T2" fmla="*/ 17 w 79"/>
                  <a:gd name="T3" fmla="*/ 20 h 104"/>
                  <a:gd name="T4" fmla="*/ 13 w 79"/>
                  <a:gd name="T5" fmla="*/ 13 h 104"/>
                  <a:gd name="T6" fmla="*/ 9 w 79"/>
                  <a:gd name="T7" fmla="*/ 7 h 104"/>
                  <a:gd name="T8" fmla="*/ 4 w 79"/>
                  <a:gd name="T9" fmla="*/ 0 h 104"/>
                  <a:gd name="T10" fmla="*/ 2 w 79"/>
                  <a:gd name="T11" fmla="*/ 5 h 104"/>
                  <a:gd name="T12" fmla="*/ 1 w 79"/>
                  <a:gd name="T13" fmla="*/ 11 h 104"/>
                  <a:gd name="T14" fmla="*/ 0 w 79"/>
                  <a:gd name="T15" fmla="*/ 13 h 104"/>
                  <a:gd name="T16" fmla="*/ 0 w 79"/>
                  <a:gd name="T17" fmla="*/ 16 h 104"/>
                  <a:gd name="T18" fmla="*/ 0 w 79"/>
                  <a:gd name="T19" fmla="*/ 18 h 104"/>
                  <a:gd name="T20" fmla="*/ 0 w 79"/>
                  <a:gd name="T21" fmla="*/ 20 h 104"/>
                  <a:gd name="T22" fmla="*/ 0 w 79"/>
                  <a:gd name="T23" fmla="*/ 22 h 104"/>
                  <a:gd name="T24" fmla="*/ 1 w 79"/>
                  <a:gd name="T25" fmla="*/ 24 h 104"/>
                  <a:gd name="T26" fmla="*/ 2 w 79"/>
                  <a:gd name="T27" fmla="*/ 26 h 104"/>
                  <a:gd name="T28" fmla="*/ 3 w 79"/>
                  <a:gd name="T29" fmla="*/ 27 h 104"/>
                  <a:gd name="T30" fmla="*/ 4 w 79"/>
                  <a:gd name="T31" fmla="*/ 29 h 104"/>
                  <a:gd name="T32" fmla="*/ 6 w 79"/>
                  <a:gd name="T33" fmla="*/ 29 h 104"/>
                  <a:gd name="T34" fmla="*/ 8 w 79"/>
                  <a:gd name="T35" fmla="*/ 30 h 104"/>
                  <a:gd name="T36" fmla="*/ 10 w 79"/>
                  <a:gd name="T37" fmla="*/ 30 h 104"/>
                  <a:gd name="T38" fmla="*/ 13 w 79"/>
                  <a:gd name="T39" fmla="*/ 30 h 104"/>
                  <a:gd name="T40" fmla="*/ 16 w 79"/>
                  <a:gd name="T41" fmla="*/ 31 h 104"/>
                  <a:gd name="T42" fmla="*/ 20 w 79"/>
                  <a:gd name="T43" fmla="*/ 33 h 104"/>
                  <a:gd name="T44" fmla="*/ 24 w 79"/>
                  <a:gd name="T45" fmla="*/ 34 h 104"/>
                  <a:gd name="T46" fmla="*/ 22 w 79"/>
                  <a:gd name="T47" fmla="*/ 28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92" name="Freeform 159">
              <a:extLst>
                <a:ext uri="{FF2B5EF4-FFF2-40B4-BE49-F238E27FC236}">
                  <a16:creationId xmlns:a16="http://schemas.microsoft.com/office/drawing/2014/main" id="{52199687-B3B1-448E-A51B-D36C7C0EFB3E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4216395" y="3548035"/>
              <a:ext cx="11113" cy="55562"/>
            </a:xfrm>
            <a:custGeom>
              <a:avLst/>
              <a:gdLst>
                <a:gd name="T0" fmla="*/ 11113 w 27"/>
                <a:gd name="T1" fmla="*/ 0 h 19"/>
                <a:gd name="T2" fmla="*/ 11113 w 27"/>
                <a:gd name="T3" fmla="*/ 35092 h 19"/>
                <a:gd name="T4" fmla="*/ 11113 w 27"/>
                <a:gd name="T5" fmla="*/ 55562 h 19"/>
                <a:gd name="T6" fmla="*/ 3704 w 27"/>
                <a:gd name="T7" fmla="*/ 55562 h 19"/>
                <a:gd name="T8" fmla="*/ 0 w 27"/>
                <a:gd name="T9" fmla="*/ 55562 h 19"/>
                <a:gd name="T10" fmla="*/ 3704 w 27"/>
                <a:gd name="T11" fmla="*/ 35092 h 19"/>
                <a:gd name="T12" fmla="*/ 11113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3" name="Freeform 160">
              <a:extLst>
                <a:ext uri="{FF2B5EF4-FFF2-40B4-BE49-F238E27FC236}">
                  <a16:creationId xmlns:a16="http://schemas.microsoft.com/office/drawing/2014/main" id="{F594D993-C73B-495A-863E-12FBB98902A0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4140195" y="3687734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14288 w 39"/>
                <a:gd name="T3" fmla="*/ 0 h 35"/>
                <a:gd name="T4" fmla="*/ 13189 w 39"/>
                <a:gd name="T5" fmla="*/ 14696 h 35"/>
                <a:gd name="T6" fmla="*/ 12090 w 39"/>
                <a:gd name="T7" fmla="*/ 31024 h 35"/>
                <a:gd name="T8" fmla="*/ 9892 w 39"/>
                <a:gd name="T9" fmla="*/ 45720 h 35"/>
                <a:gd name="T10" fmla="*/ 8060 w 39"/>
                <a:gd name="T11" fmla="*/ 55517 h 35"/>
                <a:gd name="T12" fmla="*/ 6961 w 39"/>
                <a:gd name="T13" fmla="*/ 57150 h 35"/>
                <a:gd name="T14" fmla="*/ 5862 w 39"/>
                <a:gd name="T15" fmla="*/ 57150 h 35"/>
                <a:gd name="T16" fmla="*/ 4763 w 39"/>
                <a:gd name="T17" fmla="*/ 55517 h 35"/>
                <a:gd name="T18" fmla="*/ 4030 w 39"/>
                <a:gd name="T19" fmla="*/ 50619 h 35"/>
                <a:gd name="T20" fmla="*/ 2565 w 39"/>
                <a:gd name="T21" fmla="*/ 42454 h 35"/>
                <a:gd name="T22" fmla="*/ 1832 w 39"/>
                <a:gd name="T23" fmla="*/ 32657 h 35"/>
                <a:gd name="T24" fmla="*/ 733 w 39"/>
                <a:gd name="T25" fmla="*/ 1796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4" name="Freeform 161">
              <a:extLst>
                <a:ext uri="{FF2B5EF4-FFF2-40B4-BE49-F238E27FC236}">
                  <a16:creationId xmlns:a16="http://schemas.microsoft.com/office/drawing/2014/main" id="{C9C04194-EF9E-4D42-A900-9721324C015C}"/>
                </a:ext>
              </a:extLst>
            </p:cNvPr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5938830" y="2014522"/>
              <a:ext cx="728661" cy="331784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5" name="Freeform 162">
              <a:extLst>
                <a:ext uri="{FF2B5EF4-FFF2-40B4-BE49-F238E27FC236}">
                  <a16:creationId xmlns:a16="http://schemas.microsoft.com/office/drawing/2014/main" id="{82638123-F8AA-439F-9FFE-45101D09919B}"/>
                </a:ext>
              </a:extLst>
            </p:cNvPr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2265361" y="3981419"/>
              <a:ext cx="328612" cy="415922"/>
            </a:xfrm>
            <a:custGeom>
              <a:avLst/>
              <a:gdLst>
                <a:gd name="T0" fmla="*/ 11272 w 758"/>
                <a:gd name="T1" fmla="*/ 41854 h 795"/>
                <a:gd name="T2" fmla="*/ 21243 w 758"/>
                <a:gd name="T3" fmla="*/ 46039 h 795"/>
                <a:gd name="T4" fmla="*/ 31214 w 758"/>
                <a:gd name="T5" fmla="*/ 56503 h 795"/>
                <a:gd name="T6" fmla="*/ 38150 w 758"/>
                <a:gd name="T7" fmla="*/ 70106 h 795"/>
                <a:gd name="T8" fmla="*/ 40318 w 758"/>
                <a:gd name="T9" fmla="*/ 88417 h 795"/>
                <a:gd name="T10" fmla="*/ 36416 w 758"/>
                <a:gd name="T11" fmla="*/ 97311 h 795"/>
                <a:gd name="T12" fmla="*/ 35116 w 758"/>
                <a:gd name="T13" fmla="*/ 107251 h 795"/>
                <a:gd name="T14" fmla="*/ 38150 w 758"/>
                <a:gd name="T15" fmla="*/ 125562 h 795"/>
                <a:gd name="T16" fmla="*/ 41185 w 758"/>
                <a:gd name="T17" fmla="*/ 145443 h 795"/>
                <a:gd name="T18" fmla="*/ 35983 w 758"/>
                <a:gd name="T19" fmla="*/ 161138 h 795"/>
                <a:gd name="T20" fmla="*/ 35116 w 758"/>
                <a:gd name="T21" fmla="*/ 184158 h 795"/>
                <a:gd name="T22" fmla="*/ 40318 w 758"/>
                <a:gd name="T23" fmla="*/ 204039 h 795"/>
                <a:gd name="T24" fmla="*/ 42919 w 758"/>
                <a:gd name="T25" fmla="*/ 217118 h 795"/>
                <a:gd name="T26" fmla="*/ 33815 w 758"/>
                <a:gd name="T27" fmla="*/ 239091 h 795"/>
                <a:gd name="T28" fmla="*/ 48988 w 758"/>
                <a:gd name="T29" fmla="*/ 276760 h 795"/>
                <a:gd name="T30" fmla="*/ 59826 w 758"/>
                <a:gd name="T31" fmla="*/ 301873 h 795"/>
                <a:gd name="T32" fmla="*/ 63295 w 758"/>
                <a:gd name="T33" fmla="*/ 325416 h 795"/>
                <a:gd name="T34" fmla="*/ 65896 w 758"/>
                <a:gd name="T35" fmla="*/ 344773 h 795"/>
                <a:gd name="T36" fmla="*/ 81069 w 758"/>
                <a:gd name="T37" fmla="*/ 386104 h 795"/>
                <a:gd name="T38" fmla="*/ 92774 w 758"/>
                <a:gd name="T39" fmla="*/ 409124 h 795"/>
                <a:gd name="T40" fmla="*/ 99711 w 758"/>
                <a:gd name="T41" fmla="*/ 415402 h 795"/>
                <a:gd name="T42" fmla="*/ 108815 w 758"/>
                <a:gd name="T43" fmla="*/ 413309 h 795"/>
                <a:gd name="T44" fmla="*/ 125289 w 758"/>
                <a:gd name="T45" fmla="*/ 398137 h 795"/>
                <a:gd name="T46" fmla="*/ 140462 w 758"/>
                <a:gd name="T47" fmla="*/ 390289 h 795"/>
                <a:gd name="T48" fmla="*/ 153901 w 758"/>
                <a:gd name="T49" fmla="*/ 391336 h 795"/>
                <a:gd name="T50" fmla="*/ 168208 w 758"/>
                <a:gd name="T51" fmla="*/ 402846 h 795"/>
                <a:gd name="T52" fmla="*/ 181213 w 758"/>
                <a:gd name="T53" fmla="*/ 408077 h 795"/>
                <a:gd name="T54" fmla="*/ 189450 w 758"/>
                <a:gd name="T55" fmla="*/ 396567 h 795"/>
                <a:gd name="T56" fmla="*/ 207225 w 758"/>
                <a:gd name="T57" fmla="*/ 389766 h 795"/>
                <a:gd name="T58" fmla="*/ 227601 w 758"/>
                <a:gd name="T59" fmla="*/ 325416 h 795"/>
                <a:gd name="T60" fmla="*/ 233670 w 758"/>
                <a:gd name="T61" fmla="*/ 313906 h 795"/>
                <a:gd name="T62" fmla="*/ 249277 w 758"/>
                <a:gd name="T63" fmla="*/ 305535 h 795"/>
                <a:gd name="T64" fmla="*/ 288294 w 758"/>
                <a:gd name="T65" fmla="*/ 299780 h 795"/>
                <a:gd name="T66" fmla="*/ 297832 w 758"/>
                <a:gd name="T67" fmla="*/ 302919 h 795"/>
                <a:gd name="T68" fmla="*/ 305202 w 758"/>
                <a:gd name="T69" fmla="*/ 306058 h 795"/>
                <a:gd name="T70" fmla="*/ 322543 w 758"/>
                <a:gd name="T71" fmla="*/ 299780 h 795"/>
                <a:gd name="T72" fmla="*/ 328178 w 758"/>
                <a:gd name="T73" fmla="*/ 283038 h 795"/>
                <a:gd name="T74" fmla="*/ 326011 w 758"/>
                <a:gd name="T75" fmla="*/ 261065 h 795"/>
                <a:gd name="T76" fmla="*/ 314739 w 758"/>
                <a:gd name="T77" fmla="*/ 241707 h 795"/>
                <a:gd name="T78" fmla="*/ 307803 w 758"/>
                <a:gd name="T79" fmla="*/ 227582 h 795"/>
                <a:gd name="T80" fmla="*/ 290895 w 758"/>
                <a:gd name="T81" fmla="*/ 209794 h 795"/>
                <a:gd name="T82" fmla="*/ 274421 w 758"/>
                <a:gd name="T83" fmla="*/ 208747 h 795"/>
                <a:gd name="T84" fmla="*/ 262283 w 758"/>
                <a:gd name="T85" fmla="*/ 197761 h 795"/>
                <a:gd name="T86" fmla="*/ 255780 w 758"/>
                <a:gd name="T87" fmla="*/ 182588 h 795"/>
                <a:gd name="T88" fmla="*/ 253612 w 758"/>
                <a:gd name="T89" fmla="*/ 162708 h 795"/>
                <a:gd name="T90" fmla="*/ 252745 w 758"/>
                <a:gd name="T91" fmla="*/ 140734 h 795"/>
                <a:gd name="T92" fmla="*/ 242774 w 758"/>
                <a:gd name="T93" fmla="*/ 126609 h 795"/>
                <a:gd name="T94" fmla="*/ 218063 w 758"/>
                <a:gd name="T95" fmla="*/ 107251 h 795"/>
                <a:gd name="T96" fmla="*/ 190751 w 758"/>
                <a:gd name="T97" fmla="*/ 93125 h 795"/>
                <a:gd name="T98" fmla="*/ 169942 w 758"/>
                <a:gd name="T99" fmla="*/ 87370 h 795"/>
                <a:gd name="T100" fmla="*/ 155635 w 758"/>
                <a:gd name="T101" fmla="*/ 84231 h 795"/>
                <a:gd name="T102" fmla="*/ 143063 w 758"/>
                <a:gd name="T103" fmla="*/ 75861 h 795"/>
                <a:gd name="T104" fmla="*/ 133092 w 758"/>
                <a:gd name="T105" fmla="*/ 63827 h 795"/>
                <a:gd name="T106" fmla="*/ 126589 w 758"/>
                <a:gd name="T107" fmla="*/ 48132 h 795"/>
                <a:gd name="T108" fmla="*/ 120953 w 758"/>
                <a:gd name="T109" fmla="*/ 9940 h 795"/>
                <a:gd name="T110" fmla="*/ 113150 w 758"/>
                <a:gd name="T111" fmla="*/ 1570 h 795"/>
                <a:gd name="T112" fmla="*/ 98410 w 758"/>
                <a:gd name="T113" fmla="*/ 1570 h 795"/>
                <a:gd name="T114" fmla="*/ 75000 w 758"/>
                <a:gd name="T115" fmla="*/ 15695 h 795"/>
                <a:gd name="T116" fmla="*/ 51589 w 758"/>
                <a:gd name="T117" fmla="*/ 34530 h 795"/>
                <a:gd name="T118" fmla="*/ 0 w 758"/>
                <a:gd name="T119" fmla="*/ 41854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6" name="Freeform 163">
              <a:extLst>
                <a:ext uri="{FF2B5EF4-FFF2-40B4-BE49-F238E27FC236}">
                  <a16:creationId xmlns:a16="http://schemas.microsoft.com/office/drawing/2014/main" id="{B8F42C99-3306-4257-8713-68E1AB3276E9}"/>
                </a:ext>
              </a:extLst>
            </p:cNvPr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2479672" y="3411511"/>
              <a:ext cx="119063" cy="215899"/>
            </a:xfrm>
            <a:custGeom>
              <a:avLst/>
              <a:gdLst>
                <a:gd name="T0" fmla="*/ 98129 w 273"/>
                <a:gd name="T1" fmla="*/ 73010 h 414"/>
                <a:gd name="T2" fmla="*/ 92895 w 273"/>
                <a:gd name="T3" fmla="*/ 69359 h 414"/>
                <a:gd name="T4" fmla="*/ 87662 w 273"/>
                <a:gd name="T5" fmla="*/ 63101 h 414"/>
                <a:gd name="T6" fmla="*/ 82864 w 273"/>
                <a:gd name="T7" fmla="*/ 54757 h 414"/>
                <a:gd name="T8" fmla="*/ 79811 w 273"/>
                <a:gd name="T9" fmla="*/ 50064 h 414"/>
                <a:gd name="T10" fmla="*/ 76759 w 273"/>
                <a:gd name="T11" fmla="*/ 48499 h 414"/>
                <a:gd name="T12" fmla="*/ 72833 w 273"/>
                <a:gd name="T13" fmla="*/ 49021 h 414"/>
                <a:gd name="T14" fmla="*/ 70217 w 273"/>
                <a:gd name="T15" fmla="*/ 52671 h 414"/>
                <a:gd name="T16" fmla="*/ 66728 w 273"/>
                <a:gd name="T17" fmla="*/ 44849 h 414"/>
                <a:gd name="T18" fmla="*/ 61930 w 273"/>
                <a:gd name="T19" fmla="*/ 28161 h 414"/>
                <a:gd name="T20" fmla="*/ 57569 w 273"/>
                <a:gd name="T21" fmla="*/ 18774 h 414"/>
                <a:gd name="T22" fmla="*/ 53644 w 273"/>
                <a:gd name="T23" fmla="*/ 13037 h 414"/>
                <a:gd name="T24" fmla="*/ 48410 w 273"/>
                <a:gd name="T25" fmla="*/ 7301 h 414"/>
                <a:gd name="T26" fmla="*/ 41868 w 273"/>
                <a:gd name="T27" fmla="*/ 2607 h 414"/>
                <a:gd name="T28" fmla="*/ 34890 w 273"/>
                <a:gd name="T29" fmla="*/ 3650 h 414"/>
                <a:gd name="T30" fmla="*/ 30093 w 273"/>
                <a:gd name="T31" fmla="*/ 9908 h 414"/>
                <a:gd name="T32" fmla="*/ 27476 w 273"/>
                <a:gd name="T33" fmla="*/ 13037 h 414"/>
                <a:gd name="T34" fmla="*/ 24859 w 273"/>
                <a:gd name="T35" fmla="*/ 16688 h 414"/>
                <a:gd name="T36" fmla="*/ 24423 w 273"/>
                <a:gd name="T37" fmla="*/ 21903 h 414"/>
                <a:gd name="T38" fmla="*/ 25295 w 273"/>
                <a:gd name="T39" fmla="*/ 30768 h 414"/>
                <a:gd name="T40" fmla="*/ 22679 w 273"/>
                <a:gd name="T41" fmla="*/ 40677 h 414"/>
                <a:gd name="T42" fmla="*/ 14392 w 273"/>
                <a:gd name="T43" fmla="*/ 46935 h 414"/>
                <a:gd name="T44" fmla="*/ 7414 w 273"/>
                <a:gd name="T45" fmla="*/ 54236 h 414"/>
                <a:gd name="T46" fmla="*/ 1745 w 273"/>
                <a:gd name="T47" fmla="*/ 61537 h 414"/>
                <a:gd name="T48" fmla="*/ 17445 w 273"/>
                <a:gd name="T49" fmla="*/ 103257 h 414"/>
                <a:gd name="T50" fmla="*/ 31837 w 273"/>
                <a:gd name="T51" fmla="*/ 106907 h 414"/>
                <a:gd name="T52" fmla="*/ 36635 w 273"/>
                <a:gd name="T53" fmla="*/ 109514 h 414"/>
                <a:gd name="T54" fmla="*/ 40560 w 273"/>
                <a:gd name="T55" fmla="*/ 113686 h 414"/>
                <a:gd name="T56" fmla="*/ 43177 w 273"/>
                <a:gd name="T57" fmla="*/ 117858 h 414"/>
                <a:gd name="T58" fmla="*/ 44921 w 273"/>
                <a:gd name="T59" fmla="*/ 123595 h 414"/>
                <a:gd name="T60" fmla="*/ 46230 w 273"/>
                <a:gd name="T61" fmla="*/ 138197 h 414"/>
                <a:gd name="T62" fmla="*/ 44921 w 273"/>
                <a:gd name="T63" fmla="*/ 145498 h 414"/>
                <a:gd name="T64" fmla="*/ 41868 w 273"/>
                <a:gd name="T65" fmla="*/ 152799 h 414"/>
                <a:gd name="T66" fmla="*/ 38815 w 273"/>
                <a:gd name="T67" fmla="*/ 160100 h 414"/>
                <a:gd name="T68" fmla="*/ 37507 w 273"/>
                <a:gd name="T69" fmla="*/ 167401 h 414"/>
                <a:gd name="T70" fmla="*/ 39688 w 273"/>
                <a:gd name="T71" fmla="*/ 178874 h 414"/>
                <a:gd name="T72" fmla="*/ 46666 w 273"/>
                <a:gd name="T73" fmla="*/ 195040 h 414"/>
                <a:gd name="T74" fmla="*/ 51027 w 273"/>
                <a:gd name="T75" fmla="*/ 202863 h 414"/>
                <a:gd name="T76" fmla="*/ 56261 w 273"/>
                <a:gd name="T77" fmla="*/ 209121 h 414"/>
                <a:gd name="T78" fmla="*/ 61494 w 273"/>
                <a:gd name="T79" fmla="*/ 214336 h 414"/>
                <a:gd name="T80" fmla="*/ 66728 w 273"/>
                <a:gd name="T81" fmla="*/ 215900 h 414"/>
                <a:gd name="T82" fmla="*/ 93768 w 273"/>
                <a:gd name="T83" fmla="*/ 207556 h 414"/>
                <a:gd name="T84" fmla="*/ 111213 w 273"/>
                <a:gd name="T85" fmla="*/ 200777 h 414"/>
                <a:gd name="T86" fmla="*/ 116446 w 273"/>
                <a:gd name="T87" fmla="*/ 196605 h 414"/>
                <a:gd name="T88" fmla="*/ 119063 w 273"/>
                <a:gd name="T89" fmla="*/ 192954 h 414"/>
                <a:gd name="T90" fmla="*/ 117318 w 273"/>
                <a:gd name="T91" fmla="*/ 183567 h 414"/>
                <a:gd name="T92" fmla="*/ 114702 w 273"/>
                <a:gd name="T93" fmla="*/ 174702 h 414"/>
                <a:gd name="T94" fmla="*/ 105543 w 273"/>
                <a:gd name="T95" fmla="*/ 161143 h 414"/>
                <a:gd name="T96" fmla="*/ 96820 w 273"/>
                <a:gd name="T97" fmla="*/ 147062 h 414"/>
                <a:gd name="T98" fmla="*/ 93768 w 273"/>
                <a:gd name="T99" fmla="*/ 138718 h 414"/>
                <a:gd name="T100" fmla="*/ 92459 w 273"/>
                <a:gd name="T101" fmla="*/ 128810 h 414"/>
                <a:gd name="T102" fmla="*/ 93768 w 273"/>
                <a:gd name="T103" fmla="*/ 112122 h 414"/>
                <a:gd name="T104" fmla="*/ 96820 w 273"/>
                <a:gd name="T105" fmla="*/ 99085 h 414"/>
                <a:gd name="T106" fmla="*/ 100309 w 273"/>
                <a:gd name="T107" fmla="*/ 87090 h 414"/>
                <a:gd name="T108" fmla="*/ 101182 w 273"/>
                <a:gd name="T109" fmla="*/ 74053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97" name="Group 164">
              <a:extLst>
                <a:ext uri="{FF2B5EF4-FFF2-40B4-BE49-F238E27FC236}">
                  <a16:creationId xmlns:a16="http://schemas.microsoft.com/office/drawing/2014/main" id="{C35894B7-AA93-4E5C-9D49-74A86C7640E1}"/>
                </a:ext>
              </a:extLst>
            </p:cNvPr>
            <p:cNvGrpSpPr>
              <a:grpSpLocks/>
            </p:cNvGrpSpPr>
            <p:nvPr>
              <p:custDataLst>
                <p:tags r:id="rId91"/>
              </p:custDataLst>
            </p:nvPr>
          </p:nvGrpSpPr>
          <p:grpSpPr bwMode="auto">
            <a:xfrm>
              <a:off x="2193922" y="3246413"/>
              <a:ext cx="323850" cy="401634"/>
              <a:chOff x="1486" y="2412"/>
              <a:chExt cx="244" cy="256"/>
            </a:xfrm>
          </p:grpSpPr>
          <p:sp>
            <p:nvSpPr>
              <p:cNvPr id="480" name="Freeform 165">
                <a:extLst>
                  <a:ext uri="{FF2B5EF4-FFF2-40B4-BE49-F238E27FC236}">
                    <a16:creationId xmlns:a16="http://schemas.microsoft.com/office/drawing/2014/main" id="{FE910BC1-DD62-42EE-942D-E0DE719849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81" name="Freeform 166">
                <a:extLst>
                  <a:ext uri="{FF2B5EF4-FFF2-40B4-BE49-F238E27FC236}">
                    <a16:creationId xmlns:a16="http://schemas.microsoft.com/office/drawing/2014/main" id="{18AFFB76-87E9-45A8-B171-538BA81F47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82" name="Freeform 167">
                <a:extLst>
                  <a:ext uri="{FF2B5EF4-FFF2-40B4-BE49-F238E27FC236}">
                    <a16:creationId xmlns:a16="http://schemas.microsoft.com/office/drawing/2014/main" id="{E2E7216E-C4A2-4D35-958A-01FC3886FA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83" name="Freeform 168">
                <a:extLst>
                  <a:ext uri="{FF2B5EF4-FFF2-40B4-BE49-F238E27FC236}">
                    <a16:creationId xmlns:a16="http://schemas.microsoft.com/office/drawing/2014/main" id="{6AEEA87C-FF7F-4922-8FDF-D30BAB72BE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98" name="Freeform 169">
              <a:extLst>
                <a:ext uri="{FF2B5EF4-FFF2-40B4-BE49-F238E27FC236}">
                  <a16:creationId xmlns:a16="http://schemas.microsoft.com/office/drawing/2014/main" id="{D4824BAC-EB68-4DFE-B3EB-D4AD82BF213A}"/>
                </a:ext>
              </a:extLst>
            </p:cNvPr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7215179" y="4786275"/>
              <a:ext cx="31750" cy="11112"/>
            </a:xfrm>
            <a:custGeom>
              <a:avLst/>
              <a:gdLst>
                <a:gd name="T0" fmla="*/ 0 w 79"/>
                <a:gd name="T1" fmla="*/ 11112 h 23"/>
                <a:gd name="T2" fmla="*/ 8842 w 79"/>
                <a:gd name="T3" fmla="*/ 6281 h 23"/>
                <a:gd name="T4" fmla="*/ 18085 w 79"/>
                <a:gd name="T5" fmla="*/ 1933 h 23"/>
                <a:gd name="T6" fmla="*/ 22506 w 79"/>
                <a:gd name="T7" fmla="*/ 483 h 23"/>
                <a:gd name="T8" fmla="*/ 26123 w 79"/>
                <a:gd name="T9" fmla="*/ 0 h 23"/>
                <a:gd name="T10" fmla="*/ 27731 w 79"/>
                <a:gd name="T11" fmla="*/ 0 h 23"/>
                <a:gd name="T12" fmla="*/ 29741 w 79"/>
                <a:gd name="T13" fmla="*/ 483 h 23"/>
                <a:gd name="T14" fmla="*/ 30946 w 79"/>
                <a:gd name="T15" fmla="*/ 966 h 23"/>
                <a:gd name="T16" fmla="*/ 31750 w 79"/>
                <a:gd name="T17" fmla="*/ 1933 h 23"/>
                <a:gd name="T18" fmla="*/ 30946 w 79"/>
                <a:gd name="T19" fmla="*/ 3865 h 23"/>
                <a:gd name="T20" fmla="*/ 30142 w 79"/>
                <a:gd name="T21" fmla="*/ 6281 h 23"/>
                <a:gd name="T22" fmla="*/ 28937 w 79"/>
                <a:gd name="T23" fmla="*/ 7730 h 23"/>
                <a:gd name="T24" fmla="*/ 27329 w 79"/>
                <a:gd name="T25" fmla="*/ 9179 h 23"/>
                <a:gd name="T26" fmla="*/ 25722 w 79"/>
                <a:gd name="T27" fmla="*/ 10146 h 23"/>
                <a:gd name="T28" fmla="*/ 23712 w 79"/>
                <a:gd name="T29" fmla="*/ 10629 h 23"/>
                <a:gd name="T30" fmla="*/ 21301 w 79"/>
                <a:gd name="T31" fmla="*/ 11112 h 23"/>
                <a:gd name="T32" fmla="*/ 18487 w 79"/>
                <a:gd name="T33" fmla="*/ 11112 h 23"/>
                <a:gd name="T34" fmla="*/ 14870 w 79"/>
                <a:gd name="T35" fmla="*/ 11112 h 23"/>
                <a:gd name="T36" fmla="*/ 12861 w 79"/>
                <a:gd name="T37" fmla="*/ 10146 h 23"/>
                <a:gd name="T38" fmla="*/ 10449 w 79"/>
                <a:gd name="T39" fmla="*/ 9663 h 23"/>
                <a:gd name="T40" fmla="*/ 9244 w 79"/>
                <a:gd name="T41" fmla="*/ 9179 h 23"/>
                <a:gd name="T42" fmla="*/ 7636 w 79"/>
                <a:gd name="T43" fmla="*/ 8696 h 23"/>
                <a:gd name="T44" fmla="*/ 5627 w 79"/>
                <a:gd name="T45" fmla="*/ 8696 h 23"/>
                <a:gd name="T46" fmla="*/ 3617 w 79"/>
                <a:gd name="T47" fmla="*/ 9663 h 23"/>
                <a:gd name="T48" fmla="*/ 0 w 79"/>
                <a:gd name="T49" fmla="*/ 11112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9" name="Freeform 170">
              <a:extLst>
                <a:ext uri="{FF2B5EF4-FFF2-40B4-BE49-F238E27FC236}">
                  <a16:creationId xmlns:a16="http://schemas.microsoft.com/office/drawing/2014/main" id="{A2E0CB22-4E7F-46F0-8486-21E72C5007EF}"/>
                </a:ext>
              </a:extLst>
            </p:cNvPr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7331066" y="4919625"/>
              <a:ext cx="1588" cy="476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4762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0" name="Line 171">
              <a:extLst>
                <a:ext uri="{FF2B5EF4-FFF2-40B4-BE49-F238E27FC236}">
                  <a16:creationId xmlns:a16="http://schemas.microsoft.com/office/drawing/2014/main" id="{1BE30E35-E5F6-4E38-AF05-84FB30BD3F58}"/>
                </a:ext>
              </a:extLst>
            </p:cNvPr>
            <p:cNvSpPr>
              <a:spLocks noChangeShapeType="1"/>
            </p:cNvSpPr>
            <p:nvPr>
              <p:custDataLst>
                <p:tags r:id="rId94"/>
              </p:custDataLst>
            </p:nvPr>
          </p:nvSpPr>
          <p:spPr bwMode="auto">
            <a:xfrm flipV="1">
              <a:off x="7421553" y="4918037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1" name="Freeform 172">
              <a:extLst>
                <a:ext uri="{FF2B5EF4-FFF2-40B4-BE49-F238E27FC236}">
                  <a16:creationId xmlns:a16="http://schemas.microsoft.com/office/drawing/2014/main" id="{73C0BE18-786E-43DA-A059-3DB2A55EB993}"/>
                </a:ext>
              </a:extLst>
            </p:cNvPr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7421553" y="4918037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1270 w 5"/>
                <a:gd name="T3" fmla="*/ 529 h 30"/>
                <a:gd name="T4" fmla="*/ 2540 w 5"/>
                <a:gd name="T5" fmla="*/ 2117 h 30"/>
                <a:gd name="T6" fmla="*/ 3175 w 5"/>
                <a:gd name="T7" fmla="*/ 4233 h 30"/>
                <a:gd name="T8" fmla="*/ 3175 w 5"/>
                <a:gd name="T9" fmla="*/ 6879 h 30"/>
                <a:gd name="T10" fmla="*/ 3175 w 5"/>
                <a:gd name="T11" fmla="*/ 9525 h 30"/>
                <a:gd name="T12" fmla="*/ 2540 w 5"/>
                <a:gd name="T13" fmla="*/ 12171 h 30"/>
                <a:gd name="T14" fmla="*/ 1270 w 5"/>
                <a:gd name="T15" fmla="*/ 14287 h 30"/>
                <a:gd name="T16" fmla="*/ 0 w 5"/>
                <a:gd name="T17" fmla="*/ 15875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2" name="Freeform 173">
              <a:extLst>
                <a:ext uri="{FF2B5EF4-FFF2-40B4-BE49-F238E27FC236}">
                  <a16:creationId xmlns:a16="http://schemas.microsoft.com/office/drawing/2014/main" id="{8CE9F7A4-CE87-4007-9C90-CD07B18194E1}"/>
                </a:ext>
              </a:extLst>
            </p:cNvPr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720003" y="4387815"/>
              <a:ext cx="22225" cy="28575"/>
            </a:xfrm>
            <a:custGeom>
              <a:avLst/>
              <a:gdLst>
                <a:gd name="T0" fmla="*/ 0 w 53"/>
                <a:gd name="T1" fmla="*/ 6235 h 55"/>
                <a:gd name="T2" fmla="*/ 419 w 53"/>
                <a:gd name="T3" fmla="*/ 8832 h 55"/>
                <a:gd name="T4" fmla="*/ 2097 w 53"/>
                <a:gd name="T5" fmla="*/ 11430 h 55"/>
                <a:gd name="T6" fmla="*/ 3774 w 53"/>
                <a:gd name="T7" fmla="*/ 14028 h 55"/>
                <a:gd name="T8" fmla="*/ 6290 w 53"/>
                <a:gd name="T9" fmla="*/ 17145 h 55"/>
                <a:gd name="T10" fmla="*/ 10903 w 53"/>
                <a:gd name="T11" fmla="*/ 22860 h 55"/>
                <a:gd name="T12" fmla="*/ 13838 w 53"/>
                <a:gd name="T13" fmla="*/ 28575 h 55"/>
                <a:gd name="T14" fmla="*/ 22225 w 53"/>
                <a:gd name="T15" fmla="*/ 28575 h 55"/>
                <a:gd name="T16" fmla="*/ 16774 w 53"/>
                <a:gd name="T17" fmla="*/ 21301 h 55"/>
                <a:gd name="T18" fmla="*/ 11742 w 53"/>
                <a:gd name="T19" fmla="*/ 15067 h 55"/>
                <a:gd name="T20" fmla="*/ 9645 w 53"/>
                <a:gd name="T21" fmla="*/ 11950 h 55"/>
                <a:gd name="T22" fmla="*/ 7967 w 53"/>
                <a:gd name="T23" fmla="*/ 8313 h 55"/>
                <a:gd name="T24" fmla="*/ 6709 w 53"/>
                <a:gd name="T25" fmla="*/ 4156 h 55"/>
                <a:gd name="T26" fmla="*/ 5871 w 53"/>
                <a:gd name="T27" fmla="*/ 0 h 55"/>
                <a:gd name="T28" fmla="*/ 2935 w 53"/>
                <a:gd name="T29" fmla="*/ 3117 h 55"/>
                <a:gd name="T30" fmla="*/ 0 w 53"/>
                <a:gd name="T31" fmla="*/ 6235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3" name="Freeform 174">
              <a:extLst>
                <a:ext uri="{FF2B5EF4-FFF2-40B4-BE49-F238E27FC236}">
                  <a16:creationId xmlns:a16="http://schemas.microsoft.com/office/drawing/2014/main" id="{90D6DB85-B107-476F-AB3F-5C749A922401}"/>
                </a:ext>
              </a:extLst>
            </p:cNvPr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726353" y="4314791"/>
              <a:ext cx="26987" cy="39688"/>
            </a:xfrm>
            <a:custGeom>
              <a:avLst/>
              <a:gdLst>
                <a:gd name="T0" fmla="*/ 0 w 65"/>
                <a:gd name="T1" fmla="*/ 16934 h 75"/>
                <a:gd name="T2" fmla="*/ 3737 w 65"/>
                <a:gd name="T3" fmla="*/ 22754 h 75"/>
                <a:gd name="T4" fmla="*/ 8304 w 65"/>
                <a:gd name="T5" fmla="*/ 29105 h 75"/>
                <a:gd name="T6" fmla="*/ 10795 w 65"/>
                <a:gd name="T7" fmla="*/ 32280 h 75"/>
                <a:gd name="T8" fmla="*/ 13286 w 65"/>
                <a:gd name="T9" fmla="*/ 35455 h 75"/>
                <a:gd name="T10" fmla="*/ 16192 w 65"/>
                <a:gd name="T11" fmla="*/ 37571 h 75"/>
                <a:gd name="T12" fmla="*/ 19098 w 65"/>
                <a:gd name="T13" fmla="*/ 39688 h 75"/>
                <a:gd name="T14" fmla="*/ 21174 w 65"/>
                <a:gd name="T15" fmla="*/ 32280 h 75"/>
                <a:gd name="T16" fmla="*/ 24081 w 65"/>
                <a:gd name="T17" fmla="*/ 25400 h 75"/>
                <a:gd name="T18" fmla="*/ 25326 w 65"/>
                <a:gd name="T19" fmla="*/ 22225 h 75"/>
                <a:gd name="T20" fmla="*/ 26157 w 65"/>
                <a:gd name="T21" fmla="*/ 19050 h 75"/>
                <a:gd name="T22" fmla="*/ 26987 w 65"/>
                <a:gd name="T23" fmla="*/ 16404 h 75"/>
                <a:gd name="T24" fmla="*/ 26987 w 65"/>
                <a:gd name="T25" fmla="*/ 13759 h 75"/>
                <a:gd name="T26" fmla="*/ 26987 w 65"/>
                <a:gd name="T27" fmla="*/ 11113 h 75"/>
                <a:gd name="T28" fmla="*/ 26157 w 65"/>
                <a:gd name="T29" fmla="*/ 9525 h 75"/>
                <a:gd name="T30" fmla="*/ 25326 w 65"/>
                <a:gd name="T31" fmla="*/ 6879 h 75"/>
                <a:gd name="T32" fmla="*/ 24081 w 65"/>
                <a:gd name="T33" fmla="*/ 5292 h 75"/>
                <a:gd name="T34" fmla="*/ 21174 w 65"/>
                <a:gd name="T35" fmla="*/ 2646 h 75"/>
                <a:gd name="T36" fmla="*/ 19098 w 65"/>
                <a:gd name="T37" fmla="*/ 0 h 75"/>
                <a:gd name="T38" fmla="*/ 14116 w 65"/>
                <a:gd name="T39" fmla="*/ 0 h 75"/>
                <a:gd name="T40" fmla="*/ 10795 w 65"/>
                <a:gd name="T41" fmla="*/ 0 h 75"/>
                <a:gd name="T42" fmla="*/ 10380 w 65"/>
                <a:gd name="T43" fmla="*/ 1058 h 75"/>
                <a:gd name="T44" fmla="*/ 9964 w 65"/>
                <a:gd name="T45" fmla="*/ 3704 h 75"/>
                <a:gd name="T46" fmla="*/ 9549 w 65"/>
                <a:gd name="T47" fmla="*/ 4763 h 75"/>
                <a:gd name="T48" fmla="*/ 9549 w 65"/>
                <a:gd name="T49" fmla="*/ 5821 h 75"/>
                <a:gd name="T50" fmla="*/ 9964 w 65"/>
                <a:gd name="T51" fmla="*/ 6350 h 75"/>
                <a:gd name="T52" fmla="*/ 10795 w 65"/>
                <a:gd name="T53" fmla="*/ 6879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4" name="Freeform 175">
              <a:extLst>
                <a:ext uri="{FF2B5EF4-FFF2-40B4-BE49-F238E27FC236}">
                  <a16:creationId xmlns:a16="http://schemas.microsoft.com/office/drawing/2014/main" id="{66E59D84-AFC2-4DF0-B19B-80FB9A02C637}"/>
                </a:ext>
              </a:extLst>
            </p:cNvPr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7702540" y="4290979"/>
              <a:ext cx="17463" cy="30162"/>
            </a:xfrm>
            <a:custGeom>
              <a:avLst/>
              <a:gdLst>
                <a:gd name="T0" fmla="*/ 0 w 40"/>
                <a:gd name="T1" fmla="*/ 30162 h 62"/>
                <a:gd name="T2" fmla="*/ 1310 w 40"/>
                <a:gd name="T3" fmla="*/ 25297 h 62"/>
                <a:gd name="T4" fmla="*/ 3056 w 40"/>
                <a:gd name="T5" fmla="*/ 20919 h 62"/>
                <a:gd name="T6" fmla="*/ 5239 w 40"/>
                <a:gd name="T7" fmla="*/ 16054 h 62"/>
                <a:gd name="T8" fmla="*/ 7422 w 40"/>
                <a:gd name="T9" fmla="*/ 12162 h 62"/>
                <a:gd name="T10" fmla="*/ 10041 w 40"/>
                <a:gd name="T11" fmla="*/ 8270 h 62"/>
                <a:gd name="T12" fmla="*/ 12661 w 40"/>
                <a:gd name="T13" fmla="*/ 4378 h 62"/>
                <a:gd name="T14" fmla="*/ 15280 w 40"/>
                <a:gd name="T15" fmla="*/ 1459 h 62"/>
                <a:gd name="T16" fmla="*/ 17463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5" name="Freeform 176">
              <a:extLst>
                <a:ext uri="{FF2B5EF4-FFF2-40B4-BE49-F238E27FC236}">
                  <a16:creationId xmlns:a16="http://schemas.microsoft.com/office/drawing/2014/main" id="{85B869C5-DC2B-4359-B859-9348EA34F118}"/>
                </a:ext>
              </a:extLst>
            </p:cNvPr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7621578" y="4168742"/>
              <a:ext cx="68262" cy="138112"/>
            </a:xfrm>
            <a:custGeom>
              <a:avLst/>
              <a:gdLst>
                <a:gd name="T0" fmla="*/ 68262 w 159"/>
                <a:gd name="T1" fmla="*/ 138113 h 259"/>
                <a:gd name="T2" fmla="*/ 68262 w 159"/>
                <a:gd name="T3" fmla="*/ 133847 h 259"/>
                <a:gd name="T4" fmla="*/ 68262 w 159"/>
                <a:gd name="T5" fmla="*/ 130114 h 259"/>
                <a:gd name="T6" fmla="*/ 68262 w 159"/>
                <a:gd name="T7" fmla="*/ 125848 h 259"/>
                <a:gd name="T8" fmla="*/ 68262 w 159"/>
                <a:gd name="T9" fmla="*/ 121582 h 259"/>
                <a:gd name="T10" fmla="*/ 68262 w 159"/>
                <a:gd name="T11" fmla="*/ 119449 h 259"/>
                <a:gd name="T12" fmla="*/ 67833 w 159"/>
                <a:gd name="T13" fmla="*/ 116783 h 259"/>
                <a:gd name="T14" fmla="*/ 66974 w 159"/>
                <a:gd name="T15" fmla="*/ 114650 h 259"/>
                <a:gd name="T16" fmla="*/ 65686 w 159"/>
                <a:gd name="T17" fmla="*/ 111984 h 259"/>
                <a:gd name="T18" fmla="*/ 62252 w 159"/>
                <a:gd name="T19" fmla="*/ 107717 h 259"/>
                <a:gd name="T20" fmla="*/ 57958 w 159"/>
                <a:gd name="T21" fmla="*/ 103985 h 259"/>
                <a:gd name="T22" fmla="*/ 53236 w 159"/>
                <a:gd name="T23" fmla="*/ 100785 h 259"/>
                <a:gd name="T24" fmla="*/ 48084 w 159"/>
                <a:gd name="T25" fmla="*/ 98119 h 259"/>
                <a:gd name="T26" fmla="*/ 42503 w 159"/>
                <a:gd name="T27" fmla="*/ 95986 h 259"/>
                <a:gd name="T28" fmla="*/ 37351 w 159"/>
                <a:gd name="T29" fmla="*/ 95453 h 259"/>
                <a:gd name="T30" fmla="*/ 36492 w 159"/>
                <a:gd name="T31" fmla="*/ 94919 h 259"/>
                <a:gd name="T32" fmla="*/ 35204 w 159"/>
                <a:gd name="T33" fmla="*/ 94386 h 259"/>
                <a:gd name="T34" fmla="*/ 34775 w 159"/>
                <a:gd name="T35" fmla="*/ 93320 h 259"/>
                <a:gd name="T36" fmla="*/ 34346 w 159"/>
                <a:gd name="T37" fmla="*/ 92253 h 259"/>
                <a:gd name="T38" fmla="*/ 34346 w 159"/>
                <a:gd name="T39" fmla="*/ 89054 h 259"/>
                <a:gd name="T40" fmla="*/ 34775 w 159"/>
                <a:gd name="T41" fmla="*/ 85854 h 259"/>
                <a:gd name="T42" fmla="*/ 36492 w 159"/>
                <a:gd name="T43" fmla="*/ 78922 h 259"/>
                <a:gd name="T44" fmla="*/ 37351 w 159"/>
                <a:gd name="T45" fmla="*/ 75722 h 259"/>
                <a:gd name="T46" fmla="*/ 31340 w 159"/>
                <a:gd name="T47" fmla="*/ 75189 h 259"/>
                <a:gd name="T48" fmla="*/ 25330 w 159"/>
                <a:gd name="T49" fmla="*/ 74122 h 259"/>
                <a:gd name="T50" fmla="*/ 20607 w 159"/>
                <a:gd name="T51" fmla="*/ 71989 h 259"/>
                <a:gd name="T52" fmla="*/ 17173 w 159"/>
                <a:gd name="T53" fmla="*/ 68790 h 259"/>
                <a:gd name="T54" fmla="*/ 13309 w 159"/>
                <a:gd name="T55" fmla="*/ 64524 h 259"/>
                <a:gd name="T56" fmla="*/ 10304 w 159"/>
                <a:gd name="T57" fmla="*/ 60258 h 259"/>
                <a:gd name="T58" fmla="*/ 7728 w 159"/>
                <a:gd name="T59" fmla="*/ 55459 h 259"/>
                <a:gd name="T60" fmla="*/ 5581 w 159"/>
                <a:gd name="T61" fmla="*/ 50126 h 259"/>
                <a:gd name="T62" fmla="*/ 3864 w 159"/>
                <a:gd name="T63" fmla="*/ 44793 h 259"/>
                <a:gd name="T64" fmla="*/ 3005 w 159"/>
                <a:gd name="T65" fmla="*/ 38928 h 259"/>
                <a:gd name="T66" fmla="*/ 2147 w 159"/>
                <a:gd name="T67" fmla="*/ 31995 h 259"/>
                <a:gd name="T68" fmla="*/ 859 w 159"/>
                <a:gd name="T69" fmla="*/ 25596 h 259"/>
                <a:gd name="T70" fmla="*/ 0 w 159"/>
                <a:gd name="T71" fmla="*/ 13331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6" name="Line 177">
              <a:extLst>
                <a:ext uri="{FF2B5EF4-FFF2-40B4-BE49-F238E27FC236}">
                  <a16:creationId xmlns:a16="http://schemas.microsoft.com/office/drawing/2014/main" id="{44E16E1C-7EE2-4A0A-AC4B-370C9A6283FC}"/>
                </a:ext>
              </a:extLst>
            </p:cNvPr>
            <p:cNvSpPr>
              <a:spLocks noChangeShapeType="1"/>
            </p:cNvSpPr>
            <p:nvPr>
              <p:custDataLst>
                <p:tags r:id="rId100"/>
              </p:custDataLst>
            </p:nvPr>
          </p:nvSpPr>
          <p:spPr bwMode="auto">
            <a:xfrm flipH="1" flipV="1">
              <a:off x="7615228" y="4135406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7" name="Freeform 178">
              <a:extLst>
                <a:ext uri="{FF2B5EF4-FFF2-40B4-BE49-F238E27FC236}">
                  <a16:creationId xmlns:a16="http://schemas.microsoft.com/office/drawing/2014/main" id="{074255C1-626C-43B5-A06C-AB3BC6850C7B}"/>
                </a:ext>
              </a:extLst>
            </p:cNvPr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615228" y="4119531"/>
              <a:ext cx="6350" cy="15875"/>
            </a:xfrm>
            <a:custGeom>
              <a:avLst/>
              <a:gdLst>
                <a:gd name="T0" fmla="*/ 0 w 13"/>
                <a:gd name="T1" fmla="*/ 15875 h 25"/>
                <a:gd name="T2" fmla="*/ 488 w 13"/>
                <a:gd name="T3" fmla="*/ 12065 h 25"/>
                <a:gd name="T4" fmla="*/ 1954 w 13"/>
                <a:gd name="T5" fmla="*/ 8255 h 25"/>
                <a:gd name="T6" fmla="*/ 3908 w 13"/>
                <a:gd name="T7" fmla="*/ 3810 h 25"/>
                <a:gd name="T8" fmla="*/ 635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8" name="Line 179">
              <a:extLst>
                <a:ext uri="{FF2B5EF4-FFF2-40B4-BE49-F238E27FC236}">
                  <a16:creationId xmlns:a16="http://schemas.microsoft.com/office/drawing/2014/main" id="{BF68D835-484E-4D09-9640-C347FCB30D98}"/>
                </a:ext>
              </a:extLst>
            </p:cNvPr>
            <p:cNvSpPr>
              <a:spLocks noChangeShapeType="1"/>
            </p:cNvSpPr>
            <p:nvPr>
              <p:custDataLst>
                <p:tags r:id="rId102"/>
              </p:custDataLst>
            </p:nvPr>
          </p:nvSpPr>
          <p:spPr bwMode="auto">
            <a:xfrm flipV="1">
              <a:off x="7621578" y="4106831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9" name="Freeform 180">
              <a:extLst>
                <a:ext uri="{FF2B5EF4-FFF2-40B4-BE49-F238E27FC236}">
                  <a16:creationId xmlns:a16="http://schemas.microsoft.com/office/drawing/2014/main" id="{78CE0AAD-81EE-45B1-BD5E-2EBFB7C2BC35}"/>
                </a:ext>
              </a:extLst>
            </p:cNvPr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575541" y="4040156"/>
              <a:ext cx="46038" cy="66675"/>
            </a:xfrm>
            <a:custGeom>
              <a:avLst/>
              <a:gdLst>
                <a:gd name="T0" fmla="*/ 46038 w 100"/>
                <a:gd name="T1" fmla="*/ 66675 h 123"/>
                <a:gd name="T2" fmla="*/ 41434 w 100"/>
                <a:gd name="T3" fmla="*/ 66133 h 123"/>
                <a:gd name="T4" fmla="*/ 34989 w 100"/>
                <a:gd name="T5" fmla="*/ 64507 h 123"/>
                <a:gd name="T6" fmla="*/ 27623 w 100"/>
                <a:gd name="T7" fmla="*/ 61796 h 123"/>
                <a:gd name="T8" fmla="*/ 19796 w 100"/>
                <a:gd name="T9" fmla="*/ 58002 h 123"/>
                <a:gd name="T10" fmla="*/ 15653 w 100"/>
                <a:gd name="T11" fmla="*/ 55834 h 123"/>
                <a:gd name="T12" fmla="*/ 12430 w 100"/>
                <a:gd name="T13" fmla="*/ 53665 h 123"/>
                <a:gd name="T14" fmla="*/ 9208 w 100"/>
                <a:gd name="T15" fmla="*/ 50955 h 123"/>
                <a:gd name="T16" fmla="*/ 5985 w 100"/>
                <a:gd name="T17" fmla="*/ 48245 h 123"/>
                <a:gd name="T18" fmla="*/ 3683 w 100"/>
                <a:gd name="T19" fmla="*/ 45534 h 123"/>
                <a:gd name="T20" fmla="*/ 1842 w 100"/>
                <a:gd name="T21" fmla="*/ 42824 h 123"/>
                <a:gd name="T22" fmla="*/ 460 w 100"/>
                <a:gd name="T23" fmla="*/ 39571 h 123"/>
                <a:gd name="T24" fmla="*/ 0 w 100"/>
                <a:gd name="T25" fmla="*/ 36861 h 123"/>
                <a:gd name="T26" fmla="*/ 921 w 100"/>
                <a:gd name="T27" fmla="*/ 29814 h 123"/>
                <a:gd name="T28" fmla="*/ 3223 w 100"/>
                <a:gd name="T29" fmla="*/ 19515 h 123"/>
                <a:gd name="T30" fmla="*/ 5064 w 100"/>
                <a:gd name="T31" fmla="*/ 9215 h 123"/>
                <a:gd name="T32" fmla="*/ 5985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0" name="Freeform 181">
              <a:extLst>
                <a:ext uri="{FF2B5EF4-FFF2-40B4-BE49-F238E27FC236}">
                  <a16:creationId xmlns:a16="http://schemas.microsoft.com/office/drawing/2014/main" id="{37B42EF8-85CB-48DD-88BD-EF2EF6D71FD3}"/>
                </a:ext>
              </a:extLst>
            </p:cNvPr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7589829" y="3983007"/>
              <a:ext cx="1587" cy="50800"/>
            </a:xfrm>
            <a:custGeom>
              <a:avLst/>
              <a:gdLst>
                <a:gd name="T0" fmla="*/ 1587 w 5"/>
                <a:gd name="T1" fmla="*/ 0 h 99"/>
                <a:gd name="T2" fmla="*/ 1270 w 5"/>
                <a:gd name="T3" fmla="*/ 17446 h 99"/>
                <a:gd name="T4" fmla="*/ 317 w 5"/>
                <a:gd name="T5" fmla="*/ 30275 h 99"/>
                <a:gd name="T6" fmla="*/ 0 w 5"/>
                <a:gd name="T7" fmla="*/ 35406 h 99"/>
                <a:gd name="T8" fmla="*/ 0 w 5"/>
                <a:gd name="T9" fmla="*/ 40024 h 99"/>
                <a:gd name="T10" fmla="*/ 635 w 5"/>
                <a:gd name="T11" fmla="*/ 44642 h 99"/>
                <a:gd name="T12" fmla="*/ 1587 w 5"/>
                <a:gd name="T13" fmla="*/ 5080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1" name="Freeform 182">
              <a:extLst>
                <a:ext uri="{FF2B5EF4-FFF2-40B4-BE49-F238E27FC236}">
                  <a16:creationId xmlns:a16="http://schemas.microsoft.com/office/drawing/2014/main" id="{BE6F3A9A-18D2-4033-A237-92CC6E703721}"/>
                </a:ext>
              </a:extLst>
            </p:cNvPr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7596178" y="3976657"/>
              <a:ext cx="7937" cy="36512"/>
            </a:xfrm>
            <a:custGeom>
              <a:avLst/>
              <a:gdLst>
                <a:gd name="T0" fmla="*/ 7937 w 14"/>
                <a:gd name="T1" fmla="*/ 0 h 68"/>
                <a:gd name="T2" fmla="*/ 4535 w 14"/>
                <a:gd name="T3" fmla="*/ 8591 h 68"/>
                <a:gd name="T4" fmla="*/ 2268 w 14"/>
                <a:gd name="T5" fmla="*/ 17719 h 68"/>
                <a:gd name="T6" fmla="*/ 1134 w 14"/>
                <a:gd name="T7" fmla="*/ 27921 h 68"/>
                <a:gd name="T8" fmla="*/ 0 w 14"/>
                <a:gd name="T9" fmla="*/ 36512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2" name="Freeform 183">
              <a:extLst>
                <a:ext uri="{FF2B5EF4-FFF2-40B4-BE49-F238E27FC236}">
                  <a16:creationId xmlns:a16="http://schemas.microsoft.com/office/drawing/2014/main" id="{1B8088EC-82A4-4F08-B2CD-C8FD6E65E9C5}"/>
                </a:ext>
              </a:extLst>
            </p:cNvPr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7612054" y="3957607"/>
              <a:ext cx="1587" cy="22225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6719 h 43"/>
                <a:gd name="T4" fmla="*/ 0 w 1587"/>
                <a:gd name="T5" fmla="*/ 13438 h 43"/>
                <a:gd name="T6" fmla="*/ 0 w 1587"/>
                <a:gd name="T7" fmla="*/ 19124 h 43"/>
                <a:gd name="T8" fmla="*/ 0 w 1587"/>
                <a:gd name="T9" fmla="*/ 22225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3" name="Line 184">
              <a:extLst>
                <a:ext uri="{FF2B5EF4-FFF2-40B4-BE49-F238E27FC236}">
                  <a16:creationId xmlns:a16="http://schemas.microsoft.com/office/drawing/2014/main" id="{7473439A-2811-4331-B822-400EB953079F}"/>
                </a:ext>
              </a:extLst>
            </p:cNvPr>
            <p:cNvSpPr>
              <a:spLocks noChangeShapeType="1"/>
            </p:cNvSpPr>
            <p:nvPr>
              <p:custDataLst>
                <p:tags r:id="rId107"/>
              </p:custDataLst>
            </p:nvPr>
          </p:nvSpPr>
          <p:spPr bwMode="auto">
            <a:xfrm flipV="1">
              <a:off x="7612054" y="3976657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4" name="Freeform 185">
              <a:extLst>
                <a:ext uri="{FF2B5EF4-FFF2-40B4-BE49-F238E27FC236}">
                  <a16:creationId xmlns:a16="http://schemas.microsoft.com/office/drawing/2014/main" id="{3B243027-F74B-488F-9AF6-FFB2F56C873B}"/>
                </a:ext>
              </a:extLst>
            </p:cNvPr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596178" y="3960782"/>
              <a:ext cx="1587" cy="15875"/>
            </a:xfrm>
            <a:custGeom>
              <a:avLst/>
              <a:gdLst>
                <a:gd name="T0" fmla="*/ 0 w 1587"/>
                <a:gd name="T1" fmla="*/ 15875 h 31"/>
                <a:gd name="T2" fmla="*/ 0 w 1587"/>
                <a:gd name="T3" fmla="*/ 11266 h 31"/>
                <a:gd name="T4" fmla="*/ 0 w 1587"/>
                <a:gd name="T5" fmla="*/ 7681 h 31"/>
                <a:gd name="T6" fmla="*/ 0 w 1587"/>
                <a:gd name="T7" fmla="*/ 409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5" name="Freeform 186">
              <a:extLst>
                <a:ext uri="{FF2B5EF4-FFF2-40B4-BE49-F238E27FC236}">
                  <a16:creationId xmlns:a16="http://schemas.microsoft.com/office/drawing/2014/main" id="{319618BC-12DE-4FA5-95A2-56967E0855F7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316779" y="4949786"/>
              <a:ext cx="96837" cy="87312"/>
            </a:xfrm>
            <a:custGeom>
              <a:avLst/>
              <a:gdLst>
                <a:gd name="T0" fmla="*/ 8177 w 225"/>
                <a:gd name="T1" fmla="*/ 82608 h 167"/>
                <a:gd name="T2" fmla="*/ 3013 w 225"/>
                <a:gd name="T3" fmla="*/ 74242 h 167"/>
                <a:gd name="T4" fmla="*/ 0 w 225"/>
                <a:gd name="T5" fmla="*/ 67968 h 167"/>
                <a:gd name="T6" fmla="*/ 430 w 225"/>
                <a:gd name="T7" fmla="*/ 56466 h 167"/>
                <a:gd name="T8" fmla="*/ 4734 w 225"/>
                <a:gd name="T9" fmla="*/ 35553 h 167"/>
                <a:gd name="T10" fmla="*/ 10329 w 225"/>
                <a:gd name="T11" fmla="*/ 20390 h 167"/>
                <a:gd name="T12" fmla="*/ 14633 w 225"/>
                <a:gd name="T13" fmla="*/ 10979 h 167"/>
                <a:gd name="T14" fmla="*/ 18937 w 225"/>
                <a:gd name="T15" fmla="*/ 4705 h 167"/>
                <a:gd name="T16" fmla="*/ 23241 w 225"/>
                <a:gd name="T17" fmla="*/ 523 h 167"/>
                <a:gd name="T18" fmla="*/ 27975 w 225"/>
                <a:gd name="T19" fmla="*/ 523 h 167"/>
                <a:gd name="T20" fmla="*/ 32709 w 225"/>
                <a:gd name="T21" fmla="*/ 1568 h 167"/>
                <a:gd name="T22" fmla="*/ 37874 w 225"/>
                <a:gd name="T23" fmla="*/ 4183 h 167"/>
                <a:gd name="T24" fmla="*/ 43039 w 225"/>
                <a:gd name="T25" fmla="*/ 8888 h 167"/>
                <a:gd name="T26" fmla="*/ 48203 w 225"/>
                <a:gd name="T27" fmla="*/ 12548 h 167"/>
                <a:gd name="T28" fmla="*/ 55089 w 225"/>
                <a:gd name="T29" fmla="*/ 12548 h 167"/>
                <a:gd name="T30" fmla="*/ 62406 w 225"/>
                <a:gd name="T31" fmla="*/ 9934 h 167"/>
                <a:gd name="T32" fmla="*/ 71014 w 225"/>
                <a:gd name="T33" fmla="*/ 3660 h 167"/>
                <a:gd name="T34" fmla="*/ 96837 w 225"/>
                <a:gd name="T35" fmla="*/ 0 h 167"/>
                <a:gd name="T36" fmla="*/ 92533 w 225"/>
                <a:gd name="T37" fmla="*/ 11502 h 167"/>
                <a:gd name="T38" fmla="*/ 86508 w 225"/>
                <a:gd name="T39" fmla="*/ 21436 h 167"/>
                <a:gd name="T40" fmla="*/ 72305 w 225"/>
                <a:gd name="T41" fmla="*/ 37644 h 167"/>
                <a:gd name="T42" fmla="*/ 59393 w 225"/>
                <a:gd name="T43" fmla="*/ 52283 h 167"/>
                <a:gd name="T44" fmla="*/ 55520 w 225"/>
                <a:gd name="T45" fmla="*/ 59603 h 167"/>
                <a:gd name="T46" fmla="*/ 54229 w 225"/>
                <a:gd name="T47" fmla="*/ 67968 h 167"/>
                <a:gd name="T48" fmla="*/ 52938 w 225"/>
                <a:gd name="T49" fmla="*/ 65877 h 167"/>
                <a:gd name="T50" fmla="*/ 51646 w 225"/>
                <a:gd name="T51" fmla="*/ 61171 h 167"/>
                <a:gd name="T52" fmla="*/ 45621 w 225"/>
                <a:gd name="T53" fmla="*/ 63263 h 167"/>
                <a:gd name="T54" fmla="*/ 41748 w 225"/>
                <a:gd name="T55" fmla="*/ 66923 h 167"/>
                <a:gd name="T56" fmla="*/ 34431 w 225"/>
                <a:gd name="T57" fmla="*/ 75811 h 167"/>
                <a:gd name="T58" fmla="*/ 30557 w 225"/>
                <a:gd name="T59" fmla="*/ 79993 h 167"/>
                <a:gd name="T60" fmla="*/ 25823 w 225"/>
                <a:gd name="T61" fmla="*/ 83653 h 167"/>
                <a:gd name="T62" fmla="*/ 19798 w 225"/>
                <a:gd name="T63" fmla="*/ 86267 h 167"/>
                <a:gd name="T64" fmla="*/ 11190 w 225"/>
                <a:gd name="T65" fmla="*/ 87313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6" name="Freeform 187">
              <a:extLst>
                <a:ext uri="{FF2B5EF4-FFF2-40B4-BE49-F238E27FC236}">
                  <a16:creationId xmlns:a16="http://schemas.microsoft.com/office/drawing/2014/main" id="{1C94ADD7-BCFA-4107-83DB-A5572F33272D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454891" y="4168742"/>
              <a:ext cx="3175" cy="17463"/>
            </a:xfrm>
            <a:custGeom>
              <a:avLst/>
              <a:gdLst>
                <a:gd name="T0" fmla="*/ 0 w 7"/>
                <a:gd name="T1" fmla="*/ 17463 h 31"/>
                <a:gd name="T2" fmla="*/ 2268 w 7"/>
                <a:gd name="T3" fmla="*/ 12393 h 31"/>
                <a:gd name="T4" fmla="*/ 2721 w 7"/>
                <a:gd name="T5" fmla="*/ 7323 h 31"/>
                <a:gd name="T6" fmla="*/ 3175 w 7"/>
                <a:gd name="T7" fmla="*/ 3380 h 31"/>
                <a:gd name="T8" fmla="*/ 3175 w 7"/>
                <a:gd name="T9" fmla="*/ 0 h 31"/>
                <a:gd name="T10" fmla="*/ 2721 w 7"/>
                <a:gd name="T11" fmla="*/ 3380 h 31"/>
                <a:gd name="T12" fmla="*/ 1814 w 7"/>
                <a:gd name="T13" fmla="*/ 7323 h 31"/>
                <a:gd name="T14" fmla="*/ 454 w 7"/>
                <a:gd name="T15" fmla="*/ 12393 h 31"/>
                <a:gd name="T16" fmla="*/ 0 w 7"/>
                <a:gd name="T17" fmla="*/ 1746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7" name="Freeform 188">
              <a:extLst>
                <a:ext uri="{FF2B5EF4-FFF2-40B4-BE49-F238E27FC236}">
                  <a16:creationId xmlns:a16="http://schemas.microsoft.com/office/drawing/2014/main" id="{3B756642-D12A-40C8-9177-BC6CDE81AB70}"/>
                </a:ext>
              </a:extLst>
            </p:cNvPr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7388216" y="4090956"/>
              <a:ext cx="15875" cy="15875"/>
            </a:xfrm>
            <a:custGeom>
              <a:avLst/>
              <a:gdLst>
                <a:gd name="T0" fmla="*/ 15875 w 33"/>
                <a:gd name="T1" fmla="*/ 15875 h 31"/>
                <a:gd name="T2" fmla="*/ 15875 w 33"/>
                <a:gd name="T3" fmla="*/ 0 h 31"/>
                <a:gd name="T4" fmla="*/ 12989 w 33"/>
                <a:gd name="T5" fmla="*/ 0 h 31"/>
                <a:gd name="T6" fmla="*/ 10583 w 33"/>
                <a:gd name="T7" fmla="*/ 1024 h 31"/>
                <a:gd name="T8" fmla="*/ 7697 w 33"/>
                <a:gd name="T9" fmla="*/ 2560 h 31"/>
                <a:gd name="T10" fmla="*/ 5292 w 33"/>
                <a:gd name="T11" fmla="*/ 4097 h 31"/>
                <a:gd name="T12" fmla="*/ 2886 w 33"/>
                <a:gd name="T13" fmla="*/ 6145 h 31"/>
                <a:gd name="T14" fmla="*/ 1443 w 33"/>
                <a:gd name="T15" fmla="*/ 8194 h 31"/>
                <a:gd name="T16" fmla="*/ 481 w 33"/>
                <a:gd name="T17" fmla="*/ 10754 h 31"/>
                <a:gd name="T18" fmla="*/ 0 w 33"/>
                <a:gd name="T19" fmla="*/ 12802 h 31"/>
                <a:gd name="T20" fmla="*/ 481 w 33"/>
                <a:gd name="T21" fmla="*/ 13827 h 31"/>
                <a:gd name="T22" fmla="*/ 1443 w 33"/>
                <a:gd name="T23" fmla="*/ 14851 h 31"/>
                <a:gd name="T24" fmla="*/ 2886 w 33"/>
                <a:gd name="T25" fmla="*/ 15363 h 31"/>
                <a:gd name="T26" fmla="*/ 5292 w 33"/>
                <a:gd name="T27" fmla="*/ 15363 h 31"/>
                <a:gd name="T28" fmla="*/ 10583 w 33"/>
                <a:gd name="T29" fmla="*/ 15875 h 31"/>
                <a:gd name="T30" fmla="*/ 15875 w 33"/>
                <a:gd name="T31" fmla="*/ 15875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8" name="Freeform 189">
              <a:extLst>
                <a:ext uri="{FF2B5EF4-FFF2-40B4-BE49-F238E27FC236}">
                  <a16:creationId xmlns:a16="http://schemas.microsoft.com/office/drawing/2014/main" id="{56BE3D14-90A0-4F53-ACE2-AEF73AEEE20D}"/>
                </a:ext>
              </a:extLst>
            </p:cNvPr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7404091" y="4003644"/>
              <a:ext cx="3175" cy="9525"/>
            </a:xfrm>
            <a:custGeom>
              <a:avLst/>
              <a:gdLst>
                <a:gd name="T0" fmla="*/ 0 w 13"/>
                <a:gd name="T1" fmla="*/ 9525 h 19"/>
                <a:gd name="T2" fmla="*/ 488 w 13"/>
                <a:gd name="T3" fmla="*/ 9024 h 19"/>
                <a:gd name="T4" fmla="*/ 1221 w 13"/>
                <a:gd name="T5" fmla="*/ 8522 h 19"/>
                <a:gd name="T6" fmla="*/ 1710 w 13"/>
                <a:gd name="T7" fmla="*/ 7520 h 19"/>
                <a:gd name="T8" fmla="*/ 1954 w 13"/>
                <a:gd name="T9" fmla="*/ 6016 h 19"/>
                <a:gd name="T10" fmla="*/ 2931 w 13"/>
                <a:gd name="T11" fmla="*/ 3008 h 19"/>
                <a:gd name="T12" fmla="*/ 3175 w 13"/>
                <a:gd name="T13" fmla="*/ 0 h 19"/>
                <a:gd name="T14" fmla="*/ 0 w 13"/>
                <a:gd name="T15" fmla="*/ 952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9" name="Freeform 190">
              <a:extLst>
                <a:ext uri="{FF2B5EF4-FFF2-40B4-BE49-F238E27FC236}">
                  <a16:creationId xmlns:a16="http://schemas.microsoft.com/office/drawing/2014/main" id="{DB1797C7-67C2-49AC-9C9E-490ED0FF35B3}"/>
                </a:ext>
              </a:extLst>
            </p:cNvPr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243754" y="4006819"/>
              <a:ext cx="36512" cy="22225"/>
            </a:xfrm>
            <a:custGeom>
              <a:avLst/>
              <a:gdLst>
                <a:gd name="T0" fmla="*/ 22663 w 87"/>
                <a:gd name="T1" fmla="*/ 22225 h 42"/>
                <a:gd name="T2" fmla="*/ 24761 w 87"/>
                <a:gd name="T3" fmla="*/ 22225 h 42"/>
                <a:gd name="T4" fmla="*/ 26859 w 87"/>
                <a:gd name="T5" fmla="*/ 21696 h 42"/>
                <a:gd name="T6" fmla="*/ 28538 w 87"/>
                <a:gd name="T7" fmla="*/ 21167 h 42"/>
                <a:gd name="T8" fmla="*/ 29797 w 87"/>
                <a:gd name="T9" fmla="*/ 20108 h 42"/>
                <a:gd name="T10" fmla="*/ 31476 w 87"/>
                <a:gd name="T11" fmla="*/ 17992 h 42"/>
                <a:gd name="T12" fmla="*/ 32735 w 87"/>
                <a:gd name="T13" fmla="*/ 14817 h 42"/>
                <a:gd name="T14" fmla="*/ 33155 w 87"/>
                <a:gd name="T15" fmla="*/ 11642 h 42"/>
                <a:gd name="T16" fmla="*/ 33574 w 87"/>
                <a:gd name="T17" fmla="*/ 8467 h 42"/>
                <a:gd name="T18" fmla="*/ 34414 w 87"/>
                <a:gd name="T19" fmla="*/ 5821 h 42"/>
                <a:gd name="T20" fmla="*/ 36512 w 87"/>
                <a:gd name="T21" fmla="*/ 3175 h 42"/>
                <a:gd name="T22" fmla="*/ 32315 w 87"/>
                <a:gd name="T23" fmla="*/ 1058 h 42"/>
                <a:gd name="T24" fmla="*/ 28118 w 87"/>
                <a:gd name="T25" fmla="*/ 0 h 42"/>
                <a:gd name="T26" fmla="*/ 23922 w 87"/>
                <a:gd name="T27" fmla="*/ 0 h 42"/>
                <a:gd name="T28" fmla="*/ 19725 w 87"/>
                <a:gd name="T29" fmla="*/ 0 h 42"/>
                <a:gd name="T30" fmla="*/ 16787 w 87"/>
                <a:gd name="T31" fmla="*/ 0 h 42"/>
                <a:gd name="T32" fmla="*/ 13430 w 87"/>
                <a:gd name="T33" fmla="*/ 1058 h 42"/>
                <a:gd name="T34" fmla="*/ 10492 w 87"/>
                <a:gd name="T35" fmla="*/ 2117 h 42"/>
                <a:gd name="T36" fmla="*/ 7974 w 87"/>
                <a:gd name="T37" fmla="*/ 3175 h 42"/>
                <a:gd name="T38" fmla="*/ 3357 w 87"/>
                <a:gd name="T39" fmla="*/ 6350 h 42"/>
                <a:gd name="T40" fmla="*/ 0 w 87"/>
                <a:gd name="T41" fmla="*/ 9525 h 42"/>
                <a:gd name="T42" fmla="*/ 4616 w 87"/>
                <a:gd name="T43" fmla="*/ 12700 h 42"/>
                <a:gd name="T44" fmla="*/ 11331 w 87"/>
                <a:gd name="T45" fmla="*/ 16933 h 42"/>
                <a:gd name="T46" fmla="*/ 18046 w 87"/>
                <a:gd name="T47" fmla="*/ 20638 h 42"/>
                <a:gd name="T48" fmla="*/ 22663 w 87"/>
                <a:gd name="T49" fmla="*/ 22225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0" name="Freeform 191">
              <a:extLst>
                <a:ext uri="{FF2B5EF4-FFF2-40B4-BE49-F238E27FC236}">
                  <a16:creationId xmlns:a16="http://schemas.microsoft.com/office/drawing/2014/main" id="{BD772DD0-D728-4020-8D5D-32067847CB50}"/>
                </a:ext>
              </a:extLst>
            </p:cNvPr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7488228" y="4470365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1587 w 7"/>
                <a:gd name="T3" fmla="*/ 0 h 31"/>
                <a:gd name="T4" fmla="*/ 1587 w 7"/>
                <a:gd name="T5" fmla="*/ 8296 h 31"/>
                <a:gd name="T6" fmla="*/ 0 w 7"/>
                <a:gd name="T7" fmla="*/ 14288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1" name="Freeform 192">
              <a:extLst>
                <a:ext uri="{FF2B5EF4-FFF2-40B4-BE49-F238E27FC236}">
                  <a16:creationId xmlns:a16="http://schemas.microsoft.com/office/drawing/2014/main" id="{63BA8F48-7F4A-41B2-9A73-E304F5B90899}"/>
                </a:ext>
              </a:extLst>
            </p:cNvPr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6724642" y="3976657"/>
              <a:ext cx="1019173" cy="908043"/>
            </a:xfrm>
            <a:custGeom>
              <a:avLst/>
              <a:gdLst>
                <a:gd name="T0" fmla="*/ 93526 w 2332"/>
                <a:gd name="T1" fmla="*/ 370879 h 1731"/>
                <a:gd name="T2" fmla="*/ 142038 w 2332"/>
                <a:gd name="T3" fmla="*/ 340453 h 1731"/>
                <a:gd name="T4" fmla="*/ 190112 w 2332"/>
                <a:gd name="T5" fmla="*/ 317896 h 1731"/>
                <a:gd name="T6" fmla="*/ 264409 w 2332"/>
                <a:gd name="T7" fmla="*/ 299011 h 1731"/>
                <a:gd name="T8" fmla="*/ 295875 w 2332"/>
                <a:gd name="T9" fmla="*/ 229242 h 1731"/>
                <a:gd name="T10" fmla="*/ 331276 w 2332"/>
                <a:gd name="T11" fmla="*/ 230291 h 1731"/>
                <a:gd name="T12" fmla="*/ 342639 w 2332"/>
                <a:gd name="T13" fmla="*/ 190423 h 1731"/>
                <a:gd name="T14" fmla="*/ 378476 w 2332"/>
                <a:gd name="T15" fmla="*/ 165768 h 1731"/>
                <a:gd name="T16" fmla="*/ 410380 w 2332"/>
                <a:gd name="T17" fmla="*/ 129047 h 1731"/>
                <a:gd name="T18" fmla="*/ 448839 w 2332"/>
                <a:gd name="T19" fmla="*/ 116982 h 1731"/>
                <a:gd name="T20" fmla="*/ 471128 w 2332"/>
                <a:gd name="T21" fmla="*/ 148981 h 1731"/>
                <a:gd name="T22" fmla="*/ 496039 w 2332"/>
                <a:gd name="T23" fmla="*/ 141637 h 1731"/>
                <a:gd name="T24" fmla="*/ 513958 w 2332"/>
                <a:gd name="T25" fmla="*/ 90228 h 1731"/>
                <a:gd name="T26" fmla="*/ 576892 w 2332"/>
                <a:gd name="T27" fmla="*/ 61376 h 1731"/>
                <a:gd name="T28" fmla="*/ 583884 w 2332"/>
                <a:gd name="T29" fmla="*/ 21508 h 1731"/>
                <a:gd name="T30" fmla="*/ 625840 w 2332"/>
                <a:gd name="T31" fmla="*/ 56130 h 1731"/>
                <a:gd name="T32" fmla="*/ 674788 w 2332"/>
                <a:gd name="T33" fmla="*/ 61376 h 1731"/>
                <a:gd name="T34" fmla="*/ 640262 w 2332"/>
                <a:gd name="T35" fmla="*/ 137440 h 1731"/>
                <a:gd name="T36" fmla="*/ 659492 w 2332"/>
                <a:gd name="T37" fmla="*/ 174686 h 1731"/>
                <a:gd name="T38" fmla="*/ 691396 w 2332"/>
                <a:gd name="T39" fmla="*/ 185702 h 1731"/>
                <a:gd name="T40" fmla="*/ 728981 w 2332"/>
                <a:gd name="T41" fmla="*/ 221898 h 1731"/>
                <a:gd name="T42" fmla="*/ 770937 w 2332"/>
                <a:gd name="T43" fmla="*/ 216652 h 1731"/>
                <a:gd name="T44" fmla="*/ 799781 w 2332"/>
                <a:gd name="T45" fmla="*/ 107539 h 1731"/>
                <a:gd name="T46" fmla="*/ 832122 w 2332"/>
                <a:gd name="T47" fmla="*/ 5246 h 1731"/>
                <a:gd name="T48" fmla="*/ 844796 w 2332"/>
                <a:gd name="T49" fmla="*/ 41966 h 1731"/>
                <a:gd name="T50" fmla="*/ 849604 w 2332"/>
                <a:gd name="T51" fmla="*/ 92326 h 1731"/>
                <a:gd name="T52" fmla="*/ 867959 w 2332"/>
                <a:gd name="T53" fmla="*/ 125899 h 1731"/>
                <a:gd name="T54" fmla="*/ 891560 w 2332"/>
                <a:gd name="T55" fmla="*/ 225045 h 1731"/>
                <a:gd name="T56" fmla="*/ 912975 w 2332"/>
                <a:gd name="T57" fmla="*/ 283274 h 1731"/>
                <a:gd name="T58" fmla="*/ 945315 w 2332"/>
                <a:gd name="T59" fmla="*/ 359863 h 1731"/>
                <a:gd name="T60" fmla="*/ 969790 w 2332"/>
                <a:gd name="T61" fmla="*/ 403403 h 1731"/>
                <a:gd name="T62" fmla="*/ 1019175 w 2332"/>
                <a:gd name="T63" fmla="*/ 467926 h 1731"/>
                <a:gd name="T64" fmla="*/ 994701 w 2332"/>
                <a:gd name="T65" fmla="*/ 579662 h 1731"/>
                <a:gd name="T66" fmla="*/ 912100 w 2332"/>
                <a:gd name="T67" fmla="*/ 714480 h 1731"/>
                <a:gd name="T68" fmla="*/ 876263 w 2332"/>
                <a:gd name="T69" fmla="*/ 751200 h 1731"/>
                <a:gd name="T70" fmla="*/ 803278 w 2332"/>
                <a:gd name="T71" fmla="*/ 834609 h 1731"/>
                <a:gd name="T72" fmla="*/ 764381 w 2332"/>
                <a:gd name="T73" fmla="*/ 879198 h 1731"/>
                <a:gd name="T74" fmla="*/ 694455 w 2332"/>
                <a:gd name="T75" fmla="*/ 905427 h 1731"/>
                <a:gd name="T76" fmla="*/ 662988 w 2332"/>
                <a:gd name="T77" fmla="*/ 888116 h 1731"/>
                <a:gd name="T78" fmla="*/ 616225 w 2332"/>
                <a:gd name="T79" fmla="*/ 907001 h 1731"/>
                <a:gd name="T80" fmla="*/ 566840 w 2332"/>
                <a:gd name="T81" fmla="*/ 888116 h 1731"/>
                <a:gd name="T82" fmla="*/ 558973 w 2332"/>
                <a:gd name="T83" fmla="*/ 846674 h 1731"/>
                <a:gd name="T84" fmla="*/ 551980 w 2332"/>
                <a:gd name="T85" fmla="*/ 795265 h 1731"/>
                <a:gd name="T86" fmla="*/ 535373 w 2332"/>
                <a:gd name="T87" fmla="*/ 786872 h 1731"/>
                <a:gd name="T88" fmla="*/ 559410 w 2332"/>
                <a:gd name="T89" fmla="*/ 724971 h 1731"/>
                <a:gd name="T90" fmla="*/ 475498 w 2332"/>
                <a:gd name="T91" fmla="*/ 714480 h 1731"/>
                <a:gd name="T92" fmla="*/ 419995 w 2332"/>
                <a:gd name="T93" fmla="*/ 672513 h 1731"/>
                <a:gd name="T94" fmla="*/ 329527 w 2332"/>
                <a:gd name="T95" fmla="*/ 694021 h 1731"/>
                <a:gd name="T96" fmla="*/ 221579 w 2332"/>
                <a:gd name="T97" fmla="*/ 744381 h 1731"/>
                <a:gd name="T98" fmla="*/ 93526 w 2332"/>
                <a:gd name="T99" fmla="*/ 772708 h 1731"/>
                <a:gd name="T100" fmla="*/ 24037 w 2332"/>
                <a:gd name="T101" fmla="*/ 781626 h 1731"/>
                <a:gd name="T102" fmla="*/ 874 w 2332"/>
                <a:gd name="T103" fmla="*/ 746479 h 1731"/>
                <a:gd name="T104" fmla="*/ 42393 w 2332"/>
                <a:gd name="T105" fmla="*/ 705037 h 1731"/>
                <a:gd name="T106" fmla="*/ 32778 w 2332"/>
                <a:gd name="T107" fmla="*/ 651005 h 1731"/>
                <a:gd name="T108" fmla="*/ 49385 w 2332"/>
                <a:gd name="T109" fmla="*/ 613760 h 1731"/>
                <a:gd name="T110" fmla="*/ 25348 w 2332"/>
                <a:gd name="T111" fmla="*/ 494680 h 1731"/>
                <a:gd name="T112" fmla="*/ 49385 w 2332"/>
                <a:gd name="T113" fmla="*/ 505696 h 1731"/>
                <a:gd name="T114" fmla="*/ 46326 w 2332"/>
                <a:gd name="T115" fmla="*/ 452189 h 1731"/>
                <a:gd name="T116" fmla="*/ 64245 w 2332"/>
                <a:gd name="T117" fmla="*/ 40130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46B688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2" name="Freeform 193">
              <a:extLst>
                <a:ext uri="{FF2B5EF4-FFF2-40B4-BE49-F238E27FC236}">
                  <a16:creationId xmlns:a16="http://schemas.microsoft.com/office/drawing/2014/main" id="{1B58621B-45CE-4E68-8580-0F49CC6F8130}"/>
                </a:ext>
              </a:extLst>
            </p:cNvPr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1211262" y="2643167"/>
              <a:ext cx="668336" cy="581020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FEA34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3" name="Freeform 194">
              <a:extLst>
                <a:ext uri="{FF2B5EF4-FFF2-40B4-BE49-F238E27FC236}">
                  <a16:creationId xmlns:a16="http://schemas.microsoft.com/office/drawing/2014/main" id="{9D4CDE44-EDC5-416B-A031-6C14C160D1B0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2486022" y="4283042"/>
              <a:ext cx="211138" cy="265111"/>
            </a:xfrm>
            <a:custGeom>
              <a:avLst/>
              <a:gdLst>
                <a:gd name="T0" fmla="*/ 6082 w 486"/>
                <a:gd name="T1" fmla="*/ 92396 h 505"/>
                <a:gd name="T2" fmla="*/ 13468 w 486"/>
                <a:gd name="T3" fmla="*/ 103945 h 505"/>
                <a:gd name="T4" fmla="*/ 22156 w 486"/>
                <a:gd name="T5" fmla="*/ 121794 h 505"/>
                <a:gd name="T6" fmla="*/ 35624 w 486"/>
                <a:gd name="T7" fmla="*/ 139644 h 505"/>
                <a:gd name="T8" fmla="*/ 54739 w 486"/>
                <a:gd name="T9" fmla="*/ 153818 h 505"/>
                <a:gd name="T10" fmla="*/ 73855 w 486"/>
                <a:gd name="T11" fmla="*/ 162743 h 505"/>
                <a:gd name="T12" fmla="*/ 106872 w 486"/>
                <a:gd name="T13" fmla="*/ 172192 h 505"/>
                <a:gd name="T14" fmla="*/ 128160 w 486"/>
                <a:gd name="T15" fmla="*/ 180592 h 505"/>
                <a:gd name="T16" fmla="*/ 129898 w 486"/>
                <a:gd name="T17" fmla="*/ 200016 h 505"/>
                <a:gd name="T18" fmla="*/ 120340 w 486"/>
                <a:gd name="T19" fmla="*/ 219440 h 505"/>
                <a:gd name="T20" fmla="*/ 115996 w 486"/>
                <a:gd name="T21" fmla="*/ 232564 h 505"/>
                <a:gd name="T22" fmla="*/ 115561 w 486"/>
                <a:gd name="T23" fmla="*/ 243064 h 505"/>
                <a:gd name="T24" fmla="*/ 120774 w 486"/>
                <a:gd name="T25" fmla="*/ 253039 h 505"/>
                <a:gd name="T26" fmla="*/ 129898 w 486"/>
                <a:gd name="T27" fmla="*/ 259338 h 505"/>
                <a:gd name="T28" fmla="*/ 149447 w 486"/>
                <a:gd name="T29" fmla="*/ 264588 h 505"/>
                <a:gd name="T30" fmla="*/ 168128 w 486"/>
                <a:gd name="T31" fmla="*/ 264588 h 505"/>
                <a:gd name="T32" fmla="*/ 180293 w 486"/>
                <a:gd name="T33" fmla="*/ 259338 h 505"/>
                <a:gd name="T34" fmla="*/ 193760 w 486"/>
                <a:gd name="T35" fmla="*/ 248839 h 505"/>
                <a:gd name="T36" fmla="*/ 205490 w 486"/>
                <a:gd name="T37" fmla="*/ 234664 h 505"/>
                <a:gd name="T38" fmla="*/ 210704 w 486"/>
                <a:gd name="T39" fmla="*/ 219440 h 505"/>
                <a:gd name="T40" fmla="*/ 210269 w 486"/>
                <a:gd name="T41" fmla="*/ 208416 h 505"/>
                <a:gd name="T42" fmla="*/ 207662 w 486"/>
                <a:gd name="T43" fmla="*/ 187941 h 505"/>
                <a:gd name="T44" fmla="*/ 204621 w 486"/>
                <a:gd name="T45" fmla="*/ 165892 h 505"/>
                <a:gd name="T46" fmla="*/ 202015 w 486"/>
                <a:gd name="T47" fmla="*/ 141744 h 505"/>
                <a:gd name="T48" fmla="*/ 198105 w 486"/>
                <a:gd name="T49" fmla="*/ 132294 h 505"/>
                <a:gd name="T50" fmla="*/ 190719 w 486"/>
                <a:gd name="T51" fmla="*/ 125469 h 505"/>
                <a:gd name="T52" fmla="*/ 179424 w 486"/>
                <a:gd name="T53" fmla="*/ 121794 h 505"/>
                <a:gd name="T54" fmla="*/ 170301 w 486"/>
                <a:gd name="T55" fmla="*/ 116545 h 505"/>
                <a:gd name="T56" fmla="*/ 160743 w 486"/>
                <a:gd name="T57" fmla="*/ 108670 h 505"/>
                <a:gd name="T58" fmla="*/ 143365 w 486"/>
                <a:gd name="T59" fmla="*/ 98696 h 505"/>
                <a:gd name="T60" fmla="*/ 125988 w 486"/>
                <a:gd name="T61" fmla="*/ 90296 h 505"/>
                <a:gd name="T62" fmla="*/ 118602 w 486"/>
                <a:gd name="T63" fmla="*/ 83996 h 505"/>
                <a:gd name="T64" fmla="*/ 114692 w 486"/>
                <a:gd name="T65" fmla="*/ 79271 h 505"/>
                <a:gd name="T66" fmla="*/ 113389 w 486"/>
                <a:gd name="T67" fmla="*/ 65622 h 505"/>
                <a:gd name="T68" fmla="*/ 113389 w 486"/>
                <a:gd name="T69" fmla="*/ 47248 h 505"/>
                <a:gd name="T70" fmla="*/ 110782 w 486"/>
                <a:gd name="T71" fmla="*/ 37273 h 505"/>
                <a:gd name="T72" fmla="*/ 104700 w 486"/>
                <a:gd name="T73" fmla="*/ 28874 h 505"/>
                <a:gd name="T74" fmla="*/ 101659 w 486"/>
                <a:gd name="T75" fmla="*/ 19424 h 505"/>
                <a:gd name="T76" fmla="*/ 86454 w 486"/>
                <a:gd name="T77" fmla="*/ 6300 h 505"/>
                <a:gd name="T78" fmla="*/ 80806 w 486"/>
                <a:gd name="T79" fmla="*/ 4200 h 505"/>
                <a:gd name="T80" fmla="*/ 75158 w 486"/>
                <a:gd name="T81" fmla="*/ 1050 h 505"/>
                <a:gd name="T82" fmla="*/ 60387 w 486"/>
                <a:gd name="T83" fmla="*/ 525 h 505"/>
                <a:gd name="T84" fmla="*/ 30411 w 486"/>
                <a:gd name="T85" fmla="*/ 5775 h 505"/>
                <a:gd name="T86" fmla="*/ 18246 w 486"/>
                <a:gd name="T87" fmla="*/ 11025 h 505"/>
                <a:gd name="T88" fmla="*/ 10427 w 486"/>
                <a:gd name="T89" fmla="*/ 19424 h 505"/>
                <a:gd name="T90" fmla="*/ 8689 w 486"/>
                <a:gd name="T91" fmla="*/ 33598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4" name="Freeform 195">
              <a:extLst>
                <a:ext uri="{FF2B5EF4-FFF2-40B4-BE49-F238E27FC236}">
                  <a16:creationId xmlns:a16="http://schemas.microsoft.com/office/drawing/2014/main" id="{CC4B3C0B-F9D9-4715-9EBF-FFB7A383E58B}"/>
                </a:ext>
              </a:extLst>
            </p:cNvPr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2655885" y="3487711"/>
              <a:ext cx="73025" cy="109536"/>
            </a:xfrm>
            <a:custGeom>
              <a:avLst/>
              <a:gdLst>
                <a:gd name="T0" fmla="*/ 3079 w 166"/>
                <a:gd name="T1" fmla="*/ 96371 h 208"/>
                <a:gd name="T2" fmla="*/ 34753 w 166"/>
                <a:gd name="T3" fmla="*/ 109537 h 208"/>
                <a:gd name="T4" fmla="*/ 37392 w 166"/>
                <a:gd name="T5" fmla="*/ 109010 h 208"/>
                <a:gd name="T6" fmla="*/ 39592 w 166"/>
                <a:gd name="T7" fmla="*/ 107431 h 208"/>
                <a:gd name="T8" fmla="*/ 42671 w 166"/>
                <a:gd name="T9" fmla="*/ 104271 h 208"/>
                <a:gd name="T10" fmla="*/ 45751 w 166"/>
                <a:gd name="T11" fmla="*/ 101111 h 208"/>
                <a:gd name="T12" fmla="*/ 51469 w 166"/>
                <a:gd name="T13" fmla="*/ 92685 h 208"/>
                <a:gd name="T14" fmla="*/ 57188 w 166"/>
                <a:gd name="T15" fmla="*/ 83206 h 208"/>
                <a:gd name="T16" fmla="*/ 67746 w 166"/>
                <a:gd name="T17" fmla="*/ 64248 h 208"/>
                <a:gd name="T18" fmla="*/ 73025 w 166"/>
                <a:gd name="T19" fmla="*/ 54242 h 208"/>
                <a:gd name="T20" fmla="*/ 63347 w 166"/>
                <a:gd name="T21" fmla="*/ 49502 h 208"/>
                <a:gd name="T22" fmla="*/ 55429 w 166"/>
                <a:gd name="T23" fmla="*/ 44236 h 208"/>
                <a:gd name="T24" fmla="*/ 47510 w 166"/>
                <a:gd name="T25" fmla="*/ 38970 h 208"/>
                <a:gd name="T26" fmla="*/ 40912 w 166"/>
                <a:gd name="T27" fmla="*/ 33704 h 208"/>
                <a:gd name="T28" fmla="*/ 37832 w 166"/>
                <a:gd name="T29" fmla="*/ 30544 h 208"/>
                <a:gd name="T30" fmla="*/ 35633 w 166"/>
                <a:gd name="T31" fmla="*/ 27911 h 208"/>
                <a:gd name="T32" fmla="*/ 32993 w 166"/>
                <a:gd name="T33" fmla="*/ 24751 h 208"/>
                <a:gd name="T34" fmla="*/ 31234 w 166"/>
                <a:gd name="T35" fmla="*/ 21065 h 208"/>
                <a:gd name="T36" fmla="*/ 29474 w 166"/>
                <a:gd name="T37" fmla="*/ 17378 h 208"/>
                <a:gd name="T38" fmla="*/ 28154 w 166"/>
                <a:gd name="T39" fmla="*/ 13692 h 208"/>
                <a:gd name="T40" fmla="*/ 27274 w 166"/>
                <a:gd name="T41" fmla="*/ 9479 h 208"/>
                <a:gd name="T42" fmla="*/ 26395 w 166"/>
                <a:gd name="T43" fmla="*/ 5793 h 208"/>
                <a:gd name="T44" fmla="*/ 21995 w 166"/>
                <a:gd name="T45" fmla="*/ 5266 h 208"/>
                <a:gd name="T46" fmla="*/ 18916 w 166"/>
                <a:gd name="T47" fmla="*/ 4213 h 208"/>
                <a:gd name="T48" fmla="*/ 17596 w 166"/>
                <a:gd name="T49" fmla="*/ 2633 h 208"/>
                <a:gd name="T50" fmla="*/ 17156 w 166"/>
                <a:gd name="T51" fmla="*/ 1580 h 208"/>
                <a:gd name="T52" fmla="*/ 16717 w 166"/>
                <a:gd name="T53" fmla="*/ 527 h 208"/>
                <a:gd name="T54" fmla="*/ 15837 w 166"/>
                <a:gd name="T55" fmla="*/ 0 h 208"/>
                <a:gd name="T56" fmla="*/ 14077 w 166"/>
                <a:gd name="T57" fmla="*/ 527 h 208"/>
                <a:gd name="T58" fmla="*/ 11878 w 166"/>
                <a:gd name="T59" fmla="*/ 2633 h 208"/>
                <a:gd name="T60" fmla="*/ 8798 w 166"/>
                <a:gd name="T61" fmla="*/ 5793 h 208"/>
                <a:gd name="T62" fmla="*/ 4839 w 166"/>
                <a:gd name="T63" fmla="*/ 11586 h 208"/>
                <a:gd name="T64" fmla="*/ 3079 w 166"/>
                <a:gd name="T65" fmla="*/ 15272 h 208"/>
                <a:gd name="T66" fmla="*/ 1760 w 166"/>
                <a:gd name="T67" fmla="*/ 19485 h 208"/>
                <a:gd name="T68" fmla="*/ 880 w 166"/>
                <a:gd name="T69" fmla="*/ 23698 h 208"/>
                <a:gd name="T70" fmla="*/ 0 w 166"/>
                <a:gd name="T71" fmla="*/ 28437 h 208"/>
                <a:gd name="T72" fmla="*/ 0 w 166"/>
                <a:gd name="T73" fmla="*/ 31597 h 208"/>
                <a:gd name="T74" fmla="*/ 880 w 166"/>
                <a:gd name="T75" fmla="*/ 34230 h 208"/>
                <a:gd name="T76" fmla="*/ 1320 w 166"/>
                <a:gd name="T77" fmla="*/ 36863 h 208"/>
                <a:gd name="T78" fmla="*/ 2200 w 166"/>
                <a:gd name="T79" fmla="*/ 40023 h 208"/>
                <a:gd name="T80" fmla="*/ 4399 w 166"/>
                <a:gd name="T81" fmla="*/ 45289 h 208"/>
                <a:gd name="T82" fmla="*/ 7478 w 166"/>
                <a:gd name="T83" fmla="*/ 51609 h 208"/>
                <a:gd name="T84" fmla="*/ 9678 w 166"/>
                <a:gd name="T85" fmla="*/ 57402 h 208"/>
                <a:gd name="T86" fmla="*/ 12317 w 166"/>
                <a:gd name="T87" fmla="*/ 63194 h 208"/>
                <a:gd name="T88" fmla="*/ 13197 w 166"/>
                <a:gd name="T89" fmla="*/ 66354 h 208"/>
                <a:gd name="T90" fmla="*/ 14077 w 166"/>
                <a:gd name="T91" fmla="*/ 70040 h 208"/>
                <a:gd name="T92" fmla="*/ 14517 w 166"/>
                <a:gd name="T93" fmla="*/ 73200 h 208"/>
                <a:gd name="T94" fmla="*/ 14517 w 166"/>
                <a:gd name="T95" fmla="*/ 77413 h 208"/>
                <a:gd name="T96" fmla="*/ 14077 w 166"/>
                <a:gd name="T97" fmla="*/ 80573 h 208"/>
                <a:gd name="T98" fmla="*/ 13637 w 166"/>
                <a:gd name="T99" fmla="*/ 83733 h 208"/>
                <a:gd name="T100" fmla="*/ 12317 w 166"/>
                <a:gd name="T101" fmla="*/ 86892 h 208"/>
                <a:gd name="T102" fmla="*/ 10998 w 166"/>
                <a:gd name="T103" fmla="*/ 88999 h 208"/>
                <a:gd name="T104" fmla="*/ 9238 w 166"/>
                <a:gd name="T105" fmla="*/ 91632 h 208"/>
                <a:gd name="T106" fmla="*/ 7478 w 166"/>
                <a:gd name="T107" fmla="*/ 93212 h 208"/>
                <a:gd name="T108" fmla="*/ 4839 w 166"/>
                <a:gd name="T109" fmla="*/ 94792 h 208"/>
                <a:gd name="T110" fmla="*/ 3079 w 166"/>
                <a:gd name="T111" fmla="*/ 96371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5" name="Freeform 196">
              <a:extLst>
                <a:ext uri="{FF2B5EF4-FFF2-40B4-BE49-F238E27FC236}">
                  <a16:creationId xmlns:a16="http://schemas.microsoft.com/office/drawing/2014/main" id="{66A855D3-F9E8-43EE-8576-3A99178E7827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2170111" y="3046389"/>
              <a:ext cx="69850" cy="58737"/>
            </a:xfrm>
            <a:custGeom>
              <a:avLst/>
              <a:gdLst>
                <a:gd name="T0" fmla="*/ 65165 w 164"/>
                <a:gd name="T1" fmla="*/ 58737 h 104"/>
                <a:gd name="T2" fmla="*/ 57073 w 164"/>
                <a:gd name="T3" fmla="*/ 57607 h 104"/>
                <a:gd name="T4" fmla="*/ 46851 w 164"/>
                <a:gd name="T5" fmla="*/ 54784 h 104"/>
                <a:gd name="T6" fmla="*/ 40888 w 164"/>
                <a:gd name="T7" fmla="*/ 53089 h 104"/>
                <a:gd name="T8" fmla="*/ 34073 w 164"/>
                <a:gd name="T9" fmla="*/ 52524 h 104"/>
                <a:gd name="T10" fmla="*/ 31092 w 164"/>
                <a:gd name="T11" fmla="*/ 52524 h 104"/>
                <a:gd name="T12" fmla="*/ 27259 w 164"/>
                <a:gd name="T13" fmla="*/ 53089 h 104"/>
                <a:gd name="T14" fmla="*/ 23425 w 164"/>
                <a:gd name="T15" fmla="*/ 54219 h 104"/>
                <a:gd name="T16" fmla="*/ 20018 w 164"/>
                <a:gd name="T17" fmla="*/ 55348 h 104"/>
                <a:gd name="T18" fmla="*/ 17463 w 164"/>
                <a:gd name="T19" fmla="*/ 56478 h 104"/>
                <a:gd name="T20" fmla="*/ 14481 w 164"/>
                <a:gd name="T21" fmla="*/ 56478 h 104"/>
                <a:gd name="T22" fmla="*/ 11500 w 164"/>
                <a:gd name="T23" fmla="*/ 55913 h 104"/>
                <a:gd name="T24" fmla="*/ 8092 w 164"/>
                <a:gd name="T25" fmla="*/ 54219 h 104"/>
                <a:gd name="T26" fmla="*/ 4685 w 164"/>
                <a:gd name="T27" fmla="*/ 51960 h 104"/>
                <a:gd name="T28" fmla="*/ 2555 w 164"/>
                <a:gd name="T29" fmla="*/ 49701 h 104"/>
                <a:gd name="T30" fmla="*/ 1278 w 164"/>
                <a:gd name="T31" fmla="*/ 48571 h 104"/>
                <a:gd name="T32" fmla="*/ 426 w 164"/>
                <a:gd name="T33" fmla="*/ 47441 h 104"/>
                <a:gd name="T34" fmla="*/ 0 w 164"/>
                <a:gd name="T35" fmla="*/ 45747 h 104"/>
                <a:gd name="T36" fmla="*/ 0 w 164"/>
                <a:gd name="T37" fmla="*/ 44618 h 104"/>
                <a:gd name="T38" fmla="*/ 0 w 164"/>
                <a:gd name="T39" fmla="*/ 42923 h 104"/>
                <a:gd name="T40" fmla="*/ 426 w 164"/>
                <a:gd name="T41" fmla="*/ 41794 h 104"/>
                <a:gd name="T42" fmla="*/ 1278 w 164"/>
                <a:gd name="T43" fmla="*/ 40099 h 104"/>
                <a:gd name="T44" fmla="*/ 2555 w 164"/>
                <a:gd name="T45" fmla="*/ 39535 h 104"/>
                <a:gd name="T46" fmla="*/ 5111 w 164"/>
                <a:gd name="T47" fmla="*/ 37840 h 104"/>
                <a:gd name="T48" fmla="*/ 8518 w 164"/>
                <a:gd name="T49" fmla="*/ 37275 h 104"/>
                <a:gd name="T50" fmla="*/ 17037 w 164"/>
                <a:gd name="T51" fmla="*/ 37275 h 104"/>
                <a:gd name="T52" fmla="*/ 25981 w 164"/>
                <a:gd name="T53" fmla="*/ 37840 h 104"/>
                <a:gd name="T54" fmla="*/ 29814 w 164"/>
                <a:gd name="T55" fmla="*/ 37840 h 104"/>
                <a:gd name="T56" fmla="*/ 33647 w 164"/>
                <a:gd name="T57" fmla="*/ 37840 h 104"/>
                <a:gd name="T58" fmla="*/ 37055 w 164"/>
                <a:gd name="T59" fmla="*/ 37840 h 104"/>
                <a:gd name="T60" fmla="*/ 40036 w 164"/>
                <a:gd name="T61" fmla="*/ 37840 h 104"/>
                <a:gd name="T62" fmla="*/ 40036 w 164"/>
                <a:gd name="T63" fmla="*/ 31628 h 104"/>
                <a:gd name="T64" fmla="*/ 40036 w 164"/>
                <a:gd name="T65" fmla="*/ 24285 h 104"/>
                <a:gd name="T66" fmla="*/ 40036 w 164"/>
                <a:gd name="T67" fmla="*/ 16379 h 104"/>
                <a:gd name="T68" fmla="*/ 40036 w 164"/>
                <a:gd name="T69" fmla="*/ 10166 h 104"/>
                <a:gd name="T70" fmla="*/ 33647 w 164"/>
                <a:gd name="T71" fmla="*/ 9601 h 104"/>
                <a:gd name="T72" fmla="*/ 28536 w 164"/>
                <a:gd name="T73" fmla="*/ 8472 h 104"/>
                <a:gd name="T74" fmla="*/ 26407 w 164"/>
                <a:gd name="T75" fmla="*/ 7342 h 104"/>
                <a:gd name="T76" fmla="*/ 24277 w 164"/>
                <a:gd name="T77" fmla="*/ 5648 h 104"/>
                <a:gd name="T78" fmla="*/ 22148 w 164"/>
                <a:gd name="T79" fmla="*/ 3389 h 104"/>
                <a:gd name="T80" fmla="*/ 20018 w 164"/>
                <a:gd name="T81" fmla="*/ 0 h 104"/>
                <a:gd name="T82" fmla="*/ 62184 w 164"/>
                <a:gd name="T83" fmla="*/ 0 h 104"/>
                <a:gd name="T84" fmla="*/ 62609 w 164"/>
                <a:gd name="T85" fmla="*/ 3389 h 104"/>
                <a:gd name="T86" fmla="*/ 63035 w 164"/>
                <a:gd name="T87" fmla="*/ 7342 h 104"/>
                <a:gd name="T88" fmla="*/ 63887 w 164"/>
                <a:gd name="T89" fmla="*/ 10731 h 104"/>
                <a:gd name="T90" fmla="*/ 64739 w 164"/>
                <a:gd name="T91" fmla="*/ 14119 h 104"/>
                <a:gd name="T92" fmla="*/ 66443 w 164"/>
                <a:gd name="T93" fmla="*/ 19767 h 104"/>
                <a:gd name="T94" fmla="*/ 67720 w 164"/>
                <a:gd name="T95" fmla="*/ 25980 h 104"/>
                <a:gd name="T96" fmla="*/ 69424 w 164"/>
                <a:gd name="T97" fmla="*/ 30498 h 104"/>
                <a:gd name="T98" fmla="*/ 69850 w 164"/>
                <a:gd name="T99" fmla="*/ 35016 h 104"/>
                <a:gd name="T100" fmla="*/ 69424 w 164"/>
                <a:gd name="T101" fmla="*/ 36711 h 104"/>
                <a:gd name="T102" fmla="*/ 68146 w 164"/>
                <a:gd name="T103" fmla="*/ 38405 h 104"/>
                <a:gd name="T104" fmla="*/ 66869 w 164"/>
                <a:gd name="T105" fmla="*/ 40099 h 104"/>
                <a:gd name="T106" fmla="*/ 65165 w 164"/>
                <a:gd name="T107" fmla="*/ 41229 h 104"/>
                <a:gd name="T108" fmla="*/ 65165 w 164"/>
                <a:gd name="T109" fmla="*/ 5873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4" name="Freeform 205">
              <a:extLst>
                <a:ext uri="{FF2B5EF4-FFF2-40B4-BE49-F238E27FC236}">
                  <a16:creationId xmlns:a16="http://schemas.microsoft.com/office/drawing/2014/main" id="{5A3A9B3F-B901-4D12-9412-34C61120031C}"/>
                </a:ext>
              </a:extLst>
            </p:cNvPr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346323" y="5097423"/>
              <a:ext cx="17463" cy="53974"/>
            </a:xfrm>
            <a:custGeom>
              <a:avLst/>
              <a:gdLst>
                <a:gd name="T0" fmla="*/ 0 w 41"/>
                <a:gd name="T1" fmla="*/ 53975 h 43"/>
                <a:gd name="T2" fmla="*/ 11500 w 41"/>
                <a:gd name="T3" fmla="*/ 53975 h 43"/>
                <a:gd name="T4" fmla="*/ 17463 w 41"/>
                <a:gd name="T5" fmla="*/ 30126 h 43"/>
                <a:gd name="T6" fmla="*/ 16185 w 41"/>
                <a:gd name="T7" fmla="*/ 15063 h 43"/>
                <a:gd name="T8" fmla="*/ 14482 w 41"/>
                <a:gd name="T9" fmla="*/ 0 h 43"/>
                <a:gd name="T10" fmla="*/ 11500 w 41"/>
                <a:gd name="T11" fmla="*/ 5021 h 43"/>
                <a:gd name="T12" fmla="*/ 8519 w 41"/>
                <a:gd name="T13" fmla="*/ 11297 h 43"/>
                <a:gd name="T14" fmla="*/ 6389 w 41"/>
                <a:gd name="T15" fmla="*/ 17573 h 43"/>
                <a:gd name="T16" fmla="*/ 4259 w 41"/>
                <a:gd name="T17" fmla="*/ 23849 h 43"/>
                <a:gd name="T18" fmla="*/ 2556 w 41"/>
                <a:gd name="T19" fmla="*/ 30126 h 43"/>
                <a:gd name="T20" fmla="*/ 1278 w 41"/>
                <a:gd name="T21" fmla="*/ 37657 h 43"/>
                <a:gd name="T22" fmla="*/ 426 w 41"/>
                <a:gd name="T23" fmla="*/ 46444 h 43"/>
                <a:gd name="T24" fmla="*/ 0 w 41"/>
                <a:gd name="T25" fmla="*/ 53975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5" name="Freeform 206">
              <a:extLst>
                <a:ext uri="{FF2B5EF4-FFF2-40B4-BE49-F238E27FC236}">
                  <a16:creationId xmlns:a16="http://schemas.microsoft.com/office/drawing/2014/main" id="{D8F08597-1E40-448D-A635-E0465A0522ED}"/>
                </a:ext>
              </a:extLst>
            </p:cNvPr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351085" y="5119647"/>
              <a:ext cx="7937" cy="58737"/>
            </a:xfrm>
            <a:custGeom>
              <a:avLst/>
              <a:gdLst>
                <a:gd name="T0" fmla="*/ 7937 w 20"/>
                <a:gd name="T1" fmla="*/ 0 h 24"/>
                <a:gd name="T2" fmla="*/ 0 w 20"/>
                <a:gd name="T3" fmla="*/ 0 h 24"/>
                <a:gd name="T4" fmla="*/ 397 w 20"/>
                <a:gd name="T5" fmla="*/ 12237 h 24"/>
                <a:gd name="T6" fmla="*/ 794 w 20"/>
                <a:gd name="T7" fmla="*/ 22026 h 24"/>
                <a:gd name="T8" fmla="*/ 1587 w 20"/>
                <a:gd name="T9" fmla="*/ 31816 h 24"/>
                <a:gd name="T10" fmla="*/ 2778 w 20"/>
                <a:gd name="T11" fmla="*/ 41605 h 24"/>
                <a:gd name="T12" fmla="*/ 3969 w 20"/>
                <a:gd name="T13" fmla="*/ 48948 h 24"/>
                <a:gd name="T14" fmla="*/ 5556 w 20"/>
                <a:gd name="T15" fmla="*/ 53842 h 24"/>
                <a:gd name="T16" fmla="*/ 6746 w 20"/>
                <a:gd name="T17" fmla="*/ 58737 h 24"/>
                <a:gd name="T18" fmla="*/ 7937 w 20"/>
                <a:gd name="T19" fmla="*/ 58737 h 24"/>
                <a:gd name="T20" fmla="*/ 793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4" name="Freeform 215">
              <a:extLst>
                <a:ext uri="{FF2B5EF4-FFF2-40B4-BE49-F238E27FC236}">
                  <a16:creationId xmlns:a16="http://schemas.microsoft.com/office/drawing/2014/main" id="{7EAA1FD3-BA5C-4E0C-8882-875DE62EFFED}"/>
                </a:ext>
              </a:extLst>
            </p:cNvPr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070098" y="3081314"/>
              <a:ext cx="52388" cy="58737"/>
            </a:xfrm>
            <a:custGeom>
              <a:avLst/>
              <a:gdLst>
                <a:gd name="T0" fmla="*/ 0 w 120"/>
                <a:gd name="T1" fmla="*/ 18880 h 56"/>
                <a:gd name="T2" fmla="*/ 1746 w 120"/>
                <a:gd name="T3" fmla="*/ 27271 h 56"/>
                <a:gd name="T4" fmla="*/ 4366 w 120"/>
                <a:gd name="T5" fmla="*/ 34613 h 56"/>
                <a:gd name="T6" fmla="*/ 6549 w 120"/>
                <a:gd name="T7" fmla="*/ 38808 h 56"/>
                <a:gd name="T8" fmla="*/ 9168 w 120"/>
                <a:gd name="T9" fmla="*/ 43004 h 56"/>
                <a:gd name="T10" fmla="*/ 11787 w 120"/>
                <a:gd name="T11" fmla="*/ 46151 h 56"/>
                <a:gd name="T12" fmla="*/ 15280 w 120"/>
                <a:gd name="T13" fmla="*/ 48248 h 56"/>
                <a:gd name="T14" fmla="*/ 18772 w 120"/>
                <a:gd name="T15" fmla="*/ 50346 h 56"/>
                <a:gd name="T16" fmla="*/ 22265 w 120"/>
                <a:gd name="T17" fmla="*/ 51395 h 56"/>
                <a:gd name="T18" fmla="*/ 29250 w 120"/>
                <a:gd name="T19" fmla="*/ 52444 h 56"/>
                <a:gd name="T20" fmla="*/ 37108 w 120"/>
                <a:gd name="T21" fmla="*/ 53493 h 56"/>
                <a:gd name="T22" fmla="*/ 44530 w 120"/>
                <a:gd name="T23" fmla="*/ 54542 h 56"/>
                <a:gd name="T24" fmla="*/ 52388 w 120"/>
                <a:gd name="T25" fmla="*/ 58737 h 56"/>
                <a:gd name="T26" fmla="*/ 52388 w 120"/>
                <a:gd name="T27" fmla="*/ 38808 h 56"/>
                <a:gd name="T28" fmla="*/ 48459 w 120"/>
                <a:gd name="T29" fmla="*/ 35662 h 56"/>
                <a:gd name="T30" fmla="*/ 44530 w 120"/>
                <a:gd name="T31" fmla="*/ 31466 h 56"/>
                <a:gd name="T32" fmla="*/ 41037 w 120"/>
                <a:gd name="T33" fmla="*/ 25173 h 56"/>
                <a:gd name="T34" fmla="*/ 38418 w 120"/>
                <a:gd name="T35" fmla="*/ 18880 h 56"/>
                <a:gd name="T36" fmla="*/ 35362 w 120"/>
                <a:gd name="T37" fmla="*/ 13635 h 56"/>
                <a:gd name="T38" fmla="*/ 32743 w 120"/>
                <a:gd name="T39" fmla="*/ 7342 h 56"/>
                <a:gd name="T40" fmla="*/ 29250 w 120"/>
                <a:gd name="T41" fmla="*/ 3147 h 56"/>
                <a:gd name="T42" fmla="*/ 26194 w 120"/>
                <a:gd name="T43" fmla="*/ 0 h 56"/>
                <a:gd name="T44" fmla="*/ 24011 w 120"/>
                <a:gd name="T45" fmla="*/ 1049 h 56"/>
                <a:gd name="T46" fmla="*/ 20955 w 120"/>
                <a:gd name="T47" fmla="*/ 3147 h 56"/>
                <a:gd name="T48" fmla="*/ 17899 w 120"/>
                <a:gd name="T49" fmla="*/ 6293 h 56"/>
                <a:gd name="T50" fmla="*/ 14407 w 120"/>
                <a:gd name="T51" fmla="*/ 9440 h 56"/>
                <a:gd name="T52" fmla="*/ 10478 w 120"/>
                <a:gd name="T53" fmla="*/ 13635 h 56"/>
                <a:gd name="T54" fmla="*/ 6985 w 120"/>
                <a:gd name="T55" fmla="*/ 15733 h 56"/>
                <a:gd name="T56" fmla="*/ 3493 w 120"/>
                <a:gd name="T57" fmla="*/ 18880 h 56"/>
                <a:gd name="T58" fmla="*/ 0 w 120"/>
                <a:gd name="T59" fmla="*/ 18880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5" name="Freeform 216">
              <a:extLst>
                <a:ext uri="{FF2B5EF4-FFF2-40B4-BE49-F238E27FC236}">
                  <a16:creationId xmlns:a16="http://schemas.microsoft.com/office/drawing/2014/main" id="{1EE5F49D-B801-4DD8-A1E5-3E017FF7763E}"/>
                </a:ext>
              </a:extLst>
            </p:cNvPr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1927223" y="2943202"/>
              <a:ext cx="250824" cy="109537"/>
            </a:xfrm>
            <a:custGeom>
              <a:avLst/>
              <a:gdLst>
                <a:gd name="T0" fmla="*/ 55496 w 574"/>
                <a:gd name="T1" fmla="*/ 537 h 204"/>
                <a:gd name="T2" fmla="*/ 41513 w 574"/>
                <a:gd name="T3" fmla="*/ 3222 h 204"/>
                <a:gd name="T4" fmla="*/ 28841 w 574"/>
                <a:gd name="T5" fmla="*/ 8591 h 204"/>
                <a:gd name="T6" fmla="*/ 18790 w 574"/>
                <a:gd name="T7" fmla="*/ 13961 h 204"/>
                <a:gd name="T8" fmla="*/ 13109 w 574"/>
                <a:gd name="T9" fmla="*/ 18793 h 204"/>
                <a:gd name="T10" fmla="*/ 6992 w 574"/>
                <a:gd name="T11" fmla="*/ 27385 h 204"/>
                <a:gd name="T12" fmla="*/ 1748 w 574"/>
                <a:gd name="T13" fmla="*/ 38124 h 204"/>
                <a:gd name="T14" fmla="*/ 0 w 574"/>
                <a:gd name="T15" fmla="*/ 44030 h 204"/>
                <a:gd name="T16" fmla="*/ 437 w 574"/>
                <a:gd name="T17" fmla="*/ 46178 h 204"/>
                <a:gd name="T18" fmla="*/ 5681 w 574"/>
                <a:gd name="T19" fmla="*/ 46178 h 204"/>
                <a:gd name="T20" fmla="*/ 12672 w 574"/>
                <a:gd name="T21" fmla="*/ 44567 h 204"/>
                <a:gd name="T22" fmla="*/ 22723 w 574"/>
                <a:gd name="T23" fmla="*/ 40271 h 204"/>
                <a:gd name="T24" fmla="*/ 34958 w 574"/>
                <a:gd name="T25" fmla="*/ 31143 h 204"/>
                <a:gd name="T26" fmla="*/ 44572 w 574"/>
                <a:gd name="T27" fmla="*/ 24700 h 204"/>
                <a:gd name="T28" fmla="*/ 52000 w 574"/>
                <a:gd name="T29" fmla="*/ 21478 h 204"/>
                <a:gd name="T30" fmla="*/ 76471 w 574"/>
                <a:gd name="T31" fmla="*/ 19867 h 204"/>
                <a:gd name="T32" fmla="*/ 76908 w 574"/>
                <a:gd name="T33" fmla="*/ 25774 h 204"/>
                <a:gd name="T34" fmla="*/ 78656 w 574"/>
                <a:gd name="T35" fmla="*/ 29532 h 204"/>
                <a:gd name="T36" fmla="*/ 80404 w 574"/>
                <a:gd name="T37" fmla="*/ 31680 h 204"/>
                <a:gd name="T38" fmla="*/ 83026 w 574"/>
                <a:gd name="T39" fmla="*/ 32754 h 204"/>
                <a:gd name="T40" fmla="*/ 100068 w 574"/>
                <a:gd name="T41" fmla="*/ 32754 h 204"/>
                <a:gd name="T42" fmla="*/ 117547 w 574"/>
                <a:gd name="T43" fmla="*/ 41882 h 204"/>
                <a:gd name="T44" fmla="*/ 131967 w 574"/>
                <a:gd name="T45" fmla="*/ 51010 h 204"/>
                <a:gd name="T46" fmla="*/ 146824 w 574"/>
                <a:gd name="T47" fmla="*/ 59602 h 204"/>
                <a:gd name="T48" fmla="*/ 163867 w 574"/>
                <a:gd name="T49" fmla="*/ 66045 h 204"/>
                <a:gd name="T50" fmla="*/ 164303 w 574"/>
                <a:gd name="T51" fmla="*/ 71951 h 204"/>
                <a:gd name="T52" fmla="*/ 166925 w 574"/>
                <a:gd name="T53" fmla="*/ 76247 h 204"/>
                <a:gd name="T54" fmla="*/ 173043 w 574"/>
                <a:gd name="T55" fmla="*/ 81617 h 204"/>
                <a:gd name="T56" fmla="*/ 187026 w 574"/>
                <a:gd name="T57" fmla="*/ 89134 h 204"/>
                <a:gd name="T58" fmla="*/ 175665 w 574"/>
                <a:gd name="T59" fmla="*/ 102558 h 204"/>
                <a:gd name="T60" fmla="*/ 177850 w 574"/>
                <a:gd name="T61" fmla="*/ 105779 h 204"/>
                <a:gd name="T62" fmla="*/ 180909 w 574"/>
                <a:gd name="T63" fmla="*/ 107927 h 204"/>
                <a:gd name="T64" fmla="*/ 187463 w 574"/>
                <a:gd name="T65" fmla="*/ 109538 h 204"/>
                <a:gd name="T66" fmla="*/ 201447 w 574"/>
                <a:gd name="T67" fmla="*/ 109538 h 204"/>
                <a:gd name="T68" fmla="*/ 242522 w 574"/>
                <a:gd name="T69" fmla="*/ 101484 h 204"/>
                <a:gd name="T70" fmla="*/ 244270 w 574"/>
                <a:gd name="T71" fmla="*/ 98262 h 204"/>
                <a:gd name="T72" fmla="*/ 246892 w 574"/>
                <a:gd name="T73" fmla="*/ 95040 h 204"/>
                <a:gd name="T74" fmla="*/ 249951 w 574"/>
                <a:gd name="T75" fmla="*/ 92893 h 204"/>
                <a:gd name="T76" fmla="*/ 250825 w 574"/>
                <a:gd name="T77" fmla="*/ 86449 h 204"/>
                <a:gd name="T78" fmla="*/ 245144 w 574"/>
                <a:gd name="T79" fmla="*/ 82154 h 204"/>
                <a:gd name="T80" fmla="*/ 232472 w 574"/>
                <a:gd name="T81" fmla="*/ 79469 h 204"/>
                <a:gd name="T82" fmla="*/ 220237 w 574"/>
                <a:gd name="T83" fmla="*/ 74099 h 204"/>
                <a:gd name="T84" fmla="*/ 207564 w 574"/>
                <a:gd name="T85" fmla="*/ 66582 h 204"/>
                <a:gd name="T86" fmla="*/ 189211 w 574"/>
                <a:gd name="T87" fmla="*/ 53695 h 204"/>
                <a:gd name="T88" fmla="*/ 167362 w 574"/>
                <a:gd name="T89" fmla="*/ 36513 h 204"/>
                <a:gd name="T90" fmla="*/ 156438 w 574"/>
                <a:gd name="T91" fmla="*/ 28995 h 204"/>
                <a:gd name="T92" fmla="*/ 152068 w 574"/>
                <a:gd name="T93" fmla="*/ 27921 h 204"/>
                <a:gd name="T94" fmla="*/ 144203 w 574"/>
                <a:gd name="T95" fmla="*/ 27921 h 204"/>
                <a:gd name="T96" fmla="*/ 136337 w 574"/>
                <a:gd name="T97" fmla="*/ 27385 h 204"/>
                <a:gd name="T98" fmla="*/ 131967 w 574"/>
                <a:gd name="T99" fmla="*/ 26311 h 204"/>
                <a:gd name="T100" fmla="*/ 128471 w 574"/>
                <a:gd name="T101" fmla="*/ 23089 h 204"/>
                <a:gd name="T102" fmla="*/ 126723 w 574"/>
                <a:gd name="T103" fmla="*/ 17182 h 204"/>
                <a:gd name="T104" fmla="*/ 62051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6" name="Freeform 217">
              <a:extLst>
                <a:ext uri="{FF2B5EF4-FFF2-40B4-BE49-F238E27FC236}">
                  <a16:creationId xmlns:a16="http://schemas.microsoft.com/office/drawing/2014/main" id="{88A36466-4D03-495D-8F79-71E5577A639C}"/>
                </a:ext>
              </a:extLst>
            </p:cNvPr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232023" y="3046389"/>
              <a:ext cx="88900" cy="69849"/>
            </a:xfrm>
            <a:custGeom>
              <a:avLst/>
              <a:gdLst>
                <a:gd name="T0" fmla="*/ 17608 w 207"/>
                <a:gd name="T1" fmla="*/ 69850 h 129"/>
                <a:gd name="T2" fmla="*/ 21473 w 207"/>
                <a:gd name="T3" fmla="*/ 65518 h 129"/>
                <a:gd name="T4" fmla="*/ 25768 w 207"/>
                <a:gd name="T5" fmla="*/ 62269 h 129"/>
                <a:gd name="T6" fmla="*/ 30063 w 207"/>
                <a:gd name="T7" fmla="*/ 59562 h 129"/>
                <a:gd name="T8" fmla="*/ 34787 w 207"/>
                <a:gd name="T9" fmla="*/ 56855 h 129"/>
                <a:gd name="T10" fmla="*/ 45094 w 207"/>
                <a:gd name="T11" fmla="*/ 53606 h 129"/>
                <a:gd name="T12" fmla="*/ 55401 w 207"/>
                <a:gd name="T13" fmla="*/ 49816 h 129"/>
                <a:gd name="T14" fmla="*/ 65279 w 207"/>
                <a:gd name="T15" fmla="*/ 47108 h 129"/>
                <a:gd name="T16" fmla="*/ 74298 w 207"/>
                <a:gd name="T17" fmla="*/ 43859 h 129"/>
                <a:gd name="T18" fmla="*/ 78163 w 207"/>
                <a:gd name="T19" fmla="*/ 41693 h 129"/>
                <a:gd name="T20" fmla="*/ 82029 w 207"/>
                <a:gd name="T21" fmla="*/ 39528 h 129"/>
                <a:gd name="T22" fmla="*/ 85894 w 207"/>
                <a:gd name="T23" fmla="*/ 36279 h 129"/>
                <a:gd name="T24" fmla="*/ 88900 w 207"/>
                <a:gd name="T25" fmla="*/ 33030 h 129"/>
                <a:gd name="T26" fmla="*/ 85035 w 207"/>
                <a:gd name="T27" fmla="*/ 29240 h 129"/>
                <a:gd name="T28" fmla="*/ 80740 w 207"/>
                <a:gd name="T29" fmla="*/ 25449 h 129"/>
                <a:gd name="T30" fmla="*/ 76875 w 207"/>
                <a:gd name="T31" fmla="*/ 22742 h 129"/>
                <a:gd name="T32" fmla="*/ 72580 w 207"/>
                <a:gd name="T33" fmla="*/ 19493 h 129"/>
                <a:gd name="T34" fmla="*/ 64420 w 207"/>
                <a:gd name="T35" fmla="*/ 15703 h 129"/>
                <a:gd name="T36" fmla="*/ 55401 w 207"/>
                <a:gd name="T37" fmla="*/ 12454 h 129"/>
                <a:gd name="T38" fmla="*/ 45953 w 207"/>
                <a:gd name="T39" fmla="*/ 9747 h 129"/>
                <a:gd name="T40" fmla="*/ 36505 w 207"/>
                <a:gd name="T41" fmla="*/ 7039 h 129"/>
                <a:gd name="T42" fmla="*/ 27057 w 207"/>
                <a:gd name="T43" fmla="*/ 3790 h 129"/>
                <a:gd name="T44" fmla="*/ 17608 w 207"/>
                <a:gd name="T45" fmla="*/ 0 h 129"/>
                <a:gd name="T46" fmla="*/ 0 w 207"/>
                <a:gd name="T47" fmla="*/ 0 h 129"/>
                <a:gd name="T48" fmla="*/ 429 w 207"/>
                <a:gd name="T49" fmla="*/ 3249 h 129"/>
                <a:gd name="T50" fmla="*/ 859 w 207"/>
                <a:gd name="T51" fmla="*/ 7039 h 129"/>
                <a:gd name="T52" fmla="*/ 1718 w 207"/>
                <a:gd name="T53" fmla="*/ 10288 h 129"/>
                <a:gd name="T54" fmla="*/ 2577 w 207"/>
                <a:gd name="T55" fmla="*/ 13537 h 129"/>
                <a:gd name="T56" fmla="*/ 4295 w 207"/>
                <a:gd name="T57" fmla="*/ 18952 h 129"/>
                <a:gd name="T58" fmla="*/ 5583 w 207"/>
                <a:gd name="T59" fmla="*/ 24908 h 129"/>
                <a:gd name="T60" fmla="*/ 7301 w 207"/>
                <a:gd name="T61" fmla="*/ 29240 h 129"/>
                <a:gd name="T62" fmla="*/ 7730 w 207"/>
                <a:gd name="T63" fmla="*/ 33571 h 129"/>
                <a:gd name="T64" fmla="*/ 7301 w 207"/>
                <a:gd name="T65" fmla="*/ 35196 h 129"/>
                <a:gd name="T66" fmla="*/ 6013 w 207"/>
                <a:gd name="T67" fmla="*/ 36820 h 129"/>
                <a:gd name="T68" fmla="*/ 4724 w 207"/>
                <a:gd name="T69" fmla="*/ 38445 h 129"/>
                <a:gd name="T70" fmla="*/ 3006 w 207"/>
                <a:gd name="T71" fmla="*/ 39528 h 129"/>
                <a:gd name="T72" fmla="*/ 0 w 207"/>
                <a:gd name="T73" fmla="*/ 56313 h 129"/>
                <a:gd name="T74" fmla="*/ 1718 w 207"/>
                <a:gd name="T75" fmla="*/ 57396 h 129"/>
                <a:gd name="T76" fmla="*/ 5583 w 207"/>
                <a:gd name="T77" fmla="*/ 59562 h 129"/>
                <a:gd name="T78" fmla="*/ 8160 w 207"/>
                <a:gd name="T79" fmla="*/ 61186 h 129"/>
                <a:gd name="T80" fmla="*/ 10737 w 207"/>
                <a:gd name="T81" fmla="*/ 63352 h 129"/>
                <a:gd name="T82" fmla="*/ 14172 w 207"/>
                <a:gd name="T83" fmla="*/ 66060 h 129"/>
                <a:gd name="T84" fmla="*/ 17608 w 207"/>
                <a:gd name="T85" fmla="*/ 6985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7" name="Freeform 218">
              <a:extLst>
                <a:ext uri="{FF2B5EF4-FFF2-40B4-BE49-F238E27FC236}">
                  <a16:creationId xmlns:a16="http://schemas.microsoft.com/office/drawing/2014/main" id="{D5EE3DE5-9650-4677-BA9E-DBC00DBD27DB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1800223" y="3106714"/>
              <a:ext cx="33338" cy="84136"/>
            </a:xfrm>
            <a:custGeom>
              <a:avLst/>
              <a:gdLst>
                <a:gd name="T0" fmla="*/ 33338 w 72"/>
                <a:gd name="T1" fmla="*/ 0 h 154"/>
                <a:gd name="T2" fmla="*/ 31949 w 72"/>
                <a:gd name="T3" fmla="*/ 2185 h 154"/>
                <a:gd name="T4" fmla="*/ 31023 w 72"/>
                <a:gd name="T5" fmla="*/ 4917 h 154"/>
                <a:gd name="T6" fmla="*/ 30560 w 72"/>
                <a:gd name="T7" fmla="*/ 7102 h 154"/>
                <a:gd name="T8" fmla="*/ 30560 w 72"/>
                <a:gd name="T9" fmla="*/ 9834 h 154"/>
                <a:gd name="T10" fmla="*/ 30560 w 72"/>
                <a:gd name="T11" fmla="*/ 14751 h 154"/>
                <a:gd name="T12" fmla="*/ 30560 w 72"/>
                <a:gd name="T13" fmla="*/ 20215 h 154"/>
                <a:gd name="T14" fmla="*/ 31949 w 72"/>
                <a:gd name="T15" fmla="*/ 23493 h 154"/>
                <a:gd name="T16" fmla="*/ 32875 w 72"/>
                <a:gd name="T17" fmla="*/ 27317 h 154"/>
                <a:gd name="T18" fmla="*/ 32875 w 72"/>
                <a:gd name="T19" fmla="*/ 31142 h 154"/>
                <a:gd name="T20" fmla="*/ 32875 w 72"/>
                <a:gd name="T21" fmla="*/ 35512 h 154"/>
                <a:gd name="T22" fmla="*/ 31949 w 72"/>
                <a:gd name="T23" fmla="*/ 39883 h 154"/>
                <a:gd name="T24" fmla="*/ 31023 w 72"/>
                <a:gd name="T25" fmla="*/ 44800 h 154"/>
                <a:gd name="T26" fmla="*/ 30097 w 72"/>
                <a:gd name="T27" fmla="*/ 49717 h 154"/>
                <a:gd name="T28" fmla="*/ 28245 w 72"/>
                <a:gd name="T29" fmla="*/ 54634 h 154"/>
                <a:gd name="T30" fmla="*/ 24540 w 72"/>
                <a:gd name="T31" fmla="*/ 63376 h 154"/>
                <a:gd name="T32" fmla="*/ 20373 w 72"/>
                <a:gd name="T33" fmla="*/ 71571 h 154"/>
                <a:gd name="T34" fmla="*/ 15743 w 72"/>
                <a:gd name="T35" fmla="*/ 78674 h 154"/>
                <a:gd name="T36" fmla="*/ 12039 w 72"/>
                <a:gd name="T37" fmla="*/ 84137 h 154"/>
                <a:gd name="T38" fmla="*/ 12039 w 72"/>
                <a:gd name="T39" fmla="*/ 77035 h 154"/>
                <a:gd name="T40" fmla="*/ 6945 w 72"/>
                <a:gd name="T41" fmla="*/ 78674 h 154"/>
                <a:gd name="T42" fmla="*/ 0 w 72"/>
                <a:gd name="T43" fmla="*/ 80859 h 154"/>
                <a:gd name="T44" fmla="*/ 1389 w 72"/>
                <a:gd name="T45" fmla="*/ 70478 h 154"/>
                <a:gd name="T46" fmla="*/ 3704 w 72"/>
                <a:gd name="T47" fmla="*/ 57366 h 154"/>
                <a:gd name="T48" fmla="*/ 4167 w 72"/>
                <a:gd name="T49" fmla="*/ 50264 h 154"/>
                <a:gd name="T50" fmla="*/ 5556 w 72"/>
                <a:gd name="T51" fmla="*/ 42069 h 154"/>
                <a:gd name="T52" fmla="*/ 6945 w 72"/>
                <a:gd name="T53" fmla="*/ 34420 h 154"/>
                <a:gd name="T54" fmla="*/ 9261 w 72"/>
                <a:gd name="T55" fmla="*/ 26771 h 154"/>
                <a:gd name="T56" fmla="*/ 9261 w 72"/>
                <a:gd name="T57" fmla="*/ 0 h 154"/>
                <a:gd name="T58" fmla="*/ 11576 w 72"/>
                <a:gd name="T59" fmla="*/ 0 h 154"/>
                <a:gd name="T60" fmla="*/ 17595 w 72"/>
                <a:gd name="T61" fmla="*/ 0 h 154"/>
                <a:gd name="T62" fmla="*/ 25930 w 72"/>
                <a:gd name="T63" fmla="*/ 0 h 154"/>
                <a:gd name="T64" fmla="*/ 33338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8" name="Freeform 219">
              <a:extLst>
                <a:ext uri="{FF2B5EF4-FFF2-40B4-BE49-F238E27FC236}">
                  <a16:creationId xmlns:a16="http://schemas.microsoft.com/office/drawing/2014/main" id="{70AA7397-C8BD-49E1-8E49-EB199AFFED98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1720848" y="3106714"/>
              <a:ext cx="93663" cy="146049"/>
            </a:xfrm>
            <a:custGeom>
              <a:avLst/>
              <a:gdLst>
                <a:gd name="T0" fmla="*/ 3501 w 214"/>
                <a:gd name="T1" fmla="*/ 111558 h 271"/>
                <a:gd name="T2" fmla="*/ 5252 w 214"/>
                <a:gd name="T3" fmla="*/ 97546 h 271"/>
                <a:gd name="T4" fmla="*/ 10504 w 214"/>
                <a:gd name="T5" fmla="*/ 79762 h 271"/>
                <a:gd name="T6" fmla="*/ 15319 w 214"/>
                <a:gd name="T7" fmla="*/ 63594 h 271"/>
                <a:gd name="T8" fmla="*/ 19258 w 214"/>
                <a:gd name="T9" fmla="*/ 60360 h 271"/>
                <a:gd name="T10" fmla="*/ 28449 w 214"/>
                <a:gd name="T11" fmla="*/ 59821 h 271"/>
                <a:gd name="T12" fmla="*/ 38953 w 214"/>
                <a:gd name="T13" fmla="*/ 59821 h 271"/>
                <a:gd name="T14" fmla="*/ 46394 w 214"/>
                <a:gd name="T15" fmla="*/ 59282 h 271"/>
                <a:gd name="T16" fmla="*/ 52521 w 214"/>
                <a:gd name="T17" fmla="*/ 56588 h 271"/>
                <a:gd name="T18" fmla="*/ 56898 w 214"/>
                <a:gd name="T19" fmla="*/ 50659 h 271"/>
                <a:gd name="T20" fmla="*/ 49458 w 214"/>
                <a:gd name="T21" fmla="*/ 39342 h 271"/>
                <a:gd name="T22" fmla="*/ 37640 w 214"/>
                <a:gd name="T23" fmla="*/ 31258 h 271"/>
                <a:gd name="T24" fmla="*/ 33701 w 214"/>
                <a:gd name="T25" fmla="*/ 26408 h 271"/>
                <a:gd name="T26" fmla="*/ 32388 w 214"/>
                <a:gd name="T27" fmla="*/ 22096 h 271"/>
                <a:gd name="T28" fmla="*/ 32826 w 214"/>
                <a:gd name="T29" fmla="*/ 18324 h 271"/>
                <a:gd name="T30" fmla="*/ 35890 w 214"/>
                <a:gd name="T31" fmla="*/ 15090 h 271"/>
                <a:gd name="T32" fmla="*/ 44205 w 214"/>
                <a:gd name="T33" fmla="*/ 10240 h 271"/>
                <a:gd name="T34" fmla="*/ 65652 w 214"/>
                <a:gd name="T35" fmla="*/ 1617 h 271"/>
                <a:gd name="T36" fmla="*/ 78782 w 214"/>
                <a:gd name="T37" fmla="*/ 0 h 271"/>
                <a:gd name="T38" fmla="*/ 86660 w 214"/>
                <a:gd name="T39" fmla="*/ 0 h 271"/>
                <a:gd name="T40" fmla="*/ 90599 w 214"/>
                <a:gd name="T41" fmla="*/ 26408 h 271"/>
                <a:gd name="T42" fmla="*/ 87098 w 214"/>
                <a:gd name="T43" fmla="*/ 41498 h 271"/>
                <a:gd name="T44" fmla="*/ 85347 w 214"/>
                <a:gd name="T45" fmla="*/ 56588 h 271"/>
                <a:gd name="T46" fmla="*/ 81846 w 214"/>
                <a:gd name="T47" fmla="*/ 79762 h 271"/>
                <a:gd name="T48" fmla="*/ 93225 w 214"/>
                <a:gd name="T49" fmla="*/ 82995 h 271"/>
                <a:gd name="T50" fmla="*/ 93663 w 214"/>
                <a:gd name="T51" fmla="*/ 89462 h 271"/>
                <a:gd name="T52" fmla="*/ 91912 w 214"/>
                <a:gd name="T53" fmla="*/ 93774 h 271"/>
                <a:gd name="T54" fmla="*/ 90599 w 214"/>
                <a:gd name="T55" fmla="*/ 95391 h 271"/>
                <a:gd name="T56" fmla="*/ 87536 w 214"/>
                <a:gd name="T57" fmla="*/ 95930 h 271"/>
                <a:gd name="T58" fmla="*/ 84034 w 214"/>
                <a:gd name="T59" fmla="*/ 105630 h 271"/>
                <a:gd name="T60" fmla="*/ 79220 w 214"/>
                <a:gd name="T61" fmla="*/ 115331 h 271"/>
                <a:gd name="T62" fmla="*/ 67840 w 214"/>
                <a:gd name="T63" fmla="*/ 130960 h 271"/>
                <a:gd name="T64" fmla="*/ 52521 w 214"/>
                <a:gd name="T65" fmla="*/ 146050 h 271"/>
                <a:gd name="T66" fmla="*/ 38078 w 214"/>
                <a:gd name="T67" fmla="*/ 140661 h 271"/>
                <a:gd name="T68" fmla="*/ 24072 w 214"/>
                <a:gd name="T69" fmla="*/ 133655 h 271"/>
                <a:gd name="T70" fmla="*/ 0 w 214"/>
                <a:gd name="T71" fmla="*/ 119104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9" name="Freeform 220">
              <a:extLst>
                <a:ext uri="{FF2B5EF4-FFF2-40B4-BE49-F238E27FC236}">
                  <a16:creationId xmlns:a16="http://schemas.microsoft.com/office/drawing/2014/main" id="{A9441FD3-54E9-4AFC-BDD1-2712FEAF9017}"/>
                </a:ext>
              </a:extLst>
            </p:cNvPr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1768473" y="3217837"/>
              <a:ext cx="71438" cy="57150"/>
            </a:xfrm>
            <a:custGeom>
              <a:avLst/>
              <a:gdLst>
                <a:gd name="T0" fmla="*/ 28015 w 153"/>
                <a:gd name="T1" fmla="*/ 0 h 80"/>
                <a:gd name="T2" fmla="*/ 38754 w 153"/>
                <a:gd name="T3" fmla="*/ 10001 h 80"/>
                <a:gd name="T4" fmla="*/ 48559 w 153"/>
                <a:gd name="T5" fmla="*/ 17145 h 80"/>
                <a:gd name="T6" fmla="*/ 53695 w 153"/>
                <a:gd name="T7" fmla="*/ 20003 h 80"/>
                <a:gd name="T8" fmla="*/ 58831 w 153"/>
                <a:gd name="T9" fmla="*/ 22146 h 80"/>
                <a:gd name="T10" fmla="*/ 62100 w 153"/>
                <a:gd name="T11" fmla="*/ 22860 h 80"/>
                <a:gd name="T12" fmla="*/ 64901 w 153"/>
                <a:gd name="T13" fmla="*/ 22860 h 80"/>
                <a:gd name="T14" fmla="*/ 68170 w 153"/>
                <a:gd name="T15" fmla="*/ 22146 h 80"/>
                <a:gd name="T16" fmla="*/ 71438 w 153"/>
                <a:gd name="T17" fmla="*/ 21431 h 80"/>
                <a:gd name="T18" fmla="*/ 71438 w 153"/>
                <a:gd name="T19" fmla="*/ 40005 h 80"/>
                <a:gd name="T20" fmla="*/ 69570 w 153"/>
                <a:gd name="T21" fmla="*/ 42863 h 80"/>
                <a:gd name="T22" fmla="*/ 67703 w 153"/>
                <a:gd name="T23" fmla="*/ 46434 h 80"/>
                <a:gd name="T24" fmla="*/ 64434 w 153"/>
                <a:gd name="T25" fmla="*/ 49292 h 80"/>
                <a:gd name="T26" fmla="*/ 61633 w 153"/>
                <a:gd name="T27" fmla="*/ 51435 h 80"/>
                <a:gd name="T28" fmla="*/ 58364 w 153"/>
                <a:gd name="T29" fmla="*/ 53578 h 80"/>
                <a:gd name="T30" fmla="*/ 55563 w 153"/>
                <a:gd name="T31" fmla="*/ 55721 h 80"/>
                <a:gd name="T32" fmla="*/ 52294 w 153"/>
                <a:gd name="T33" fmla="*/ 56436 h 80"/>
                <a:gd name="T34" fmla="*/ 49493 w 153"/>
                <a:gd name="T35" fmla="*/ 57150 h 80"/>
                <a:gd name="T36" fmla="*/ 42022 w 153"/>
                <a:gd name="T37" fmla="*/ 52864 h 80"/>
                <a:gd name="T38" fmla="*/ 35486 w 153"/>
                <a:gd name="T39" fmla="*/ 50721 h 80"/>
                <a:gd name="T40" fmla="*/ 29416 w 153"/>
                <a:gd name="T41" fmla="*/ 49292 h 80"/>
                <a:gd name="T42" fmla="*/ 23346 w 153"/>
                <a:gd name="T43" fmla="*/ 49292 h 80"/>
                <a:gd name="T44" fmla="*/ 18210 w 153"/>
                <a:gd name="T45" fmla="*/ 48578 h 80"/>
                <a:gd name="T46" fmla="*/ 12607 w 153"/>
                <a:gd name="T47" fmla="*/ 47863 h 80"/>
                <a:gd name="T48" fmla="*/ 6537 w 153"/>
                <a:gd name="T49" fmla="*/ 46434 h 80"/>
                <a:gd name="T50" fmla="*/ 0 w 153"/>
                <a:gd name="T51" fmla="*/ 44291 h 80"/>
                <a:gd name="T52" fmla="*/ 3268 w 153"/>
                <a:gd name="T53" fmla="*/ 41434 h 80"/>
                <a:gd name="T54" fmla="*/ 10739 w 153"/>
                <a:gd name="T55" fmla="*/ 32147 h 80"/>
                <a:gd name="T56" fmla="*/ 15875 w 153"/>
                <a:gd name="T57" fmla="*/ 26432 h 80"/>
                <a:gd name="T58" fmla="*/ 21011 w 153"/>
                <a:gd name="T59" fmla="*/ 20003 h 80"/>
                <a:gd name="T60" fmla="*/ 26147 w 153"/>
                <a:gd name="T61" fmla="*/ 12144 h 80"/>
                <a:gd name="T62" fmla="*/ 31283 w 153"/>
                <a:gd name="T63" fmla="*/ 4286 h 80"/>
                <a:gd name="T64" fmla="*/ 2801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0" name="Freeform 221">
              <a:extLst>
                <a:ext uri="{FF2B5EF4-FFF2-40B4-BE49-F238E27FC236}">
                  <a16:creationId xmlns:a16="http://schemas.microsoft.com/office/drawing/2014/main" id="{D95FE5F4-19A8-4325-ABF3-0FC2D6F72EC0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1800223" y="3179738"/>
              <a:ext cx="142875" cy="87311"/>
            </a:xfrm>
            <a:custGeom>
              <a:avLst/>
              <a:gdLst>
                <a:gd name="T0" fmla="*/ 0 w 332"/>
                <a:gd name="T1" fmla="*/ 39781 h 169"/>
                <a:gd name="T2" fmla="*/ 18935 w 332"/>
                <a:gd name="T3" fmla="*/ 52181 h 169"/>
                <a:gd name="T4" fmla="*/ 28403 w 332"/>
                <a:gd name="T5" fmla="*/ 55797 h 169"/>
                <a:gd name="T6" fmla="*/ 33997 w 332"/>
                <a:gd name="T7" fmla="*/ 56314 h 169"/>
                <a:gd name="T8" fmla="*/ 40022 w 332"/>
                <a:gd name="T9" fmla="*/ 55280 h 169"/>
                <a:gd name="T10" fmla="*/ 38731 w 332"/>
                <a:gd name="T11" fmla="*/ 74396 h 169"/>
                <a:gd name="T12" fmla="*/ 40883 w 332"/>
                <a:gd name="T13" fmla="*/ 79562 h 169"/>
                <a:gd name="T14" fmla="*/ 42604 w 332"/>
                <a:gd name="T15" fmla="*/ 84212 h 169"/>
                <a:gd name="T16" fmla="*/ 46047 w 332"/>
                <a:gd name="T17" fmla="*/ 86795 h 169"/>
                <a:gd name="T18" fmla="*/ 50351 w 332"/>
                <a:gd name="T19" fmla="*/ 87312 h 169"/>
                <a:gd name="T20" fmla="*/ 52933 w 332"/>
                <a:gd name="T21" fmla="*/ 85762 h 169"/>
                <a:gd name="T22" fmla="*/ 56806 w 332"/>
                <a:gd name="T23" fmla="*/ 81112 h 169"/>
                <a:gd name="T24" fmla="*/ 62831 w 332"/>
                <a:gd name="T25" fmla="*/ 70263 h 169"/>
                <a:gd name="T26" fmla="*/ 74880 w 332"/>
                <a:gd name="T27" fmla="*/ 59413 h 169"/>
                <a:gd name="T28" fmla="*/ 92094 w 332"/>
                <a:gd name="T29" fmla="*/ 49597 h 169"/>
                <a:gd name="T30" fmla="*/ 110169 w 332"/>
                <a:gd name="T31" fmla="*/ 41331 h 169"/>
                <a:gd name="T32" fmla="*/ 130825 w 332"/>
                <a:gd name="T33" fmla="*/ 33582 h 169"/>
                <a:gd name="T34" fmla="*/ 142875 w 332"/>
                <a:gd name="T35" fmla="*/ 23765 h 169"/>
                <a:gd name="T36" fmla="*/ 142875 w 332"/>
                <a:gd name="T37" fmla="*/ 11366 h 169"/>
                <a:gd name="T38" fmla="*/ 137711 w 332"/>
                <a:gd name="T39" fmla="*/ 1033 h 169"/>
                <a:gd name="T40" fmla="*/ 121788 w 332"/>
                <a:gd name="T41" fmla="*/ 517 h 169"/>
                <a:gd name="T42" fmla="*/ 100701 w 332"/>
                <a:gd name="T43" fmla="*/ 0 h 169"/>
                <a:gd name="T44" fmla="*/ 77462 w 332"/>
                <a:gd name="T45" fmla="*/ 517 h 169"/>
                <a:gd name="T46" fmla="*/ 56375 w 332"/>
                <a:gd name="T47" fmla="*/ 2067 h 169"/>
                <a:gd name="T48" fmla="*/ 38731 w 332"/>
                <a:gd name="T49" fmla="*/ 5166 h 169"/>
                <a:gd name="T50" fmla="*/ 25390 w 332"/>
                <a:gd name="T51" fmla="*/ 9816 h 169"/>
                <a:gd name="T52" fmla="*/ 18075 w 332"/>
                <a:gd name="T53" fmla="*/ 11366 h 169"/>
                <a:gd name="T54" fmla="*/ 15062 w 332"/>
                <a:gd name="T55" fmla="*/ 11883 h 169"/>
                <a:gd name="T56" fmla="*/ 14632 w 332"/>
                <a:gd name="T57" fmla="*/ 13433 h 169"/>
                <a:gd name="T58" fmla="*/ 14201 w 332"/>
                <a:gd name="T59" fmla="*/ 19632 h 169"/>
                <a:gd name="T60" fmla="*/ 12480 w 332"/>
                <a:gd name="T61" fmla="*/ 22732 h 169"/>
                <a:gd name="T62" fmla="*/ 9898 w 332"/>
                <a:gd name="T63" fmla="*/ 23765 h 169"/>
                <a:gd name="T64" fmla="*/ 8177 w 332"/>
                <a:gd name="T65" fmla="*/ 28415 h 169"/>
                <a:gd name="T66" fmla="*/ 4734 w 332"/>
                <a:gd name="T67" fmla="*/ 37198 h 169"/>
                <a:gd name="T68" fmla="*/ 3012 w 332"/>
                <a:gd name="T69" fmla="*/ 42881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1" name="Freeform 222">
              <a:extLst>
                <a:ext uri="{FF2B5EF4-FFF2-40B4-BE49-F238E27FC236}">
                  <a16:creationId xmlns:a16="http://schemas.microsoft.com/office/drawing/2014/main" id="{7CD874B9-A3C6-4D1B-AC6A-08BD84A4F24E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1817686" y="3209899"/>
              <a:ext cx="125412" cy="122237"/>
            </a:xfrm>
            <a:custGeom>
              <a:avLst/>
              <a:gdLst>
                <a:gd name="T0" fmla="*/ 19294 w 286"/>
                <a:gd name="T1" fmla="*/ 44734 h 235"/>
                <a:gd name="T2" fmla="*/ 21487 w 286"/>
                <a:gd name="T3" fmla="*/ 49936 h 235"/>
                <a:gd name="T4" fmla="*/ 23241 w 286"/>
                <a:gd name="T5" fmla="*/ 54617 h 235"/>
                <a:gd name="T6" fmla="*/ 26749 w 286"/>
                <a:gd name="T7" fmla="*/ 57218 h 235"/>
                <a:gd name="T8" fmla="*/ 31134 w 286"/>
                <a:gd name="T9" fmla="*/ 57738 h 235"/>
                <a:gd name="T10" fmla="*/ 33765 w 286"/>
                <a:gd name="T11" fmla="*/ 56177 h 235"/>
                <a:gd name="T12" fmla="*/ 37711 w 286"/>
                <a:gd name="T13" fmla="*/ 51496 h 235"/>
                <a:gd name="T14" fmla="*/ 43850 w 286"/>
                <a:gd name="T15" fmla="*/ 40573 h 235"/>
                <a:gd name="T16" fmla="*/ 56128 w 286"/>
                <a:gd name="T17" fmla="*/ 29649 h 235"/>
                <a:gd name="T18" fmla="*/ 73669 w 286"/>
                <a:gd name="T19" fmla="*/ 19766 h 235"/>
                <a:gd name="T20" fmla="*/ 92086 w 286"/>
                <a:gd name="T21" fmla="*/ 11444 h 235"/>
                <a:gd name="T22" fmla="*/ 113134 w 286"/>
                <a:gd name="T23" fmla="*/ 3641 h 235"/>
                <a:gd name="T24" fmla="*/ 125412 w 286"/>
                <a:gd name="T25" fmla="*/ 5722 h 235"/>
                <a:gd name="T26" fmla="*/ 123658 w 286"/>
                <a:gd name="T27" fmla="*/ 16645 h 235"/>
                <a:gd name="T28" fmla="*/ 119273 w 286"/>
                <a:gd name="T29" fmla="*/ 36411 h 235"/>
                <a:gd name="T30" fmla="*/ 111380 w 286"/>
                <a:gd name="T31" fmla="*/ 66581 h 235"/>
                <a:gd name="T32" fmla="*/ 106995 w 286"/>
                <a:gd name="T33" fmla="*/ 90508 h 235"/>
                <a:gd name="T34" fmla="*/ 105241 w 286"/>
                <a:gd name="T35" fmla="*/ 107153 h 235"/>
                <a:gd name="T36" fmla="*/ 64022 w 286"/>
                <a:gd name="T37" fmla="*/ 112355 h 235"/>
                <a:gd name="T38" fmla="*/ 60513 w 286"/>
                <a:gd name="T39" fmla="*/ 113395 h 235"/>
                <a:gd name="T40" fmla="*/ 57882 w 286"/>
                <a:gd name="T41" fmla="*/ 115996 h 235"/>
                <a:gd name="T42" fmla="*/ 55690 w 286"/>
                <a:gd name="T43" fmla="*/ 122238 h 235"/>
                <a:gd name="T44" fmla="*/ 47797 w 286"/>
                <a:gd name="T45" fmla="*/ 112875 h 235"/>
                <a:gd name="T46" fmla="*/ 41219 w 286"/>
                <a:gd name="T47" fmla="*/ 103512 h 235"/>
                <a:gd name="T48" fmla="*/ 30257 w 286"/>
                <a:gd name="T49" fmla="*/ 83226 h 235"/>
                <a:gd name="T50" fmla="*/ 24118 w 286"/>
                <a:gd name="T51" fmla="*/ 73863 h 235"/>
                <a:gd name="T52" fmla="*/ 17979 w 286"/>
                <a:gd name="T53" fmla="*/ 65020 h 235"/>
                <a:gd name="T54" fmla="*/ 9647 w 286"/>
                <a:gd name="T55" fmla="*/ 57218 h 235"/>
                <a:gd name="T56" fmla="*/ 0 w 286"/>
                <a:gd name="T57" fmla="*/ 51496 h 235"/>
                <a:gd name="T58" fmla="*/ 5701 w 286"/>
                <a:gd name="T59" fmla="*/ 50456 h 235"/>
                <a:gd name="T60" fmla="*/ 11401 w 286"/>
                <a:gd name="T61" fmla="*/ 47335 h 235"/>
                <a:gd name="T62" fmla="*/ 17102 w 286"/>
                <a:gd name="T63" fmla="*/ 43694 h 235"/>
                <a:gd name="T64" fmla="*/ 20610 w 286"/>
                <a:gd name="T65" fmla="*/ 39012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2" name="Freeform 223">
              <a:extLst>
                <a:ext uri="{FF2B5EF4-FFF2-40B4-BE49-F238E27FC236}">
                  <a16:creationId xmlns:a16="http://schemas.microsoft.com/office/drawing/2014/main" id="{A5EBA466-715C-4BD4-9C34-680E818096EE}"/>
                </a:ext>
              </a:extLst>
            </p:cNvPr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1868486" y="3322612"/>
              <a:ext cx="84137" cy="100011"/>
            </a:xfrm>
            <a:custGeom>
              <a:avLst/>
              <a:gdLst>
                <a:gd name="T0" fmla="*/ 77160 w 205"/>
                <a:gd name="T1" fmla="*/ 96870 h 191"/>
                <a:gd name="T2" fmla="*/ 71824 w 205"/>
                <a:gd name="T3" fmla="*/ 96870 h 191"/>
                <a:gd name="T4" fmla="*/ 64847 w 205"/>
                <a:gd name="T5" fmla="*/ 96870 h 191"/>
                <a:gd name="T6" fmla="*/ 59101 w 205"/>
                <a:gd name="T7" fmla="*/ 94252 h 191"/>
                <a:gd name="T8" fmla="*/ 55818 w 205"/>
                <a:gd name="T9" fmla="*/ 90587 h 191"/>
                <a:gd name="T10" fmla="*/ 52945 w 205"/>
                <a:gd name="T11" fmla="*/ 85351 h 191"/>
                <a:gd name="T12" fmla="*/ 49251 w 205"/>
                <a:gd name="T13" fmla="*/ 76973 h 191"/>
                <a:gd name="T14" fmla="*/ 45147 w 205"/>
                <a:gd name="T15" fmla="*/ 68595 h 191"/>
                <a:gd name="T16" fmla="*/ 40632 w 205"/>
                <a:gd name="T17" fmla="*/ 63358 h 191"/>
                <a:gd name="T18" fmla="*/ 38169 w 205"/>
                <a:gd name="T19" fmla="*/ 65977 h 191"/>
                <a:gd name="T20" fmla="*/ 36938 w 205"/>
                <a:gd name="T21" fmla="*/ 70689 h 191"/>
                <a:gd name="T22" fmla="*/ 34476 w 205"/>
                <a:gd name="T23" fmla="*/ 68071 h 191"/>
                <a:gd name="T24" fmla="*/ 29551 w 205"/>
                <a:gd name="T25" fmla="*/ 59169 h 191"/>
                <a:gd name="T26" fmla="*/ 22984 w 205"/>
                <a:gd name="T27" fmla="*/ 45555 h 191"/>
                <a:gd name="T28" fmla="*/ 16827 w 205"/>
                <a:gd name="T29" fmla="*/ 35083 h 191"/>
                <a:gd name="T30" fmla="*/ 12723 w 205"/>
                <a:gd name="T31" fmla="*/ 30370 h 191"/>
                <a:gd name="T32" fmla="*/ 10671 w 205"/>
                <a:gd name="T33" fmla="*/ 31417 h 191"/>
                <a:gd name="T34" fmla="*/ 11902 w 205"/>
                <a:gd name="T35" fmla="*/ 36130 h 191"/>
                <a:gd name="T36" fmla="*/ 13954 w 205"/>
                <a:gd name="T37" fmla="*/ 40843 h 191"/>
                <a:gd name="T38" fmla="*/ 16827 w 205"/>
                <a:gd name="T39" fmla="*/ 43984 h 191"/>
                <a:gd name="T40" fmla="*/ 18880 w 205"/>
                <a:gd name="T41" fmla="*/ 54980 h 191"/>
                <a:gd name="T42" fmla="*/ 5336 w 205"/>
                <a:gd name="T43" fmla="*/ 51315 h 191"/>
                <a:gd name="T44" fmla="*/ 1642 w 205"/>
                <a:gd name="T45" fmla="*/ 43984 h 191"/>
                <a:gd name="T46" fmla="*/ 0 w 205"/>
                <a:gd name="T47" fmla="*/ 31417 h 191"/>
                <a:gd name="T48" fmla="*/ 0 w 205"/>
                <a:gd name="T49" fmla="*/ 19898 h 191"/>
                <a:gd name="T50" fmla="*/ 1231 w 205"/>
                <a:gd name="T51" fmla="*/ 14661 h 191"/>
                <a:gd name="T52" fmla="*/ 3283 w 205"/>
                <a:gd name="T53" fmla="*/ 11520 h 191"/>
                <a:gd name="T54" fmla="*/ 5746 w 205"/>
                <a:gd name="T55" fmla="*/ 6807 h 191"/>
                <a:gd name="T56" fmla="*/ 8208 w 205"/>
                <a:gd name="T57" fmla="*/ 2094 h 191"/>
                <a:gd name="T58" fmla="*/ 11492 w 205"/>
                <a:gd name="T59" fmla="*/ 0 h 191"/>
                <a:gd name="T60" fmla="*/ 51713 w 205"/>
                <a:gd name="T61" fmla="*/ 3142 h 191"/>
                <a:gd name="T62" fmla="*/ 52124 w 205"/>
                <a:gd name="T63" fmla="*/ 10996 h 191"/>
                <a:gd name="T64" fmla="*/ 53355 w 205"/>
                <a:gd name="T65" fmla="*/ 19374 h 191"/>
                <a:gd name="T66" fmla="*/ 58691 w 205"/>
                <a:gd name="T67" fmla="*/ 36654 h 191"/>
                <a:gd name="T68" fmla="*/ 67720 w 205"/>
                <a:gd name="T69" fmla="*/ 53410 h 191"/>
                <a:gd name="T70" fmla="*/ 72645 w 205"/>
                <a:gd name="T71" fmla="*/ 61264 h 191"/>
                <a:gd name="T72" fmla="*/ 78801 w 205"/>
                <a:gd name="T73" fmla="*/ 68071 h 191"/>
                <a:gd name="T74" fmla="*/ 77570 w 205"/>
                <a:gd name="T75" fmla="*/ 74878 h 191"/>
                <a:gd name="T76" fmla="*/ 77570 w 205"/>
                <a:gd name="T77" fmla="*/ 81685 h 191"/>
                <a:gd name="T78" fmla="*/ 78801 w 205"/>
                <a:gd name="T79" fmla="*/ 100012 h 191"/>
                <a:gd name="T80" fmla="*/ 84137 w 205"/>
                <a:gd name="T81" fmla="*/ 96870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3" name="Freeform 224">
              <a:extLst>
                <a:ext uri="{FF2B5EF4-FFF2-40B4-BE49-F238E27FC236}">
                  <a16:creationId xmlns:a16="http://schemas.microsoft.com/office/drawing/2014/main" id="{274EABA8-7CFD-4C0C-883E-DCED91A50704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1949448" y="3376586"/>
              <a:ext cx="142875" cy="79375"/>
            </a:xfrm>
            <a:custGeom>
              <a:avLst/>
              <a:gdLst>
                <a:gd name="T0" fmla="*/ 1303 w 329"/>
                <a:gd name="T1" fmla="*/ 29894 h 154"/>
                <a:gd name="T2" fmla="*/ 0 w 329"/>
                <a:gd name="T3" fmla="*/ 21648 h 154"/>
                <a:gd name="T4" fmla="*/ 869 w 329"/>
                <a:gd name="T5" fmla="*/ 15978 h 154"/>
                <a:gd name="T6" fmla="*/ 7383 w 329"/>
                <a:gd name="T7" fmla="*/ 17009 h 154"/>
                <a:gd name="T8" fmla="*/ 15634 w 329"/>
                <a:gd name="T9" fmla="*/ 21132 h 154"/>
                <a:gd name="T10" fmla="*/ 21279 w 329"/>
                <a:gd name="T11" fmla="*/ 22163 h 154"/>
                <a:gd name="T12" fmla="*/ 29096 w 329"/>
                <a:gd name="T13" fmla="*/ 22163 h 154"/>
                <a:gd name="T14" fmla="*/ 37347 w 329"/>
                <a:gd name="T15" fmla="*/ 20101 h 154"/>
                <a:gd name="T16" fmla="*/ 47770 w 329"/>
                <a:gd name="T17" fmla="*/ 15463 h 154"/>
                <a:gd name="T18" fmla="*/ 60798 w 329"/>
                <a:gd name="T19" fmla="*/ 6700 h 154"/>
                <a:gd name="T20" fmla="*/ 70352 w 329"/>
                <a:gd name="T21" fmla="*/ 2062 h 154"/>
                <a:gd name="T22" fmla="*/ 77734 w 329"/>
                <a:gd name="T23" fmla="*/ 0 h 154"/>
                <a:gd name="T24" fmla="*/ 88157 w 329"/>
                <a:gd name="T25" fmla="*/ 0 h 154"/>
                <a:gd name="T26" fmla="*/ 97277 w 329"/>
                <a:gd name="T27" fmla="*/ 3093 h 154"/>
                <a:gd name="T28" fmla="*/ 105528 w 329"/>
                <a:gd name="T29" fmla="*/ 7731 h 154"/>
                <a:gd name="T30" fmla="*/ 112476 w 329"/>
                <a:gd name="T31" fmla="*/ 14432 h 154"/>
                <a:gd name="T32" fmla="*/ 121596 w 329"/>
                <a:gd name="T33" fmla="*/ 23709 h 154"/>
                <a:gd name="T34" fmla="*/ 131150 w 329"/>
                <a:gd name="T35" fmla="*/ 31441 h 154"/>
                <a:gd name="T36" fmla="*/ 138532 w 329"/>
                <a:gd name="T37" fmla="*/ 34533 h 154"/>
                <a:gd name="T38" fmla="*/ 135927 w 329"/>
                <a:gd name="T39" fmla="*/ 42265 h 154"/>
                <a:gd name="T40" fmla="*/ 127241 w 329"/>
                <a:gd name="T41" fmla="*/ 54635 h 154"/>
                <a:gd name="T42" fmla="*/ 120293 w 329"/>
                <a:gd name="T43" fmla="*/ 71128 h 154"/>
                <a:gd name="T44" fmla="*/ 115082 w 329"/>
                <a:gd name="T45" fmla="*/ 78860 h 154"/>
                <a:gd name="T46" fmla="*/ 109870 w 329"/>
                <a:gd name="T47" fmla="*/ 75252 h 154"/>
                <a:gd name="T48" fmla="*/ 104225 w 329"/>
                <a:gd name="T49" fmla="*/ 70097 h 154"/>
                <a:gd name="T50" fmla="*/ 99882 w 329"/>
                <a:gd name="T51" fmla="*/ 64943 h 154"/>
                <a:gd name="T52" fmla="*/ 99882 w 329"/>
                <a:gd name="T53" fmla="*/ 58758 h 154"/>
                <a:gd name="T54" fmla="*/ 102054 w 329"/>
                <a:gd name="T55" fmla="*/ 51542 h 154"/>
                <a:gd name="T56" fmla="*/ 108133 w 329"/>
                <a:gd name="T57" fmla="*/ 44326 h 154"/>
                <a:gd name="T58" fmla="*/ 101185 w 329"/>
                <a:gd name="T59" fmla="*/ 35049 h 154"/>
                <a:gd name="T60" fmla="*/ 89894 w 329"/>
                <a:gd name="T61" fmla="*/ 28348 h 154"/>
                <a:gd name="T62" fmla="*/ 84683 w 329"/>
                <a:gd name="T63" fmla="*/ 21132 h 154"/>
                <a:gd name="T64" fmla="*/ 77734 w 329"/>
                <a:gd name="T65" fmla="*/ 17524 h 154"/>
                <a:gd name="T66" fmla="*/ 70786 w 329"/>
                <a:gd name="T67" fmla="*/ 21132 h 154"/>
                <a:gd name="T68" fmla="*/ 65141 w 329"/>
                <a:gd name="T69" fmla="*/ 25771 h 154"/>
                <a:gd name="T70" fmla="*/ 60798 w 329"/>
                <a:gd name="T71" fmla="*/ 31441 h 154"/>
                <a:gd name="T72" fmla="*/ 57324 w 329"/>
                <a:gd name="T73" fmla="*/ 38141 h 154"/>
                <a:gd name="T74" fmla="*/ 55587 w 329"/>
                <a:gd name="T75" fmla="*/ 45357 h 154"/>
                <a:gd name="T76" fmla="*/ 53415 w 329"/>
                <a:gd name="T77" fmla="*/ 56181 h 154"/>
                <a:gd name="T78" fmla="*/ 52981 w 329"/>
                <a:gd name="T79" fmla="*/ 64428 h 154"/>
                <a:gd name="T80" fmla="*/ 51244 w 329"/>
                <a:gd name="T81" fmla="*/ 66489 h 154"/>
                <a:gd name="T82" fmla="*/ 46901 w 329"/>
                <a:gd name="T83" fmla="*/ 69582 h 154"/>
                <a:gd name="T84" fmla="*/ 41690 w 329"/>
                <a:gd name="T85" fmla="*/ 69582 h 154"/>
                <a:gd name="T86" fmla="*/ 36044 w 329"/>
                <a:gd name="T87" fmla="*/ 66489 h 154"/>
                <a:gd name="T88" fmla="*/ 28662 w 329"/>
                <a:gd name="T89" fmla="*/ 59789 h 154"/>
                <a:gd name="T90" fmla="*/ 20845 w 329"/>
                <a:gd name="T91" fmla="*/ 48450 h 154"/>
                <a:gd name="T92" fmla="*/ 14331 w 329"/>
                <a:gd name="T93" fmla="*/ 41234 h 154"/>
                <a:gd name="T94" fmla="*/ 9554 w 329"/>
                <a:gd name="T95" fmla="*/ 38141 h 154"/>
                <a:gd name="T96" fmla="*/ 1303 w 329"/>
                <a:gd name="T97" fmla="*/ 37626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4" name="Freeform 225">
              <a:extLst>
                <a:ext uri="{FF2B5EF4-FFF2-40B4-BE49-F238E27FC236}">
                  <a16:creationId xmlns:a16="http://schemas.microsoft.com/office/drawing/2014/main" id="{762AEE3C-187A-4AB9-A886-3529A4A8C2CF}"/>
                </a:ext>
              </a:extLst>
            </p:cNvPr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630485" y="4630701"/>
              <a:ext cx="133350" cy="155574"/>
            </a:xfrm>
            <a:custGeom>
              <a:avLst/>
              <a:gdLst>
                <a:gd name="T0" fmla="*/ 129428 w 306"/>
                <a:gd name="T1" fmla="*/ 96106 h 293"/>
                <a:gd name="T2" fmla="*/ 128992 w 306"/>
                <a:gd name="T3" fmla="*/ 98230 h 293"/>
                <a:gd name="T4" fmla="*/ 126813 w 306"/>
                <a:gd name="T5" fmla="*/ 103009 h 293"/>
                <a:gd name="T6" fmla="*/ 122891 w 306"/>
                <a:gd name="T7" fmla="*/ 105664 h 293"/>
                <a:gd name="T8" fmla="*/ 118533 w 306"/>
                <a:gd name="T9" fmla="*/ 106726 h 293"/>
                <a:gd name="T10" fmla="*/ 114611 w 306"/>
                <a:gd name="T11" fmla="*/ 109911 h 293"/>
                <a:gd name="T12" fmla="*/ 110253 w 306"/>
                <a:gd name="T13" fmla="*/ 121593 h 293"/>
                <a:gd name="T14" fmla="*/ 105460 w 306"/>
                <a:gd name="T15" fmla="*/ 134867 h 293"/>
                <a:gd name="T16" fmla="*/ 100666 w 306"/>
                <a:gd name="T17" fmla="*/ 141770 h 293"/>
                <a:gd name="T18" fmla="*/ 96308 w 306"/>
                <a:gd name="T19" fmla="*/ 144956 h 293"/>
                <a:gd name="T20" fmla="*/ 87157 w 306"/>
                <a:gd name="T21" fmla="*/ 149203 h 293"/>
                <a:gd name="T22" fmla="*/ 71469 w 306"/>
                <a:gd name="T23" fmla="*/ 153982 h 293"/>
                <a:gd name="T24" fmla="*/ 60574 w 306"/>
                <a:gd name="T25" fmla="*/ 155575 h 293"/>
                <a:gd name="T26" fmla="*/ 53601 w 306"/>
                <a:gd name="T27" fmla="*/ 155575 h 293"/>
                <a:gd name="T28" fmla="*/ 46193 w 306"/>
                <a:gd name="T29" fmla="*/ 153982 h 293"/>
                <a:gd name="T30" fmla="*/ 40092 w 306"/>
                <a:gd name="T31" fmla="*/ 151858 h 293"/>
                <a:gd name="T32" fmla="*/ 34863 w 306"/>
                <a:gd name="T33" fmla="*/ 147610 h 293"/>
                <a:gd name="T34" fmla="*/ 30941 w 306"/>
                <a:gd name="T35" fmla="*/ 142301 h 293"/>
                <a:gd name="T36" fmla="*/ 436 w 306"/>
                <a:gd name="T37" fmla="*/ 125310 h 293"/>
                <a:gd name="T38" fmla="*/ 0 w 306"/>
                <a:gd name="T39" fmla="*/ 46726 h 293"/>
                <a:gd name="T40" fmla="*/ 436 w 306"/>
                <a:gd name="T41" fmla="*/ 26018 h 293"/>
                <a:gd name="T42" fmla="*/ 1743 w 306"/>
                <a:gd name="T43" fmla="*/ 18584 h 293"/>
                <a:gd name="T44" fmla="*/ 4794 w 306"/>
                <a:gd name="T45" fmla="*/ 11150 h 293"/>
                <a:gd name="T46" fmla="*/ 8716 w 306"/>
                <a:gd name="T47" fmla="*/ 4248 h 293"/>
                <a:gd name="T48" fmla="*/ 17867 w 306"/>
                <a:gd name="T49" fmla="*/ 1062 h 293"/>
                <a:gd name="T50" fmla="*/ 23097 w 306"/>
                <a:gd name="T51" fmla="*/ 0 h 293"/>
                <a:gd name="T52" fmla="*/ 31376 w 306"/>
                <a:gd name="T53" fmla="*/ 3186 h 293"/>
                <a:gd name="T54" fmla="*/ 34863 w 306"/>
                <a:gd name="T55" fmla="*/ 3717 h 293"/>
                <a:gd name="T56" fmla="*/ 36606 w 306"/>
                <a:gd name="T57" fmla="*/ 2124 h 293"/>
                <a:gd name="T58" fmla="*/ 37913 w 306"/>
                <a:gd name="T59" fmla="*/ 2655 h 293"/>
                <a:gd name="T60" fmla="*/ 39221 w 306"/>
                <a:gd name="T61" fmla="*/ 5841 h 293"/>
                <a:gd name="T62" fmla="*/ 43143 w 306"/>
                <a:gd name="T63" fmla="*/ 10088 h 293"/>
                <a:gd name="T64" fmla="*/ 52730 w 306"/>
                <a:gd name="T65" fmla="*/ 16460 h 293"/>
                <a:gd name="T66" fmla="*/ 64496 w 306"/>
                <a:gd name="T67" fmla="*/ 21770 h 293"/>
                <a:gd name="T68" fmla="*/ 79313 w 306"/>
                <a:gd name="T69" fmla="*/ 31327 h 293"/>
                <a:gd name="T70" fmla="*/ 91515 w 306"/>
                <a:gd name="T71" fmla="*/ 41947 h 293"/>
                <a:gd name="T72" fmla="*/ 105024 w 306"/>
                <a:gd name="T73" fmla="*/ 54159 h 293"/>
                <a:gd name="T74" fmla="*/ 113740 w 306"/>
                <a:gd name="T75" fmla="*/ 62124 h 293"/>
                <a:gd name="T76" fmla="*/ 115919 w 306"/>
                <a:gd name="T77" fmla="*/ 65841 h 293"/>
                <a:gd name="T78" fmla="*/ 122020 w 306"/>
                <a:gd name="T79" fmla="*/ 71681 h 293"/>
                <a:gd name="T80" fmla="*/ 130300 w 306"/>
                <a:gd name="T81" fmla="*/ 80177 h 293"/>
                <a:gd name="T82" fmla="*/ 133350 w 306"/>
                <a:gd name="T83" fmla="*/ 85487 h 293"/>
                <a:gd name="T84" fmla="*/ 132478 w 306"/>
                <a:gd name="T85" fmla="*/ 88141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6" name="Freeform 227">
              <a:extLst>
                <a:ext uri="{FF2B5EF4-FFF2-40B4-BE49-F238E27FC236}">
                  <a16:creationId xmlns:a16="http://schemas.microsoft.com/office/drawing/2014/main" id="{5DD0DF6B-BD5D-4EA2-878D-C8EE4D843385}"/>
                </a:ext>
              </a:extLst>
            </p:cNvPr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4103683" y="1477952"/>
              <a:ext cx="449262" cy="361947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7" name="Freeform 228">
              <a:extLst>
                <a:ext uri="{FF2B5EF4-FFF2-40B4-BE49-F238E27FC236}">
                  <a16:creationId xmlns:a16="http://schemas.microsoft.com/office/drawing/2014/main" id="{85F33AAC-C2B8-496F-A230-D92937169D19}"/>
                </a:ext>
              </a:extLst>
            </p:cNvPr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4443408" y="2319320"/>
              <a:ext cx="49212" cy="90486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8" name="Freeform 229">
              <a:extLst>
                <a:ext uri="{FF2B5EF4-FFF2-40B4-BE49-F238E27FC236}">
                  <a16:creationId xmlns:a16="http://schemas.microsoft.com/office/drawing/2014/main" id="{E7F66B10-F3A2-4A9A-8845-B9DD59517323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4151308" y="2158983"/>
              <a:ext cx="84137" cy="58738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9" name="Freeform 230">
              <a:extLst>
                <a:ext uri="{FF2B5EF4-FFF2-40B4-BE49-F238E27FC236}">
                  <a16:creationId xmlns:a16="http://schemas.microsoft.com/office/drawing/2014/main" id="{C73EA114-7745-4212-B4A6-ACB2404FE98F}"/>
                </a:ext>
              </a:extLst>
            </p:cNvPr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4089395" y="1978009"/>
              <a:ext cx="84138" cy="73025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0078D4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0" name="Freeform 231">
              <a:extLst>
                <a:ext uri="{FF2B5EF4-FFF2-40B4-BE49-F238E27FC236}">
                  <a16:creationId xmlns:a16="http://schemas.microsoft.com/office/drawing/2014/main" id="{54DD6E05-36EE-4261-ABCF-C59ECD073BF3}"/>
                </a:ext>
              </a:extLst>
            </p:cNvPr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4070345" y="2041509"/>
              <a:ext cx="84138" cy="57150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1" name="Freeform 232">
              <a:extLst>
                <a:ext uri="{FF2B5EF4-FFF2-40B4-BE49-F238E27FC236}">
                  <a16:creationId xmlns:a16="http://schemas.microsoft.com/office/drawing/2014/main" id="{03E81FE7-37E1-4A68-B770-B477BF29E73A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4830757" y="2595543"/>
              <a:ext cx="33337" cy="131761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2" name="Freeform 233">
              <a:extLst>
                <a:ext uri="{FF2B5EF4-FFF2-40B4-BE49-F238E27FC236}">
                  <a16:creationId xmlns:a16="http://schemas.microsoft.com/office/drawing/2014/main" id="{732F39D7-DC30-4FC3-A8BE-3BF8F2BF5739}"/>
                </a:ext>
              </a:extLst>
            </p:cNvPr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4779957" y="2647929"/>
              <a:ext cx="69850" cy="130174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3" name="Freeform 234">
              <a:extLst>
                <a:ext uri="{FF2B5EF4-FFF2-40B4-BE49-F238E27FC236}">
                  <a16:creationId xmlns:a16="http://schemas.microsoft.com/office/drawing/2014/main" id="{CB6C6B25-53D6-4B4F-962D-434B230DF64B}"/>
                </a:ext>
              </a:extLst>
            </p:cNvPr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3781420" y="1901810"/>
              <a:ext cx="96838" cy="144462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FEA34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4" name="Freeform 235">
              <a:extLst>
                <a:ext uri="{FF2B5EF4-FFF2-40B4-BE49-F238E27FC236}">
                  <a16:creationId xmlns:a16="http://schemas.microsoft.com/office/drawing/2014/main" id="{EE26E379-30B9-4458-AD4C-A6CC8ABCE1D0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3594096" y="2813028"/>
              <a:ext cx="306387" cy="390522"/>
            </a:xfrm>
            <a:custGeom>
              <a:avLst/>
              <a:gdLst>
                <a:gd name="T0" fmla="*/ 124140 w 232"/>
                <a:gd name="T1" fmla="*/ 387376 h 248"/>
                <a:gd name="T2" fmla="*/ 126781 w 232"/>
                <a:gd name="T3" fmla="*/ 382652 h 248"/>
                <a:gd name="T4" fmla="*/ 129423 w 232"/>
                <a:gd name="T5" fmla="*/ 374778 h 248"/>
                <a:gd name="T6" fmla="*/ 132064 w 232"/>
                <a:gd name="T7" fmla="*/ 365330 h 248"/>
                <a:gd name="T8" fmla="*/ 136026 w 232"/>
                <a:gd name="T9" fmla="*/ 363755 h 248"/>
                <a:gd name="T10" fmla="*/ 137346 w 232"/>
                <a:gd name="T11" fmla="*/ 374778 h 248"/>
                <a:gd name="T12" fmla="*/ 139988 w 232"/>
                <a:gd name="T13" fmla="*/ 379502 h 248"/>
                <a:gd name="T14" fmla="*/ 142629 w 232"/>
                <a:gd name="T15" fmla="*/ 381077 h 248"/>
                <a:gd name="T16" fmla="*/ 145270 w 232"/>
                <a:gd name="T17" fmla="*/ 381077 h 248"/>
                <a:gd name="T18" fmla="*/ 149232 w 232"/>
                <a:gd name="T19" fmla="*/ 379502 h 248"/>
                <a:gd name="T20" fmla="*/ 153194 w 232"/>
                <a:gd name="T21" fmla="*/ 374778 h 248"/>
                <a:gd name="T22" fmla="*/ 285258 w 232"/>
                <a:gd name="T23" fmla="*/ 368479 h 248"/>
                <a:gd name="T24" fmla="*/ 281296 w 232"/>
                <a:gd name="T25" fmla="*/ 321238 h 248"/>
                <a:gd name="T26" fmla="*/ 273372 w 232"/>
                <a:gd name="T27" fmla="*/ 217308 h 248"/>
                <a:gd name="T28" fmla="*/ 265448 w 232"/>
                <a:gd name="T29" fmla="*/ 114953 h 248"/>
                <a:gd name="T30" fmla="*/ 261486 w 232"/>
                <a:gd name="T31" fmla="*/ 67712 h 248"/>
                <a:gd name="T32" fmla="*/ 283937 w 232"/>
                <a:gd name="T33" fmla="*/ 69287 h 248"/>
                <a:gd name="T34" fmla="*/ 306388 w 232"/>
                <a:gd name="T35" fmla="*/ 72436 h 248"/>
                <a:gd name="T36" fmla="*/ 212623 w 232"/>
                <a:gd name="T37" fmla="*/ 3149 h 248"/>
                <a:gd name="T38" fmla="*/ 211302 w 232"/>
                <a:gd name="T39" fmla="*/ 12598 h 248"/>
                <a:gd name="T40" fmla="*/ 212623 w 232"/>
                <a:gd name="T41" fmla="*/ 28345 h 248"/>
                <a:gd name="T42" fmla="*/ 129423 w 232"/>
                <a:gd name="T43" fmla="*/ 37793 h 248"/>
                <a:gd name="T44" fmla="*/ 129423 w 232"/>
                <a:gd name="T45" fmla="*/ 116528 h 248"/>
                <a:gd name="T46" fmla="*/ 125461 w 232"/>
                <a:gd name="T47" fmla="*/ 119677 h 248"/>
                <a:gd name="T48" fmla="*/ 114896 w 232"/>
                <a:gd name="T49" fmla="*/ 122826 h 248"/>
                <a:gd name="T50" fmla="*/ 95086 w 232"/>
                <a:gd name="T51" fmla="*/ 129125 h 248"/>
                <a:gd name="T52" fmla="*/ 97727 w 232"/>
                <a:gd name="T53" fmla="*/ 138573 h 248"/>
                <a:gd name="T54" fmla="*/ 103010 w 232"/>
                <a:gd name="T55" fmla="*/ 151171 h 248"/>
                <a:gd name="T56" fmla="*/ 105651 w 232"/>
                <a:gd name="T57" fmla="*/ 165343 h 248"/>
                <a:gd name="T58" fmla="*/ 106972 w 232"/>
                <a:gd name="T59" fmla="*/ 181090 h 248"/>
                <a:gd name="T60" fmla="*/ 11886 w 232"/>
                <a:gd name="T61" fmla="*/ 187389 h 248"/>
                <a:gd name="T62" fmla="*/ 6603 w 232"/>
                <a:gd name="T63" fmla="*/ 204711 h 248"/>
                <a:gd name="T64" fmla="*/ 7924 w 232"/>
                <a:gd name="T65" fmla="*/ 225182 h 248"/>
                <a:gd name="T66" fmla="*/ 10565 w 232"/>
                <a:gd name="T67" fmla="*/ 244078 h 248"/>
                <a:gd name="T68" fmla="*/ 11886 w 232"/>
                <a:gd name="T69" fmla="*/ 264549 h 248"/>
                <a:gd name="T70" fmla="*/ 11886 w 232"/>
                <a:gd name="T71" fmla="*/ 286595 h 248"/>
                <a:gd name="T72" fmla="*/ 10565 w 232"/>
                <a:gd name="T73" fmla="*/ 305491 h 248"/>
                <a:gd name="T74" fmla="*/ 7924 w 232"/>
                <a:gd name="T75" fmla="*/ 324388 h 248"/>
                <a:gd name="T76" fmla="*/ 2641 w 232"/>
                <a:gd name="T77" fmla="*/ 340135 h 248"/>
                <a:gd name="T78" fmla="*/ 2641 w 232"/>
                <a:gd name="T79" fmla="*/ 344859 h 248"/>
                <a:gd name="T80" fmla="*/ 3962 w 232"/>
                <a:gd name="T81" fmla="*/ 346433 h 248"/>
                <a:gd name="T82" fmla="*/ 3962 w 232"/>
                <a:gd name="T83" fmla="*/ 349583 h 248"/>
                <a:gd name="T84" fmla="*/ 9244 w 232"/>
                <a:gd name="T85" fmla="*/ 341709 h 248"/>
                <a:gd name="T86" fmla="*/ 23771 w 232"/>
                <a:gd name="T87" fmla="*/ 335411 h 248"/>
                <a:gd name="T88" fmla="*/ 47543 w 232"/>
                <a:gd name="T89" fmla="*/ 325962 h 248"/>
                <a:gd name="T90" fmla="*/ 59429 w 232"/>
                <a:gd name="T91" fmla="*/ 327537 h 248"/>
                <a:gd name="T92" fmla="*/ 67353 w 232"/>
                <a:gd name="T93" fmla="*/ 333836 h 248"/>
                <a:gd name="T94" fmla="*/ 73956 w 232"/>
                <a:gd name="T95" fmla="*/ 336985 h 248"/>
                <a:gd name="T96" fmla="*/ 81880 w 232"/>
                <a:gd name="T97" fmla="*/ 338560 h 248"/>
                <a:gd name="T98" fmla="*/ 87162 w 232"/>
                <a:gd name="T99" fmla="*/ 344859 h 248"/>
                <a:gd name="T100" fmla="*/ 88483 w 232"/>
                <a:gd name="T101" fmla="*/ 354307 h 248"/>
                <a:gd name="T102" fmla="*/ 92445 w 232"/>
                <a:gd name="T103" fmla="*/ 363755 h 248"/>
                <a:gd name="T104" fmla="*/ 97727 w 232"/>
                <a:gd name="T105" fmla="*/ 370054 h 248"/>
                <a:gd name="T106" fmla="*/ 112254 w 232"/>
                <a:gd name="T107" fmla="*/ 382652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5" name="Freeform 236">
              <a:extLst>
                <a:ext uri="{FF2B5EF4-FFF2-40B4-BE49-F238E27FC236}">
                  <a16:creationId xmlns:a16="http://schemas.microsoft.com/office/drawing/2014/main" id="{6E070C3C-CB03-44DC-B3A6-BA49D188C242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3709984" y="2873352"/>
              <a:ext cx="414336" cy="468309"/>
            </a:xfrm>
            <a:custGeom>
              <a:avLst/>
              <a:gdLst>
                <a:gd name="T0" fmla="*/ 39336 w 948"/>
                <a:gd name="T1" fmla="*/ 413248 h 893"/>
                <a:gd name="T2" fmla="*/ 52885 w 948"/>
                <a:gd name="T3" fmla="*/ 413248 h 893"/>
                <a:gd name="T4" fmla="*/ 63811 w 948"/>
                <a:gd name="T5" fmla="*/ 410626 h 893"/>
                <a:gd name="T6" fmla="*/ 81294 w 948"/>
                <a:gd name="T7" fmla="*/ 406955 h 893"/>
                <a:gd name="T8" fmla="*/ 86102 w 948"/>
                <a:gd name="T9" fmla="*/ 426359 h 893"/>
                <a:gd name="T10" fmla="*/ 92658 w 948"/>
                <a:gd name="T11" fmla="*/ 437896 h 893"/>
                <a:gd name="T12" fmla="*/ 98777 w 948"/>
                <a:gd name="T13" fmla="*/ 443665 h 893"/>
                <a:gd name="T14" fmla="*/ 107518 w 948"/>
                <a:gd name="T15" fmla="*/ 445763 h 893"/>
                <a:gd name="T16" fmla="*/ 107518 w 948"/>
                <a:gd name="T17" fmla="*/ 462020 h 893"/>
                <a:gd name="T18" fmla="*/ 142483 w 948"/>
                <a:gd name="T19" fmla="*/ 466215 h 893"/>
                <a:gd name="T20" fmla="*/ 145979 w 948"/>
                <a:gd name="T21" fmla="*/ 459398 h 893"/>
                <a:gd name="T22" fmla="*/ 151661 w 948"/>
                <a:gd name="T23" fmla="*/ 456776 h 893"/>
                <a:gd name="T24" fmla="*/ 152098 w 948"/>
                <a:gd name="T25" fmla="*/ 465691 h 893"/>
                <a:gd name="T26" fmla="*/ 156469 w 948"/>
                <a:gd name="T27" fmla="*/ 468313 h 893"/>
                <a:gd name="T28" fmla="*/ 168270 w 948"/>
                <a:gd name="T29" fmla="*/ 468313 h 893"/>
                <a:gd name="T30" fmla="*/ 175263 w 948"/>
                <a:gd name="T31" fmla="*/ 447860 h 893"/>
                <a:gd name="T32" fmla="*/ 180071 w 948"/>
                <a:gd name="T33" fmla="*/ 413248 h 893"/>
                <a:gd name="T34" fmla="*/ 185315 w 948"/>
                <a:gd name="T35" fmla="*/ 404333 h 893"/>
                <a:gd name="T36" fmla="*/ 197553 w 948"/>
                <a:gd name="T37" fmla="*/ 395418 h 893"/>
                <a:gd name="T38" fmla="*/ 211976 w 948"/>
                <a:gd name="T39" fmla="*/ 389649 h 893"/>
                <a:gd name="T40" fmla="*/ 218969 w 948"/>
                <a:gd name="T41" fmla="*/ 382307 h 893"/>
                <a:gd name="T42" fmla="*/ 225088 w 948"/>
                <a:gd name="T43" fmla="*/ 368148 h 893"/>
                <a:gd name="T44" fmla="*/ 233829 w 948"/>
                <a:gd name="T45" fmla="*/ 350317 h 893"/>
                <a:gd name="T46" fmla="*/ 239074 w 948"/>
                <a:gd name="T47" fmla="*/ 346122 h 893"/>
                <a:gd name="T48" fmla="*/ 250001 w 948"/>
                <a:gd name="T49" fmla="*/ 345597 h 893"/>
                <a:gd name="T50" fmla="*/ 264424 w 948"/>
                <a:gd name="T51" fmla="*/ 337731 h 893"/>
                <a:gd name="T52" fmla="*/ 279284 w 948"/>
                <a:gd name="T53" fmla="*/ 327242 h 893"/>
                <a:gd name="T54" fmla="*/ 294581 w 948"/>
                <a:gd name="T55" fmla="*/ 321474 h 893"/>
                <a:gd name="T56" fmla="*/ 316435 w 948"/>
                <a:gd name="T57" fmla="*/ 319900 h 893"/>
                <a:gd name="T58" fmla="*/ 344407 w 948"/>
                <a:gd name="T59" fmla="*/ 315705 h 893"/>
                <a:gd name="T60" fmla="*/ 356207 w 948"/>
                <a:gd name="T61" fmla="*/ 311509 h 893"/>
                <a:gd name="T62" fmla="*/ 377187 w 948"/>
                <a:gd name="T63" fmla="*/ 309412 h 893"/>
                <a:gd name="T64" fmla="*/ 393795 w 948"/>
                <a:gd name="T65" fmla="*/ 305741 h 893"/>
                <a:gd name="T66" fmla="*/ 399040 w 948"/>
                <a:gd name="T67" fmla="*/ 301021 h 893"/>
                <a:gd name="T68" fmla="*/ 406907 w 948"/>
                <a:gd name="T69" fmla="*/ 285288 h 893"/>
                <a:gd name="T70" fmla="*/ 412152 w 948"/>
                <a:gd name="T71" fmla="*/ 264311 h 893"/>
                <a:gd name="T72" fmla="*/ 414337 w 948"/>
                <a:gd name="T73" fmla="*/ 241761 h 893"/>
                <a:gd name="T74" fmla="*/ 413900 w 948"/>
                <a:gd name="T75" fmla="*/ 220784 h 893"/>
                <a:gd name="T76" fmla="*/ 412152 w 948"/>
                <a:gd name="T77" fmla="*/ 190367 h 893"/>
                <a:gd name="T78" fmla="*/ 402973 w 948"/>
                <a:gd name="T79" fmla="*/ 186696 h 893"/>
                <a:gd name="T80" fmla="*/ 376749 w 948"/>
                <a:gd name="T81" fmla="*/ 168865 h 893"/>
                <a:gd name="T82" fmla="*/ 347029 w 948"/>
                <a:gd name="T83" fmla="*/ 145791 h 893"/>
                <a:gd name="T84" fmla="*/ 322553 w 948"/>
                <a:gd name="T85" fmla="*/ 113276 h 893"/>
                <a:gd name="T86" fmla="*/ 180071 w 948"/>
                <a:gd name="T87" fmla="*/ 6293 h 893"/>
                <a:gd name="T88" fmla="*/ 152098 w 948"/>
                <a:gd name="T89" fmla="*/ 53492 h 893"/>
                <a:gd name="T90" fmla="*/ 165647 w 948"/>
                <a:gd name="T91" fmla="*/ 212393 h 893"/>
                <a:gd name="T92" fmla="*/ 171329 w 948"/>
                <a:gd name="T93" fmla="*/ 296301 h 893"/>
                <a:gd name="T94" fmla="*/ 40647 w 948"/>
                <a:gd name="T95" fmla="*/ 309936 h 893"/>
                <a:gd name="T96" fmla="*/ 34528 w 948"/>
                <a:gd name="T97" fmla="*/ 317803 h 893"/>
                <a:gd name="T98" fmla="*/ 29283 w 948"/>
                <a:gd name="T99" fmla="*/ 319900 h 893"/>
                <a:gd name="T100" fmla="*/ 24913 w 948"/>
                <a:gd name="T101" fmla="*/ 318327 h 893"/>
                <a:gd name="T102" fmla="*/ 21416 w 948"/>
                <a:gd name="T103" fmla="*/ 309936 h 893"/>
                <a:gd name="T104" fmla="*/ 17483 w 948"/>
                <a:gd name="T105" fmla="*/ 304692 h 893"/>
                <a:gd name="T106" fmla="*/ 12675 w 948"/>
                <a:gd name="T107" fmla="*/ 317278 h 893"/>
                <a:gd name="T108" fmla="*/ 6556 w 948"/>
                <a:gd name="T109" fmla="*/ 326718 h 893"/>
                <a:gd name="T110" fmla="*/ 29283 w 948"/>
                <a:gd name="T111" fmla="*/ 384405 h 893"/>
                <a:gd name="T112" fmla="*/ 26661 w 948"/>
                <a:gd name="T113" fmla="*/ 392271 h 893"/>
                <a:gd name="T114" fmla="*/ 27098 w 948"/>
                <a:gd name="T115" fmla="*/ 398564 h 893"/>
                <a:gd name="T116" fmla="*/ 23601 w 948"/>
                <a:gd name="T117" fmla="*/ 413248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6" name="Freeform 237">
              <a:extLst>
                <a:ext uri="{FF2B5EF4-FFF2-40B4-BE49-F238E27FC236}">
                  <a16:creationId xmlns:a16="http://schemas.microsoft.com/office/drawing/2014/main" id="{05C64E2E-974E-4AC1-9DE6-1A56C7BA8E03}"/>
                </a:ext>
              </a:extLst>
            </p:cNvPr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3808409" y="2479656"/>
              <a:ext cx="493712" cy="579434"/>
            </a:xfrm>
            <a:custGeom>
              <a:avLst/>
              <a:gdLst>
                <a:gd name="T0" fmla="*/ 315023 w 373"/>
                <a:gd name="T1" fmla="*/ 574740 h 370"/>
                <a:gd name="T2" fmla="*/ 322964 w 373"/>
                <a:gd name="T3" fmla="*/ 571608 h 370"/>
                <a:gd name="T4" fmla="*/ 337524 w 373"/>
                <a:gd name="T5" fmla="*/ 576306 h 370"/>
                <a:gd name="T6" fmla="*/ 492388 w 373"/>
                <a:gd name="T7" fmla="*/ 433795 h 370"/>
                <a:gd name="T8" fmla="*/ 488418 w 373"/>
                <a:gd name="T9" fmla="*/ 422833 h 370"/>
                <a:gd name="T10" fmla="*/ 477829 w 373"/>
                <a:gd name="T11" fmla="*/ 413437 h 370"/>
                <a:gd name="T12" fmla="*/ 459298 w 373"/>
                <a:gd name="T13" fmla="*/ 405607 h 370"/>
                <a:gd name="T14" fmla="*/ 448709 w 373"/>
                <a:gd name="T15" fmla="*/ 397776 h 370"/>
                <a:gd name="T16" fmla="*/ 444738 w 373"/>
                <a:gd name="T17" fmla="*/ 386814 h 370"/>
                <a:gd name="T18" fmla="*/ 446062 w 373"/>
                <a:gd name="T19" fmla="*/ 357059 h 370"/>
                <a:gd name="T20" fmla="*/ 446062 w 373"/>
                <a:gd name="T21" fmla="*/ 306946 h 370"/>
                <a:gd name="T22" fmla="*/ 442091 w 373"/>
                <a:gd name="T23" fmla="*/ 263096 h 370"/>
                <a:gd name="T24" fmla="*/ 435473 w 373"/>
                <a:gd name="T25" fmla="*/ 242738 h 370"/>
                <a:gd name="T26" fmla="*/ 427531 w 373"/>
                <a:gd name="T27" fmla="*/ 222379 h 370"/>
                <a:gd name="T28" fmla="*/ 416942 w 373"/>
                <a:gd name="T29" fmla="*/ 170699 h 370"/>
                <a:gd name="T30" fmla="*/ 405029 w 373"/>
                <a:gd name="T31" fmla="*/ 140944 h 370"/>
                <a:gd name="T32" fmla="*/ 393117 w 373"/>
                <a:gd name="T33" fmla="*/ 122152 h 370"/>
                <a:gd name="T34" fmla="*/ 397087 w 373"/>
                <a:gd name="T35" fmla="*/ 98661 h 370"/>
                <a:gd name="T36" fmla="*/ 398411 w 373"/>
                <a:gd name="T37" fmla="*/ 67340 h 370"/>
                <a:gd name="T38" fmla="*/ 399735 w 373"/>
                <a:gd name="T39" fmla="*/ 36019 h 370"/>
                <a:gd name="T40" fmla="*/ 410324 w 373"/>
                <a:gd name="T41" fmla="*/ 10962 h 370"/>
                <a:gd name="T42" fmla="*/ 399735 w 373"/>
                <a:gd name="T43" fmla="*/ 9396 h 370"/>
                <a:gd name="T44" fmla="*/ 367968 w 373"/>
                <a:gd name="T45" fmla="*/ 18793 h 370"/>
                <a:gd name="T46" fmla="*/ 324288 w 373"/>
                <a:gd name="T47" fmla="*/ 18793 h 370"/>
                <a:gd name="T48" fmla="*/ 272667 w 373"/>
                <a:gd name="T49" fmla="*/ 21925 h 370"/>
                <a:gd name="T50" fmla="*/ 222369 w 373"/>
                <a:gd name="T51" fmla="*/ 37585 h 370"/>
                <a:gd name="T52" fmla="*/ 191926 w 373"/>
                <a:gd name="T53" fmla="*/ 50114 h 370"/>
                <a:gd name="T54" fmla="*/ 164129 w 373"/>
                <a:gd name="T55" fmla="*/ 68906 h 370"/>
                <a:gd name="T56" fmla="*/ 162806 w 373"/>
                <a:gd name="T57" fmla="*/ 81435 h 370"/>
                <a:gd name="T58" fmla="*/ 173395 w 373"/>
                <a:gd name="T59" fmla="*/ 139378 h 370"/>
                <a:gd name="T60" fmla="*/ 177366 w 373"/>
                <a:gd name="T61" fmla="*/ 145643 h 370"/>
                <a:gd name="T62" fmla="*/ 186631 w 373"/>
                <a:gd name="T63" fmla="*/ 153473 h 370"/>
                <a:gd name="T64" fmla="*/ 187955 w 373"/>
                <a:gd name="T65" fmla="*/ 159737 h 370"/>
                <a:gd name="T66" fmla="*/ 183984 w 373"/>
                <a:gd name="T67" fmla="*/ 167567 h 370"/>
                <a:gd name="T68" fmla="*/ 169424 w 373"/>
                <a:gd name="T69" fmla="*/ 167567 h 370"/>
                <a:gd name="T70" fmla="*/ 140304 w 373"/>
                <a:gd name="T71" fmla="*/ 176963 h 370"/>
                <a:gd name="T72" fmla="*/ 125744 w 373"/>
                <a:gd name="T73" fmla="*/ 191058 h 370"/>
                <a:gd name="T74" fmla="*/ 119126 w 373"/>
                <a:gd name="T75" fmla="*/ 205152 h 370"/>
                <a:gd name="T76" fmla="*/ 108537 w 373"/>
                <a:gd name="T77" fmla="*/ 214549 h 370"/>
                <a:gd name="T78" fmla="*/ 87359 w 373"/>
                <a:gd name="T79" fmla="*/ 234907 h 370"/>
                <a:gd name="T80" fmla="*/ 67505 w 373"/>
                <a:gd name="T81" fmla="*/ 247436 h 370"/>
                <a:gd name="T82" fmla="*/ 41032 w 373"/>
                <a:gd name="T83" fmla="*/ 250568 h 370"/>
                <a:gd name="T84" fmla="*/ 26472 w 373"/>
                <a:gd name="T85" fmla="*/ 256832 h 370"/>
                <a:gd name="T86" fmla="*/ 10589 w 373"/>
                <a:gd name="T87" fmla="*/ 272492 h 370"/>
                <a:gd name="T88" fmla="*/ 0 w 373"/>
                <a:gd name="T89" fmla="*/ 313210 h 370"/>
                <a:gd name="T90" fmla="*/ 236929 w 373"/>
                <a:gd name="T91" fmla="*/ 518362 h 370"/>
                <a:gd name="T92" fmla="*/ 266049 w 373"/>
                <a:gd name="T93" fmla="*/ 551249 h 370"/>
                <a:gd name="T94" fmla="*/ 303110 w 373"/>
                <a:gd name="T95" fmla="*/ 576306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7" name="Freeform 238">
              <a:extLst>
                <a:ext uri="{FF2B5EF4-FFF2-40B4-BE49-F238E27FC236}">
                  <a16:creationId xmlns:a16="http://schemas.microsoft.com/office/drawing/2014/main" id="{9BB180F9-8626-41B1-B640-36D1CEF1D64B}"/>
                </a:ext>
              </a:extLst>
            </p:cNvPr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4244970" y="2614592"/>
              <a:ext cx="384174" cy="436558"/>
            </a:xfrm>
            <a:custGeom>
              <a:avLst/>
              <a:gdLst>
                <a:gd name="T0" fmla="*/ 15770 w 877"/>
                <a:gd name="T1" fmla="*/ 74522 h 826"/>
                <a:gd name="T2" fmla="*/ 20151 w 877"/>
                <a:gd name="T3" fmla="*/ 57609 h 826"/>
                <a:gd name="T4" fmla="*/ 20151 w 877"/>
                <a:gd name="T5" fmla="*/ 36997 h 826"/>
                <a:gd name="T6" fmla="*/ 26721 w 877"/>
                <a:gd name="T7" fmla="*/ 33826 h 826"/>
                <a:gd name="T8" fmla="*/ 38987 w 877"/>
                <a:gd name="T9" fmla="*/ 29069 h 826"/>
                <a:gd name="T10" fmla="*/ 43368 w 877"/>
                <a:gd name="T11" fmla="*/ 10571 h 826"/>
                <a:gd name="T12" fmla="*/ 73593 w 877"/>
                <a:gd name="T13" fmla="*/ 3171 h 826"/>
                <a:gd name="T14" fmla="*/ 106010 w 877"/>
                <a:gd name="T15" fmla="*/ 12685 h 826"/>
                <a:gd name="T16" fmla="*/ 119589 w 877"/>
                <a:gd name="T17" fmla="*/ 22727 h 826"/>
                <a:gd name="T18" fmla="*/ 124846 w 877"/>
                <a:gd name="T19" fmla="*/ 41225 h 826"/>
                <a:gd name="T20" fmla="*/ 129226 w 877"/>
                <a:gd name="T21" fmla="*/ 53381 h 826"/>
                <a:gd name="T22" fmla="*/ 142368 w 877"/>
                <a:gd name="T23" fmla="*/ 58138 h 826"/>
                <a:gd name="T24" fmla="*/ 159014 w 877"/>
                <a:gd name="T25" fmla="*/ 57609 h 826"/>
                <a:gd name="T26" fmla="*/ 184422 w 877"/>
                <a:gd name="T27" fmla="*/ 70294 h 826"/>
                <a:gd name="T28" fmla="*/ 209391 w 877"/>
                <a:gd name="T29" fmla="*/ 85621 h 826"/>
                <a:gd name="T30" fmla="*/ 224723 w 877"/>
                <a:gd name="T31" fmla="*/ 87735 h 826"/>
                <a:gd name="T32" fmla="*/ 235674 w 877"/>
                <a:gd name="T33" fmla="*/ 83507 h 826"/>
                <a:gd name="T34" fmla="*/ 240493 w 877"/>
                <a:gd name="T35" fmla="*/ 66594 h 826"/>
                <a:gd name="T36" fmla="*/ 238302 w 877"/>
                <a:gd name="T37" fmla="*/ 54438 h 826"/>
                <a:gd name="T38" fmla="*/ 232608 w 877"/>
                <a:gd name="T39" fmla="*/ 42811 h 826"/>
                <a:gd name="T40" fmla="*/ 236112 w 877"/>
                <a:gd name="T41" fmla="*/ 25898 h 826"/>
                <a:gd name="T42" fmla="*/ 251444 w 877"/>
                <a:gd name="T43" fmla="*/ 17970 h 826"/>
                <a:gd name="T44" fmla="*/ 270280 w 877"/>
                <a:gd name="T45" fmla="*/ 2114 h 826"/>
                <a:gd name="T46" fmla="*/ 284736 w 877"/>
                <a:gd name="T47" fmla="*/ 0 h 826"/>
                <a:gd name="T48" fmla="*/ 298316 w 877"/>
                <a:gd name="T49" fmla="*/ 3171 h 826"/>
                <a:gd name="T50" fmla="*/ 304449 w 877"/>
                <a:gd name="T51" fmla="*/ 12685 h 826"/>
                <a:gd name="T52" fmla="*/ 309267 w 877"/>
                <a:gd name="T53" fmla="*/ 26426 h 826"/>
                <a:gd name="T54" fmla="*/ 318905 w 877"/>
                <a:gd name="T55" fmla="*/ 33297 h 826"/>
                <a:gd name="T56" fmla="*/ 349569 w 877"/>
                <a:gd name="T57" fmla="*/ 37525 h 826"/>
                <a:gd name="T58" fmla="*/ 363586 w 877"/>
                <a:gd name="T59" fmla="*/ 51267 h 826"/>
                <a:gd name="T60" fmla="*/ 365339 w 877"/>
                <a:gd name="T61" fmla="*/ 61837 h 826"/>
                <a:gd name="T62" fmla="*/ 369281 w 877"/>
                <a:gd name="T63" fmla="*/ 73994 h 826"/>
                <a:gd name="T64" fmla="*/ 366215 w 877"/>
                <a:gd name="T65" fmla="*/ 84036 h 826"/>
                <a:gd name="T66" fmla="*/ 360958 w 877"/>
                <a:gd name="T67" fmla="*/ 89849 h 826"/>
                <a:gd name="T68" fmla="*/ 363148 w 877"/>
                <a:gd name="T69" fmla="*/ 109405 h 826"/>
                <a:gd name="T70" fmla="*/ 375852 w 877"/>
                <a:gd name="T71" fmla="*/ 129489 h 826"/>
                <a:gd name="T72" fmla="*/ 383737 w 877"/>
                <a:gd name="T73" fmla="*/ 363097 h 826"/>
                <a:gd name="T74" fmla="*/ 384175 w 877"/>
                <a:gd name="T75" fmla="*/ 391637 h 826"/>
                <a:gd name="T76" fmla="*/ 381109 w 877"/>
                <a:gd name="T77" fmla="*/ 409607 h 826"/>
                <a:gd name="T78" fmla="*/ 371471 w 877"/>
                <a:gd name="T79" fmla="*/ 413835 h 826"/>
                <a:gd name="T80" fmla="*/ 363586 w 877"/>
                <a:gd name="T81" fmla="*/ 424934 h 826"/>
                <a:gd name="T82" fmla="*/ 160328 w 877"/>
                <a:gd name="T83" fmla="*/ 313416 h 826"/>
                <a:gd name="T84" fmla="*/ 144996 w 877"/>
                <a:gd name="T85" fmla="*/ 320815 h 826"/>
                <a:gd name="T86" fmla="*/ 127912 w 877"/>
                <a:gd name="T87" fmla="*/ 330857 h 826"/>
                <a:gd name="T88" fmla="*/ 115209 w 877"/>
                <a:gd name="T89" fmla="*/ 331385 h 826"/>
                <a:gd name="T90" fmla="*/ 100753 w 877"/>
                <a:gd name="T91" fmla="*/ 321872 h 826"/>
                <a:gd name="T92" fmla="*/ 84545 w 877"/>
                <a:gd name="T93" fmla="*/ 309716 h 826"/>
                <a:gd name="T94" fmla="*/ 66584 w 877"/>
                <a:gd name="T95" fmla="*/ 305488 h 826"/>
                <a:gd name="T96" fmla="*/ 60452 w 877"/>
                <a:gd name="T97" fmla="*/ 304959 h 826"/>
                <a:gd name="T98" fmla="*/ 56947 w 877"/>
                <a:gd name="T99" fmla="*/ 292275 h 826"/>
                <a:gd name="T100" fmla="*/ 47748 w 877"/>
                <a:gd name="T101" fmla="*/ 282761 h 826"/>
                <a:gd name="T102" fmla="*/ 27598 w 877"/>
                <a:gd name="T103" fmla="*/ 273248 h 826"/>
                <a:gd name="T104" fmla="*/ 12266 w 877"/>
                <a:gd name="T105" fmla="*/ 263734 h 826"/>
                <a:gd name="T106" fmla="*/ 7009 w 877"/>
                <a:gd name="T107" fmla="*/ 254749 h 826"/>
                <a:gd name="T108" fmla="*/ 6133 w 877"/>
                <a:gd name="T109" fmla="*/ 232023 h 826"/>
                <a:gd name="T110" fmla="*/ 8323 w 877"/>
                <a:gd name="T111" fmla="*/ 186041 h 826"/>
                <a:gd name="T112" fmla="*/ 7447 w 877"/>
                <a:gd name="T113" fmla="*/ 136360 h 826"/>
                <a:gd name="T114" fmla="*/ 1752 w 877"/>
                <a:gd name="T115" fmla="*/ 106762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8" name="Freeform 239">
              <a:extLst>
                <a:ext uri="{FF2B5EF4-FFF2-40B4-BE49-F238E27FC236}">
                  <a16:creationId xmlns:a16="http://schemas.microsoft.com/office/drawing/2014/main" id="{7763986B-4590-44B5-B345-2F20D133F550}"/>
                </a:ext>
              </a:extLst>
            </p:cNvPr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4197345" y="2479656"/>
              <a:ext cx="93663" cy="236536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69" name="Freeform 240">
              <a:extLst>
                <a:ext uri="{FF2B5EF4-FFF2-40B4-BE49-F238E27FC236}">
                  <a16:creationId xmlns:a16="http://schemas.microsoft.com/office/drawing/2014/main" id="{82E98D79-6ED1-4254-99F9-9D627DC4E2EC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579809" y="2790803"/>
              <a:ext cx="231775" cy="215899"/>
            </a:xfrm>
            <a:custGeom>
              <a:avLst/>
              <a:gdLst>
                <a:gd name="T0" fmla="*/ 145866 w 518"/>
                <a:gd name="T1" fmla="*/ 58495 h 406"/>
                <a:gd name="T2" fmla="*/ 145866 w 518"/>
                <a:gd name="T3" fmla="*/ 137729 h 406"/>
                <a:gd name="T4" fmla="*/ 140944 w 518"/>
                <a:gd name="T5" fmla="*/ 140388 h 406"/>
                <a:gd name="T6" fmla="*/ 130206 w 518"/>
                <a:gd name="T7" fmla="*/ 144111 h 406"/>
                <a:gd name="T8" fmla="*/ 110071 w 518"/>
                <a:gd name="T9" fmla="*/ 150492 h 406"/>
                <a:gd name="T10" fmla="*/ 113203 w 518"/>
                <a:gd name="T11" fmla="*/ 160596 h 406"/>
                <a:gd name="T12" fmla="*/ 118572 w 518"/>
                <a:gd name="T13" fmla="*/ 173358 h 406"/>
                <a:gd name="T14" fmla="*/ 120362 w 518"/>
                <a:gd name="T15" fmla="*/ 187716 h 406"/>
                <a:gd name="T16" fmla="*/ 121704 w 518"/>
                <a:gd name="T17" fmla="*/ 203137 h 406"/>
                <a:gd name="T18" fmla="*/ 23267 w 518"/>
                <a:gd name="T19" fmla="*/ 209519 h 406"/>
                <a:gd name="T20" fmla="*/ 9844 w 518"/>
                <a:gd name="T21" fmla="*/ 215900 h 406"/>
                <a:gd name="T22" fmla="*/ 2237 w 518"/>
                <a:gd name="T23" fmla="*/ 214305 h 406"/>
                <a:gd name="T24" fmla="*/ 447 w 518"/>
                <a:gd name="T25" fmla="*/ 211646 h 406"/>
                <a:gd name="T26" fmla="*/ 447 w 518"/>
                <a:gd name="T27" fmla="*/ 204733 h 406"/>
                <a:gd name="T28" fmla="*/ 1790 w 518"/>
                <a:gd name="T29" fmla="*/ 197288 h 406"/>
                <a:gd name="T30" fmla="*/ 4922 w 518"/>
                <a:gd name="T31" fmla="*/ 188248 h 406"/>
                <a:gd name="T32" fmla="*/ 8949 w 518"/>
                <a:gd name="T33" fmla="*/ 181335 h 406"/>
                <a:gd name="T34" fmla="*/ 13423 w 518"/>
                <a:gd name="T35" fmla="*/ 177612 h 406"/>
                <a:gd name="T36" fmla="*/ 17003 w 518"/>
                <a:gd name="T37" fmla="*/ 173358 h 406"/>
                <a:gd name="T38" fmla="*/ 19687 w 518"/>
                <a:gd name="T39" fmla="*/ 168572 h 406"/>
                <a:gd name="T40" fmla="*/ 21925 w 518"/>
                <a:gd name="T41" fmla="*/ 155278 h 406"/>
                <a:gd name="T42" fmla="*/ 25057 w 518"/>
                <a:gd name="T43" fmla="*/ 140920 h 406"/>
                <a:gd name="T44" fmla="*/ 27741 w 518"/>
                <a:gd name="T45" fmla="*/ 136666 h 406"/>
                <a:gd name="T46" fmla="*/ 33111 w 518"/>
                <a:gd name="T47" fmla="*/ 130816 h 406"/>
                <a:gd name="T48" fmla="*/ 41165 w 518"/>
                <a:gd name="T49" fmla="*/ 126562 h 406"/>
                <a:gd name="T50" fmla="*/ 47876 w 518"/>
                <a:gd name="T51" fmla="*/ 122840 h 406"/>
                <a:gd name="T52" fmla="*/ 54588 w 518"/>
                <a:gd name="T53" fmla="*/ 115927 h 406"/>
                <a:gd name="T54" fmla="*/ 60852 w 518"/>
                <a:gd name="T55" fmla="*/ 103696 h 406"/>
                <a:gd name="T56" fmla="*/ 67116 w 518"/>
                <a:gd name="T57" fmla="*/ 82957 h 406"/>
                <a:gd name="T58" fmla="*/ 72486 w 518"/>
                <a:gd name="T59" fmla="*/ 62217 h 406"/>
                <a:gd name="T60" fmla="*/ 76960 w 518"/>
                <a:gd name="T61" fmla="*/ 49987 h 406"/>
                <a:gd name="T62" fmla="*/ 83224 w 518"/>
                <a:gd name="T63" fmla="*/ 38819 h 406"/>
                <a:gd name="T64" fmla="*/ 89936 w 518"/>
                <a:gd name="T65" fmla="*/ 32970 h 406"/>
                <a:gd name="T66" fmla="*/ 95305 w 518"/>
                <a:gd name="T67" fmla="*/ 30311 h 406"/>
                <a:gd name="T68" fmla="*/ 97990 w 518"/>
                <a:gd name="T69" fmla="*/ 23398 h 406"/>
                <a:gd name="T70" fmla="*/ 99780 w 518"/>
                <a:gd name="T71" fmla="*/ 14890 h 406"/>
                <a:gd name="T72" fmla="*/ 102017 w 518"/>
                <a:gd name="T73" fmla="*/ 8508 h 406"/>
                <a:gd name="T74" fmla="*/ 106939 w 518"/>
                <a:gd name="T75" fmla="*/ 4254 h 406"/>
                <a:gd name="T76" fmla="*/ 228643 w 518"/>
                <a:gd name="T77" fmla="*/ 0 h 406"/>
                <a:gd name="T78" fmla="*/ 230433 w 518"/>
                <a:gd name="T79" fmla="*/ 24462 h 406"/>
                <a:gd name="T80" fmla="*/ 231775 w 518"/>
                <a:gd name="T81" fmla="*/ 58495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71" name="Freeform 242">
              <a:extLst>
                <a:ext uri="{FF2B5EF4-FFF2-40B4-BE49-F238E27FC236}">
                  <a16:creationId xmlns:a16="http://schemas.microsoft.com/office/drawing/2014/main" id="{3BF9BDD4-2B2A-4AF8-9B37-E7C1A9B8E45B}"/>
                </a:ext>
              </a:extLst>
            </p:cNvPr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4340219" y="1862124"/>
              <a:ext cx="14288" cy="57150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72" name="Freeform 243">
              <a:extLst>
                <a:ext uri="{FF2B5EF4-FFF2-40B4-BE49-F238E27FC236}">
                  <a16:creationId xmlns:a16="http://schemas.microsoft.com/office/drawing/2014/main" id="{598414F5-8B0D-4DDD-B07B-E966CE1DEAA8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4227508" y="1525576"/>
              <a:ext cx="234950" cy="395284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FEA34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73" name="Freeform 244">
              <a:extLst>
                <a:ext uri="{FF2B5EF4-FFF2-40B4-BE49-F238E27FC236}">
                  <a16:creationId xmlns:a16="http://schemas.microsoft.com/office/drawing/2014/main" id="{3A62D8DF-760E-4DAA-9A34-75C60887CD0A}"/>
                </a:ext>
              </a:extLst>
            </p:cNvPr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4365620" y="1839899"/>
              <a:ext cx="26988" cy="57150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74" name="Freeform 245">
              <a:extLst>
                <a:ext uri="{FF2B5EF4-FFF2-40B4-BE49-F238E27FC236}">
                  <a16:creationId xmlns:a16="http://schemas.microsoft.com/office/drawing/2014/main" id="{FC55B738-DB99-4A50-B877-8A2CE07961D6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3809995" y="2001822"/>
              <a:ext cx="28575" cy="57150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FEA34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75" name="Freeform 246">
              <a:extLst>
                <a:ext uri="{FF2B5EF4-FFF2-40B4-BE49-F238E27FC236}">
                  <a16:creationId xmlns:a16="http://schemas.microsoft.com/office/drawing/2014/main" id="{974AFF2D-3EB4-4DDD-B2A2-1054486CAA27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4762494" y="2530455"/>
              <a:ext cx="50800" cy="57150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76" name="Freeform 247">
              <a:extLst>
                <a:ext uri="{FF2B5EF4-FFF2-40B4-BE49-F238E27FC236}">
                  <a16:creationId xmlns:a16="http://schemas.microsoft.com/office/drawing/2014/main" id="{612010F4-AE3D-4884-9F36-F3E6EA10AA1E}"/>
                </a:ext>
              </a:extLst>
            </p:cNvPr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4370383" y="3322612"/>
              <a:ext cx="325436" cy="244473"/>
            </a:xfrm>
            <a:custGeom>
              <a:avLst/>
              <a:gdLst>
                <a:gd name="T0" fmla="*/ 42752 w 746"/>
                <a:gd name="T1" fmla="*/ 235613 h 469"/>
                <a:gd name="T2" fmla="*/ 23557 w 746"/>
                <a:gd name="T3" fmla="*/ 229358 h 469"/>
                <a:gd name="T4" fmla="*/ 9161 w 746"/>
                <a:gd name="T5" fmla="*/ 223624 h 469"/>
                <a:gd name="T6" fmla="*/ 2181 w 746"/>
                <a:gd name="T7" fmla="*/ 215284 h 469"/>
                <a:gd name="T8" fmla="*/ 0 w 746"/>
                <a:gd name="T9" fmla="*/ 189221 h 469"/>
                <a:gd name="T10" fmla="*/ 2181 w 746"/>
                <a:gd name="T11" fmla="*/ 161072 h 469"/>
                <a:gd name="T12" fmla="*/ 10034 w 746"/>
                <a:gd name="T13" fmla="*/ 142306 h 469"/>
                <a:gd name="T14" fmla="*/ 24430 w 746"/>
                <a:gd name="T15" fmla="*/ 118849 h 469"/>
                <a:gd name="T16" fmla="*/ 52785 w 746"/>
                <a:gd name="T17" fmla="*/ 106339 h 469"/>
                <a:gd name="T18" fmla="*/ 72416 w 746"/>
                <a:gd name="T19" fmla="*/ 97999 h 469"/>
                <a:gd name="T20" fmla="*/ 102517 w 746"/>
                <a:gd name="T21" fmla="*/ 90179 h 469"/>
                <a:gd name="T22" fmla="*/ 114296 w 746"/>
                <a:gd name="T23" fmla="*/ 79754 h 469"/>
                <a:gd name="T24" fmla="*/ 116477 w 746"/>
                <a:gd name="T25" fmla="*/ 70893 h 469"/>
                <a:gd name="T26" fmla="*/ 127383 w 746"/>
                <a:gd name="T27" fmla="*/ 62552 h 469"/>
                <a:gd name="T28" fmla="*/ 144833 w 746"/>
                <a:gd name="T29" fmla="*/ 59946 h 469"/>
                <a:gd name="T30" fmla="*/ 156611 w 746"/>
                <a:gd name="T31" fmla="*/ 52648 h 469"/>
                <a:gd name="T32" fmla="*/ 169698 w 746"/>
                <a:gd name="T33" fmla="*/ 34925 h 469"/>
                <a:gd name="T34" fmla="*/ 185403 w 746"/>
                <a:gd name="T35" fmla="*/ 11468 h 469"/>
                <a:gd name="T36" fmla="*/ 196309 w 746"/>
                <a:gd name="T37" fmla="*/ 3128 h 469"/>
                <a:gd name="T38" fmla="*/ 212014 w 746"/>
                <a:gd name="T39" fmla="*/ 0 h 469"/>
                <a:gd name="T40" fmla="*/ 221175 w 746"/>
                <a:gd name="T41" fmla="*/ 15117 h 469"/>
                <a:gd name="T42" fmla="*/ 232081 w 746"/>
                <a:gd name="T43" fmla="*/ 27627 h 469"/>
                <a:gd name="T44" fmla="*/ 241242 w 746"/>
                <a:gd name="T45" fmla="*/ 55776 h 469"/>
                <a:gd name="T46" fmla="*/ 252584 w 746"/>
                <a:gd name="T47" fmla="*/ 82882 h 469"/>
                <a:gd name="T48" fmla="*/ 267417 w 746"/>
                <a:gd name="T49" fmla="*/ 89658 h 469"/>
                <a:gd name="T50" fmla="*/ 273960 w 746"/>
                <a:gd name="T51" fmla="*/ 100605 h 469"/>
                <a:gd name="T52" fmla="*/ 283558 w 746"/>
                <a:gd name="T53" fmla="*/ 121456 h 469"/>
                <a:gd name="T54" fmla="*/ 306242 w 746"/>
                <a:gd name="T55" fmla="*/ 145434 h 469"/>
                <a:gd name="T56" fmla="*/ 323256 w 746"/>
                <a:gd name="T57" fmla="*/ 164200 h 469"/>
                <a:gd name="T58" fmla="*/ 310169 w 746"/>
                <a:gd name="T59" fmla="*/ 179838 h 469"/>
                <a:gd name="T60" fmla="*/ 301444 w 746"/>
                <a:gd name="T61" fmla="*/ 178274 h 469"/>
                <a:gd name="T62" fmla="*/ 296209 w 746"/>
                <a:gd name="T63" fmla="*/ 167327 h 469"/>
                <a:gd name="T64" fmla="*/ 283994 w 746"/>
                <a:gd name="T65" fmla="*/ 172019 h 469"/>
                <a:gd name="T66" fmla="*/ 278759 w 746"/>
                <a:gd name="T67" fmla="*/ 183487 h 469"/>
                <a:gd name="T68" fmla="*/ 263491 w 746"/>
                <a:gd name="T69" fmla="*/ 185572 h 469"/>
                <a:gd name="T70" fmla="*/ 241242 w 746"/>
                <a:gd name="T71" fmla="*/ 185572 h 469"/>
                <a:gd name="T72" fmla="*/ 227719 w 746"/>
                <a:gd name="T73" fmla="*/ 190263 h 469"/>
                <a:gd name="T74" fmla="*/ 216376 w 746"/>
                <a:gd name="T75" fmla="*/ 201731 h 469"/>
                <a:gd name="T76" fmla="*/ 212014 w 746"/>
                <a:gd name="T77" fmla="*/ 205380 h 469"/>
                <a:gd name="T78" fmla="*/ 185839 w 746"/>
                <a:gd name="T79" fmla="*/ 208507 h 469"/>
                <a:gd name="T80" fmla="*/ 172752 w 746"/>
                <a:gd name="T81" fmla="*/ 204337 h 469"/>
                <a:gd name="T82" fmla="*/ 152249 w 746"/>
                <a:gd name="T83" fmla="*/ 184529 h 469"/>
                <a:gd name="T84" fmla="*/ 139161 w 746"/>
                <a:gd name="T85" fmla="*/ 179838 h 469"/>
                <a:gd name="T86" fmla="*/ 126947 w 746"/>
                <a:gd name="T87" fmla="*/ 185050 h 469"/>
                <a:gd name="T88" fmla="*/ 116041 w 746"/>
                <a:gd name="T89" fmla="*/ 196518 h 469"/>
                <a:gd name="T90" fmla="*/ 99027 w 746"/>
                <a:gd name="T91" fmla="*/ 227794 h 469"/>
                <a:gd name="T92" fmla="*/ 65436 w 746"/>
                <a:gd name="T93" fmla="*/ 228837 h 469"/>
                <a:gd name="T94" fmla="*/ 58893 w 746"/>
                <a:gd name="T95" fmla="*/ 233528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77" name="Freeform 248">
              <a:extLst>
                <a:ext uri="{FF2B5EF4-FFF2-40B4-BE49-F238E27FC236}">
                  <a16:creationId xmlns:a16="http://schemas.microsoft.com/office/drawing/2014/main" id="{9678816D-EFBA-4F73-BFAF-C14F27B8226D}"/>
                </a:ext>
              </a:extLst>
            </p:cNvPr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4306883" y="3490885"/>
              <a:ext cx="500062" cy="552445"/>
            </a:xfrm>
            <a:custGeom>
              <a:avLst/>
              <a:gdLst>
                <a:gd name="T0" fmla="*/ 393935 w 1145"/>
                <a:gd name="T1" fmla="*/ 29905 h 1053"/>
                <a:gd name="T2" fmla="*/ 433678 w 1145"/>
                <a:gd name="T3" fmla="*/ 34626 h 1053"/>
                <a:gd name="T4" fmla="*/ 471674 w 1145"/>
                <a:gd name="T5" fmla="*/ 42496 h 1053"/>
                <a:gd name="T6" fmla="*/ 491764 w 1145"/>
                <a:gd name="T7" fmla="*/ 91813 h 1053"/>
                <a:gd name="T8" fmla="*/ 494821 w 1145"/>
                <a:gd name="T9" fmla="*/ 110700 h 1053"/>
                <a:gd name="T10" fmla="*/ 462066 w 1145"/>
                <a:gd name="T11" fmla="*/ 142703 h 1053"/>
                <a:gd name="T12" fmla="*/ 456388 w 1145"/>
                <a:gd name="T13" fmla="*/ 188872 h 1053"/>
                <a:gd name="T14" fmla="*/ 438046 w 1145"/>
                <a:gd name="T15" fmla="*/ 230843 h 1053"/>
                <a:gd name="T16" fmla="*/ 432368 w 1145"/>
                <a:gd name="T17" fmla="*/ 249730 h 1053"/>
                <a:gd name="T18" fmla="*/ 445033 w 1145"/>
                <a:gd name="T19" fmla="*/ 302195 h 1053"/>
                <a:gd name="T20" fmla="*/ 448090 w 1145"/>
                <a:gd name="T21" fmla="*/ 348364 h 1053"/>
                <a:gd name="T22" fmla="*/ 457262 w 1145"/>
                <a:gd name="T23" fmla="*/ 383515 h 1053"/>
                <a:gd name="T24" fmla="*/ 471237 w 1145"/>
                <a:gd name="T25" fmla="*/ 401353 h 1053"/>
                <a:gd name="T26" fmla="*/ 476915 w 1145"/>
                <a:gd name="T27" fmla="*/ 432831 h 1053"/>
                <a:gd name="T28" fmla="*/ 454205 w 1145"/>
                <a:gd name="T29" fmla="*/ 442799 h 1053"/>
                <a:gd name="T30" fmla="*/ 435425 w 1145"/>
                <a:gd name="T31" fmla="*/ 449095 h 1053"/>
                <a:gd name="T32" fmla="*/ 419266 w 1145"/>
                <a:gd name="T33" fmla="*/ 520447 h 1053"/>
                <a:gd name="T34" fmla="*/ 406164 w 1145"/>
                <a:gd name="T35" fmla="*/ 538285 h 1053"/>
                <a:gd name="T36" fmla="*/ 393935 w 1145"/>
                <a:gd name="T37" fmla="*/ 540908 h 1053"/>
                <a:gd name="T38" fmla="*/ 366858 w 1145"/>
                <a:gd name="T39" fmla="*/ 552450 h 1053"/>
                <a:gd name="T40" fmla="*/ 341527 w 1145"/>
                <a:gd name="T41" fmla="*/ 544056 h 1053"/>
                <a:gd name="T42" fmla="*/ 324494 w 1145"/>
                <a:gd name="T43" fmla="*/ 531989 h 1053"/>
                <a:gd name="T44" fmla="*/ 308772 w 1145"/>
                <a:gd name="T45" fmla="*/ 523070 h 1053"/>
                <a:gd name="T46" fmla="*/ 294360 w 1145"/>
                <a:gd name="T47" fmla="*/ 517299 h 1053"/>
                <a:gd name="T48" fmla="*/ 265535 w 1145"/>
                <a:gd name="T49" fmla="*/ 517824 h 1053"/>
                <a:gd name="T50" fmla="*/ 259421 w 1145"/>
                <a:gd name="T51" fmla="*/ 494215 h 1053"/>
                <a:gd name="T52" fmla="*/ 251123 w 1145"/>
                <a:gd name="T53" fmla="*/ 463785 h 1053"/>
                <a:gd name="T54" fmla="*/ 257674 w 1145"/>
                <a:gd name="T55" fmla="*/ 443849 h 1053"/>
                <a:gd name="T56" fmla="*/ 257674 w 1145"/>
                <a:gd name="T57" fmla="*/ 408698 h 1053"/>
                <a:gd name="T58" fmla="*/ 198278 w 1145"/>
                <a:gd name="T59" fmla="*/ 396106 h 1053"/>
                <a:gd name="T60" fmla="*/ 193474 w 1145"/>
                <a:gd name="T61" fmla="*/ 411845 h 1053"/>
                <a:gd name="T62" fmla="*/ 172947 w 1145"/>
                <a:gd name="T63" fmla="*/ 428634 h 1053"/>
                <a:gd name="T64" fmla="*/ 147180 w 1145"/>
                <a:gd name="T65" fmla="*/ 418141 h 1053"/>
                <a:gd name="T66" fmla="*/ 129710 w 1145"/>
                <a:gd name="T67" fmla="*/ 371448 h 1053"/>
                <a:gd name="T68" fmla="*/ 1310 w 1145"/>
                <a:gd name="T69" fmla="*/ 352036 h 1053"/>
                <a:gd name="T70" fmla="*/ 19653 w 1145"/>
                <a:gd name="T71" fmla="*/ 349937 h 1053"/>
                <a:gd name="T72" fmla="*/ 11355 w 1145"/>
                <a:gd name="T73" fmla="*/ 331050 h 1053"/>
                <a:gd name="T74" fmla="*/ 32755 w 1145"/>
                <a:gd name="T75" fmla="*/ 322656 h 1053"/>
                <a:gd name="T76" fmla="*/ 63327 w 1145"/>
                <a:gd name="T77" fmla="*/ 322131 h 1053"/>
                <a:gd name="T78" fmla="*/ 79923 w 1145"/>
                <a:gd name="T79" fmla="*/ 325279 h 1053"/>
                <a:gd name="T80" fmla="*/ 96082 w 1145"/>
                <a:gd name="T81" fmla="*/ 301146 h 1053"/>
                <a:gd name="T82" fmla="*/ 113551 w 1145"/>
                <a:gd name="T83" fmla="*/ 291177 h 1053"/>
                <a:gd name="T84" fmla="*/ 122723 w 1145"/>
                <a:gd name="T85" fmla="*/ 230843 h 1053"/>
                <a:gd name="T86" fmla="*/ 151110 w 1145"/>
                <a:gd name="T87" fmla="*/ 194118 h 1053"/>
                <a:gd name="T88" fmla="*/ 161592 w 1145"/>
                <a:gd name="T89" fmla="*/ 144802 h 1053"/>
                <a:gd name="T90" fmla="*/ 162466 w 1145"/>
                <a:gd name="T91" fmla="*/ 94436 h 1053"/>
                <a:gd name="T92" fmla="*/ 167270 w 1145"/>
                <a:gd name="T93" fmla="*/ 64007 h 1053"/>
                <a:gd name="T94" fmla="*/ 192164 w 1145"/>
                <a:gd name="T95" fmla="*/ 18363 h 1053"/>
                <a:gd name="T96" fmla="*/ 214437 w 1145"/>
                <a:gd name="T97" fmla="*/ 15739 h 1053"/>
                <a:gd name="T98" fmla="*/ 243698 w 1145"/>
                <a:gd name="T99" fmla="*/ 40398 h 1053"/>
                <a:gd name="T100" fmla="*/ 278200 w 1145"/>
                <a:gd name="T101" fmla="*/ 38299 h 1053"/>
                <a:gd name="T102" fmla="*/ 292613 w 1145"/>
                <a:gd name="T103" fmla="*/ 23084 h 1053"/>
                <a:gd name="T104" fmla="*/ 320564 w 1145"/>
                <a:gd name="T105" fmla="*/ 17838 h 1053"/>
                <a:gd name="T106" fmla="*/ 347205 w 1145"/>
                <a:gd name="T107" fmla="*/ 8919 h 1053"/>
                <a:gd name="T108" fmla="*/ 361617 w 1145"/>
                <a:gd name="T109" fmla="*/ 4197 h 1053"/>
                <a:gd name="T110" fmla="*/ 375156 w 1145"/>
                <a:gd name="T111" fmla="*/ 12591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78" name="Freeform 249">
              <a:extLst>
                <a:ext uri="{FF2B5EF4-FFF2-40B4-BE49-F238E27FC236}">
                  <a16:creationId xmlns:a16="http://schemas.microsoft.com/office/drawing/2014/main" id="{53282279-8C11-4E11-B381-32CF2904DBDD}"/>
                </a:ext>
              </a:extLst>
            </p:cNvPr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243383" y="3590897"/>
              <a:ext cx="55562" cy="55562"/>
            </a:xfrm>
            <a:custGeom>
              <a:avLst/>
              <a:gdLst>
                <a:gd name="T0" fmla="*/ 53340 w 125"/>
                <a:gd name="T1" fmla="*/ 0 h 81"/>
                <a:gd name="T2" fmla="*/ 53784 w 125"/>
                <a:gd name="T3" fmla="*/ 18521 h 81"/>
                <a:gd name="T4" fmla="*/ 55118 w 125"/>
                <a:gd name="T5" fmla="*/ 31554 h 81"/>
                <a:gd name="T6" fmla="*/ 55562 w 125"/>
                <a:gd name="T7" fmla="*/ 36356 h 81"/>
                <a:gd name="T8" fmla="*/ 55562 w 125"/>
                <a:gd name="T9" fmla="*/ 40472 h 81"/>
                <a:gd name="T10" fmla="*/ 55562 w 125"/>
                <a:gd name="T11" fmla="*/ 44588 h 81"/>
                <a:gd name="T12" fmla="*/ 54673 w 125"/>
                <a:gd name="T13" fmla="*/ 47331 h 81"/>
                <a:gd name="T14" fmla="*/ 52895 w 125"/>
                <a:gd name="T15" fmla="*/ 49389 h 81"/>
                <a:gd name="T16" fmla="*/ 49784 w 125"/>
                <a:gd name="T17" fmla="*/ 50761 h 81"/>
                <a:gd name="T18" fmla="*/ 45783 w 125"/>
                <a:gd name="T19" fmla="*/ 52133 h 81"/>
                <a:gd name="T20" fmla="*/ 40449 w 125"/>
                <a:gd name="T21" fmla="*/ 52819 h 81"/>
                <a:gd name="T22" fmla="*/ 25336 w 125"/>
                <a:gd name="T23" fmla="*/ 54191 h 81"/>
                <a:gd name="T24" fmla="*/ 3111 w 125"/>
                <a:gd name="T25" fmla="*/ 55563 h 81"/>
                <a:gd name="T26" fmla="*/ 2222 w 125"/>
                <a:gd name="T27" fmla="*/ 54191 h 81"/>
                <a:gd name="T28" fmla="*/ 1333 w 125"/>
                <a:gd name="T29" fmla="*/ 49389 h 81"/>
                <a:gd name="T30" fmla="*/ 444 w 125"/>
                <a:gd name="T31" fmla="*/ 40472 h 81"/>
                <a:gd name="T32" fmla="*/ 0 w 125"/>
                <a:gd name="T33" fmla="*/ 29496 h 81"/>
                <a:gd name="T34" fmla="*/ 0 w 125"/>
                <a:gd name="T35" fmla="*/ 25381 h 81"/>
                <a:gd name="T36" fmla="*/ 444 w 125"/>
                <a:gd name="T37" fmla="*/ 21265 h 81"/>
                <a:gd name="T38" fmla="*/ 889 w 125"/>
                <a:gd name="T39" fmla="*/ 17149 h 81"/>
                <a:gd name="T40" fmla="*/ 1778 w 125"/>
                <a:gd name="T41" fmla="*/ 13719 h 81"/>
                <a:gd name="T42" fmla="*/ 3556 w 125"/>
                <a:gd name="T43" fmla="*/ 10289 h 81"/>
                <a:gd name="T44" fmla="*/ 4889 w 125"/>
                <a:gd name="T45" fmla="*/ 6860 h 81"/>
                <a:gd name="T46" fmla="*/ 6223 w 125"/>
                <a:gd name="T47" fmla="*/ 3430 h 81"/>
                <a:gd name="T48" fmla="*/ 8890 w 125"/>
                <a:gd name="T49" fmla="*/ 0 h 81"/>
                <a:gd name="T50" fmla="*/ 5334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79" name="Freeform 250">
              <a:extLst>
                <a:ext uri="{FF2B5EF4-FFF2-40B4-BE49-F238E27FC236}">
                  <a16:creationId xmlns:a16="http://schemas.microsoft.com/office/drawing/2014/main" id="{3DCE3BC7-24A3-4655-9626-03E64564DFBD}"/>
                </a:ext>
              </a:extLst>
            </p:cNvPr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225920" y="3590897"/>
              <a:ext cx="152400" cy="201612"/>
            </a:xfrm>
            <a:custGeom>
              <a:avLst/>
              <a:gdLst>
                <a:gd name="T0" fmla="*/ 112475 w 355"/>
                <a:gd name="T1" fmla="*/ 7794 h 388"/>
                <a:gd name="T2" fmla="*/ 110329 w 355"/>
                <a:gd name="T3" fmla="*/ 19226 h 388"/>
                <a:gd name="T4" fmla="*/ 113334 w 355"/>
                <a:gd name="T5" fmla="*/ 26501 h 388"/>
                <a:gd name="T6" fmla="*/ 121491 w 355"/>
                <a:gd name="T7" fmla="*/ 31177 h 388"/>
                <a:gd name="T8" fmla="*/ 136945 w 355"/>
                <a:gd name="T9" fmla="*/ 28579 h 388"/>
                <a:gd name="T10" fmla="*/ 142526 w 355"/>
                <a:gd name="T11" fmla="*/ 29618 h 388"/>
                <a:gd name="T12" fmla="*/ 145961 w 355"/>
                <a:gd name="T13" fmla="*/ 35334 h 388"/>
                <a:gd name="T14" fmla="*/ 148107 w 355"/>
                <a:gd name="T15" fmla="*/ 43129 h 388"/>
                <a:gd name="T16" fmla="*/ 150683 w 355"/>
                <a:gd name="T17" fmla="*/ 48844 h 388"/>
                <a:gd name="T18" fmla="*/ 148107 w 355"/>
                <a:gd name="T19" fmla="*/ 56119 h 388"/>
                <a:gd name="T20" fmla="*/ 137375 w 355"/>
                <a:gd name="T21" fmla="*/ 70668 h 388"/>
                <a:gd name="T22" fmla="*/ 149395 w 355"/>
                <a:gd name="T23" fmla="*/ 90934 h 388"/>
                <a:gd name="T24" fmla="*/ 152400 w 355"/>
                <a:gd name="T25" fmla="*/ 104963 h 388"/>
                <a:gd name="T26" fmla="*/ 151541 w 355"/>
                <a:gd name="T27" fmla="*/ 113797 h 388"/>
                <a:gd name="T28" fmla="*/ 148107 w 355"/>
                <a:gd name="T29" fmla="*/ 131984 h 388"/>
                <a:gd name="T30" fmla="*/ 142955 w 355"/>
                <a:gd name="T31" fmla="*/ 140817 h 388"/>
                <a:gd name="T32" fmla="*/ 133940 w 355"/>
                <a:gd name="T33" fmla="*/ 145494 h 388"/>
                <a:gd name="T34" fmla="*/ 122779 w 355"/>
                <a:gd name="T35" fmla="*/ 146533 h 388"/>
                <a:gd name="T36" fmla="*/ 115910 w 355"/>
                <a:gd name="T37" fmla="*/ 146533 h 388"/>
                <a:gd name="T38" fmla="*/ 108183 w 355"/>
                <a:gd name="T39" fmla="*/ 137700 h 388"/>
                <a:gd name="T40" fmla="*/ 103031 w 355"/>
                <a:gd name="T41" fmla="*/ 134582 h 388"/>
                <a:gd name="T42" fmla="*/ 94874 w 355"/>
                <a:gd name="T43" fmla="*/ 139778 h 388"/>
                <a:gd name="T44" fmla="*/ 88006 w 355"/>
                <a:gd name="T45" fmla="*/ 144974 h 388"/>
                <a:gd name="T46" fmla="*/ 83283 w 355"/>
                <a:gd name="T47" fmla="*/ 148092 h 388"/>
                <a:gd name="T48" fmla="*/ 79420 w 355"/>
                <a:gd name="T49" fmla="*/ 154847 h 388"/>
                <a:gd name="T50" fmla="*/ 80278 w 355"/>
                <a:gd name="T51" fmla="*/ 166798 h 388"/>
                <a:gd name="T52" fmla="*/ 88864 w 355"/>
                <a:gd name="T53" fmla="*/ 186024 h 388"/>
                <a:gd name="T54" fmla="*/ 83713 w 355"/>
                <a:gd name="T55" fmla="*/ 183426 h 388"/>
                <a:gd name="T56" fmla="*/ 75985 w 355"/>
                <a:gd name="T57" fmla="*/ 184466 h 388"/>
                <a:gd name="T58" fmla="*/ 69546 w 355"/>
                <a:gd name="T59" fmla="*/ 189662 h 388"/>
                <a:gd name="T60" fmla="*/ 62677 w 355"/>
                <a:gd name="T61" fmla="*/ 201613 h 388"/>
                <a:gd name="T62" fmla="*/ 52803 w 355"/>
                <a:gd name="T63" fmla="*/ 192260 h 388"/>
                <a:gd name="T64" fmla="*/ 48510 w 355"/>
                <a:gd name="T65" fmla="*/ 186024 h 388"/>
                <a:gd name="T66" fmla="*/ 41212 w 355"/>
                <a:gd name="T67" fmla="*/ 168357 h 388"/>
                <a:gd name="T68" fmla="*/ 21465 w 355"/>
                <a:gd name="T69" fmla="*/ 145494 h 388"/>
                <a:gd name="T70" fmla="*/ 9445 w 355"/>
                <a:gd name="T71" fmla="*/ 131984 h 388"/>
                <a:gd name="T72" fmla="*/ 2146 w 355"/>
                <a:gd name="T73" fmla="*/ 115876 h 388"/>
                <a:gd name="T74" fmla="*/ 429 w 355"/>
                <a:gd name="T75" fmla="*/ 97169 h 388"/>
                <a:gd name="T76" fmla="*/ 4722 w 355"/>
                <a:gd name="T77" fmla="*/ 84179 h 388"/>
                <a:gd name="T78" fmla="*/ 17601 w 355"/>
                <a:gd name="T79" fmla="*/ 69629 h 388"/>
                <a:gd name="T80" fmla="*/ 23182 w 355"/>
                <a:gd name="T81" fmla="*/ 60276 h 388"/>
                <a:gd name="T82" fmla="*/ 24041 w 355"/>
                <a:gd name="T83" fmla="*/ 47286 h 388"/>
                <a:gd name="T84" fmla="*/ 46364 w 355"/>
                <a:gd name="T85" fmla="*/ 43129 h 388"/>
                <a:gd name="T86" fmla="*/ 66970 w 355"/>
                <a:gd name="T87" fmla="*/ 41570 h 388"/>
                <a:gd name="T88" fmla="*/ 73839 w 355"/>
                <a:gd name="T89" fmla="*/ 37932 h 388"/>
                <a:gd name="T90" fmla="*/ 75985 w 355"/>
                <a:gd name="T91" fmla="*/ 32736 h 388"/>
                <a:gd name="T92" fmla="*/ 74697 w 355"/>
                <a:gd name="T93" fmla="*/ 21304 h 388"/>
                <a:gd name="T94" fmla="*/ 71692 w 355"/>
                <a:gd name="T95" fmla="*/ 6235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80" name="Freeform 251">
              <a:extLst>
                <a:ext uri="{FF2B5EF4-FFF2-40B4-BE49-F238E27FC236}">
                  <a16:creationId xmlns:a16="http://schemas.microsoft.com/office/drawing/2014/main" id="{58A21EA3-0D1C-48B4-9018-3E69005F7515}"/>
                </a:ext>
              </a:extLst>
            </p:cNvPr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759319" y="3995706"/>
              <a:ext cx="260350" cy="520696"/>
            </a:xfrm>
            <a:custGeom>
              <a:avLst/>
              <a:gdLst>
                <a:gd name="T0" fmla="*/ 0 w 599"/>
                <a:gd name="T1" fmla="*/ 135812 h 993"/>
                <a:gd name="T2" fmla="*/ 79105 w 599"/>
                <a:gd name="T3" fmla="*/ 117459 h 993"/>
                <a:gd name="T4" fmla="*/ 99967 w 599"/>
                <a:gd name="T5" fmla="*/ 125849 h 993"/>
                <a:gd name="T6" fmla="*/ 112137 w 599"/>
                <a:gd name="T7" fmla="*/ 135288 h 993"/>
                <a:gd name="T8" fmla="*/ 109530 w 599"/>
                <a:gd name="T9" fmla="*/ 155214 h 993"/>
                <a:gd name="T10" fmla="*/ 101706 w 599"/>
                <a:gd name="T11" fmla="*/ 171469 h 993"/>
                <a:gd name="T12" fmla="*/ 108660 w 599"/>
                <a:gd name="T13" fmla="*/ 187200 h 993"/>
                <a:gd name="T14" fmla="*/ 127784 w 599"/>
                <a:gd name="T15" fmla="*/ 191395 h 993"/>
                <a:gd name="T16" fmla="*/ 138651 w 599"/>
                <a:gd name="T17" fmla="*/ 178286 h 993"/>
                <a:gd name="T18" fmla="*/ 146909 w 599"/>
                <a:gd name="T19" fmla="*/ 166225 h 993"/>
                <a:gd name="T20" fmla="*/ 144301 w 599"/>
                <a:gd name="T21" fmla="*/ 136861 h 993"/>
                <a:gd name="T22" fmla="*/ 136477 w 599"/>
                <a:gd name="T23" fmla="*/ 106972 h 993"/>
                <a:gd name="T24" fmla="*/ 117788 w 599"/>
                <a:gd name="T25" fmla="*/ 82326 h 993"/>
                <a:gd name="T26" fmla="*/ 110399 w 599"/>
                <a:gd name="T27" fmla="*/ 65546 h 993"/>
                <a:gd name="T28" fmla="*/ 117353 w 599"/>
                <a:gd name="T29" fmla="*/ 32511 h 993"/>
                <a:gd name="T30" fmla="*/ 139085 w 599"/>
                <a:gd name="T31" fmla="*/ 28840 h 993"/>
                <a:gd name="T32" fmla="*/ 181680 w 599"/>
                <a:gd name="T33" fmla="*/ 31462 h 993"/>
                <a:gd name="T34" fmla="*/ 226448 w 599"/>
                <a:gd name="T35" fmla="*/ 18877 h 993"/>
                <a:gd name="T36" fmla="*/ 259481 w 599"/>
                <a:gd name="T37" fmla="*/ 1573 h 993"/>
                <a:gd name="T38" fmla="*/ 259481 w 599"/>
                <a:gd name="T39" fmla="*/ 15731 h 993"/>
                <a:gd name="T40" fmla="*/ 259481 w 599"/>
                <a:gd name="T41" fmla="*/ 66071 h 993"/>
                <a:gd name="T42" fmla="*/ 257308 w 599"/>
                <a:gd name="T43" fmla="*/ 119556 h 993"/>
                <a:gd name="T44" fmla="*/ 254265 w 599"/>
                <a:gd name="T45" fmla="*/ 144726 h 993"/>
                <a:gd name="T46" fmla="*/ 239053 w 599"/>
                <a:gd name="T47" fmla="*/ 176713 h 993"/>
                <a:gd name="T48" fmla="*/ 203412 w 599"/>
                <a:gd name="T49" fmla="*/ 210797 h 993"/>
                <a:gd name="T50" fmla="*/ 162556 w 599"/>
                <a:gd name="T51" fmla="*/ 223382 h 993"/>
                <a:gd name="T52" fmla="*/ 153428 w 599"/>
                <a:gd name="T53" fmla="*/ 243308 h 993"/>
                <a:gd name="T54" fmla="*/ 127350 w 599"/>
                <a:gd name="T55" fmla="*/ 265856 h 993"/>
                <a:gd name="T56" fmla="*/ 105618 w 599"/>
                <a:gd name="T57" fmla="*/ 287879 h 993"/>
                <a:gd name="T58" fmla="*/ 99533 w 599"/>
                <a:gd name="T59" fmla="*/ 305184 h 993"/>
                <a:gd name="T60" fmla="*/ 103010 w 599"/>
                <a:gd name="T61" fmla="*/ 324585 h 993"/>
                <a:gd name="T62" fmla="*/ 116049 w 599"/>
                <a:gd name="T63" fmla="*/ 342938 h 993"/>
                <a:gd name="T64" fmla="*/ 110399 w 599"/>
                <a:gd name="T65" fmla="*/ 363913 h 993"/>
                <a:gd name="T66" fmla="*/ 115180 w 599"/>
                <a:gd name="T67" fmla="*/ 382266 h 993"/>
                <a:gd name="T68" fmla="*/ 116049 w 599"/>
                <a:gd name="T69" fmla="*/ 414253 h 993"/>
                <a:gd name="T70" fmla="*/ 111268 w 599"/>
                <a:gd name="T71" fmla="*/ 426838 h 993"/>
                <a:gd name="T72" fmla="*/ 83886 w 599"/>
                <a:gd name="T73" fmla="*/ 457776 h 993"/>
                <a:gd name="T74" fmla="*/ 63892 w 599"/>
                <a:gd name="T75" fmla="*/ 465117 h 993"/>
                <a:gd name="T76" fmla="*/ 44333 w 599"/>
                <a:gd name="T77" fmla="*/ 468787 h 993"/>
                <a:gd name="T78" fmla="*/ 37814 w 599"/>
                <a:gd name="T79" fmla="*/ 478750 h 993"/>
                <a:gd name="T80" fmla="*/ 41291 w 599"/>
                <a:gd name="T81" fmla="*/ 492384 h 993"/>
                <a:gd name="T82" fmla="*/ 39552 w 599"/>
                <a:gd name="T83" fmla="*/ 520176 h 993"/>
                <a:gd name="T84" fmla="*/ 32163 w 599"/>
                <a:gd name="T85" fmla="*/ 424740 h 993"/>
                <a:gd name="T86" fmla="*/ 25209 w 599"/>
                <a:gd name="T87" fmla="*/ 401144 h 993"/>
                <a:gd name="T88" fmla="*/ 17820 w 599"/>
                <a:gd name="T89" fmla="*/ 377547 h 993"/>
                <a:gd name="T90" fmla="*/ 46941 w 599"/>
                <a:gd name="T91" fmla="*/ 349231 h 993"/>
                <a:gd name="T92" fmla="*/ 47376 w 599"/>
                <a:gd name="T93" fmla="*/ 321964 h 993"/>
                <a:gd name="T94" fmla="*/ 64762 w 599"/>
                <a:gd name="T95" fmla="*/ 299416 h 993"/>
                <a:gd name="T96" fmla="*/ 75628 w 599"/>
                <a:gd name="T97" fmla="*/ 275819 h 993"/>
                <a:gd name="T98" fmla="*/ 73020 w 599"/>
                <a:gd name="T99" fmla="*/ 231247 h 993"/>
                <a:gd name="T100" fmla="*/ 66065 w 599"/>
                <a:gd name="T101" fmla="*/ 190871 h 993"/>
                <a:gd name="T102" fmla="*/ 35206 w 599"/>
                <a:gd name="T103" fmla="*/ 178810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81" name="Freeform 252">
              <a:extLst>
                <a:ext uri="{FF2B5EF4-FFF2-40B4-BE49-F238E27FC236}">
                  <a16:creationId xmlns:a16="http://schemas.microsoft.com/office/drawing/2014/main" id="{D6E42CA1-F4D4-49D9-B47B-354875A85506}"/>
                </a:ext>
              </a:extLst>
            </p:cNvPr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494208" y="4235416"/>
              <a:ext cx="238125" cy="287336"/>
            </a:xfrm>
            <a:custGeom>
              <a:avLst/>
              <a:gdLst>
                <a:gd name="T0" fmla="*/ 13108 w 545"/>
                <a:gd name="T1" fmla="*/ 224008 h 549"/>
                <a:gd name="T2" fmla="*/ 20099 w 545"/>
                <a:gd name="T3" fmla="*/ 237616 h 549"/>
                <a:gd name="T4" fmla="*/ 20099 w 545"/>
                <a:gd name="T5" fmla="*/ 267973 h 549"/>
                <a:gd name="T6" fmla="*/ 20972 w 545"/>
                <a:gd name="T7" fmla="*/ 275824 h 549"/>
                <a:gd name="T8" fmla="*/ 24031 w 545"/>
                <a:gd name="T9" fmla="*/ 281057 h 549"/>
                <a:gd name="T10" fmla="*/ 29711 w 545"/>
                <a:gd name="T11" fmla="*/ 285244 h 549"/>
                <a:gd name="T12" fmla="*/ 43693 w 545"/>
                <a:gd name="T13" fmla="*/ 287338 h 549"/>
                <a:gd name="T14" fmla="*/ 49373 w 545"/>
                <a:gd name="T15" fmla="*/ 285768 h 549"/>
                <a:gd name="T16" fmla="*/ 56800 w 545"/>
                <a:gd name="T17" fmla="*/ 278964 h 549"/>
                <a:gd name="T18" fmla="*/ 62481 w 545"/>
                <a:gd name="T19" fmla="*/ 265356 h 549"/>
                <a:gd name="T20" fmla="*/ 67287 w 545"/>
                <a:gd name="T21" fmla="*/ 249654 h 549"/>
                <a:gd name="T22" fmla="*/ 73841 w 545"/>
                <a:gd name="T23" fmla="*/ 237616 h 549"/>
                <a:gd name="T24" fmla="*/ 79958 w 545"/>
                <a:gd name="T25" fmla="*/ 232906 h 549"/>
                <a:gd name="T26" fmla="*/ 87822 w 545"/>
                <a:gd name="T27" fmla="*/ 232383 h 549"/>
                <a:gd name="T28" fmla="*/ 96998 w 545"/>
                <a:gd name="T29" fmla="*/ 234476 h 549"/>
                <a:gd name="T30" fmla="*/ 110106 w 545"/>
                <a:gd name="T31" fmla="*/ 241280 h 549"/>
                <a:gd name="T32" fmla="*/ 118844 w 545"/>
                <a:gd name="T33" fmla="*/ 244944 h 549"/>
                <a:gd name="T34" fmla="*/ 129767 w 545"/>
                <a:gd name="T35" fmla="*/ 245467 h 549"/>
                <a:gd name="T36" fmla="*/ 139380 w 545"/>
                <a:gd name="T37" fmla="*/ 242850 h 549"/>
                <a:gd name="T38" fmla="*/ 145060 w 545"/>
                <a:gd name="T39" fmla="*/ 237093 h 549"/>
                <a:gd name="T40" fmla="*/ 156857 w 545"/>
                <a:gd name="T41" fmla="*/ 203073 h 549"/>
                <a:gd name="T42" fmla="*/ 166906 w 545"/>
                <a:gd name="T43" fmla="*/ 189989 h 549"/>
                <a:gd name="T44" fmla="*/ 195306 w 545"/>
                <a:gd name="T45" fmla="*/ 164343 h 549"/>
                <a:gd name="T46" fmla="*/ 230260 w 545"/>
                <a:gd name="T47" fmla="*/ 138173 h 549"/>
                <a:gd name="T48" fmla="*/ 230697 w 545"/>
                <a:gd name="T49" fmla="*/ 121425 h 549"/>
                <a:gd name="T50" fmla="*/ 219774 w 545"/>
                <a:gd name="T51" fmla="*/ 114098 h 549"/>
                <a:gd name="T52" fmla="*/ 211909 w 545"/>
                <a:gd name="T53" fmla="*/ 104153 h 549"/>
                <a:gd name="T54" fmla="*/ 200986 w 545"/>
                <a:gd name="T55" fmla="*/ 82171 h 549"/>
                <a:gd name="T56" fmla="*/ 192248 w 545"/>
                <a:gd name="T57" fmla="*/ 69087 h 549"/>
                <a:gd name="T58" fmla="*/ 164721 w 545"/>
                <a:gd name="T59" fmla="*/ 39777 h 549"/>
                <a:gd name="T60" fmla="*/ 156857 w 545"/>
                <a:gd name="T61" fmla="*/ 27739 h 549"/>
                <a:gd name="T62" fmla="*/ 152050 w 545"/>
                <a:gd name="T63" fmla="*/ 12561 h 549"/>
                <a:gd name="T64" fmla="*/ 139380 w 545"/>
                <a:gd name="T65" fmla="*/ 0 h 549"/>
                <a:gd name="T66" fmla="*/ 106610 w 545"/>
                <a:gd name="T67" fmla="*/ 1047 h 549"/>
                <a:gd name="T68" fmla="*/ 76899 w 545"/>
                <a:gd name="T69" fmla="*/ 6804 h 549"/>
                <a:gd name="T70" fmla="*/ 41508 w 545"/>
                <a:gd name="T71" fmla="*/ 11514 h 549"/>
                <a:gd name="T72" fmla="*/ 31022 w 545"/>
                <a:gd name="T73" fmla="*/ 14131 h 549"/>
                <a:gd name="T74" fmla="*/ 29274 w 545"/>
                <a:gd name="T75" fmla="*/ 19889 h 549"/>
                <a:gd name="T76" fmla="*/ 31896 w 545"/>
                <a:gd name="T77" fmla="*/ 29310 h 549"/>
                <a:gd name="T78" fmla="*/ 36702 w 545"/>
                <a:gd name="T79" fmla="*/ 38730 h 549"/>
                <a:gd name="T80" fmla="*/ 37576 w 545"/>
                <a:gd name="T81" fmla="*/ 56002 h 549"/>
                <a:gd name="T82" fmla="*/ 32333 w 545"/>
                <a:gd name="T83" fmla="*/ 89499 h 549"/>
                <a:gd name="T84" fmla="*/ 27089 w 545"/>
                <a:gd name="T85" fmla="*/ 124042 h 549"/>
                <a:gd name="T86" fmla="*/ 20536 w 545"/>
                <a:gd name="T87" fmla="*/ 137650 h 549"/>
                <a:gd name="T88" fmla="*/ 11360 w 545"/>
                <a:gd name="T89" fmla="*/ 144977 h 549"/>
                <a:gd name="T90" fmla="*/ 2185 w 545"/>
                <a:gd name="T91" fmla="*/ 160679 h 549"/>
                <a:gd name="T92" fmla="*/ 437 w 545"/>
                <a:gd name="T93" fmla="*/ 177427 h 549"/>
                <a:gd name="T94" fmla="*/ 3495 w 545"/>
                <a:gd name="T95" fmla="*/ 192082 h 549"/>
                <a:gd name="T96" fmla="*/ 3495 w 545"/>
                <a:gd name="T97" fmla="*/ 204643 h 549"/>
                <a:gd name="T98" fmla="*/ 0 w 545"/>
                <a:gd name="T99" fmla="*/ 213541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83" name="Freeform 254">
              <a:extLst>
                <a:ext uri="{FF2B5EF4-FFF2-40B4-BE49-F238E27FC236}">
                  <a16:creationId xmlns:a16="http://schemas.microsoft.com/office/drawing/2014/main" id="{F52CA321-1683-44DF-A265-8A384C64C132}"/>
                </a:ext>
              </a:extLst>
            </p:cNvPr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743444" y="3735359"/>
              <a:ext cx="36513" cy="66675"/>
            </a:xfrm>
            <a:custGeom>
              <a:avLst/>
              <a:gdLst>
                <a:gd name="T0" fmla="*/ 36513 w 80"/>
                <a:gd name="T1" fmla="*/ 1058 h 126"/>
                <a:gd name="T2" fmla="*/ 36513 w 80"/>
                <a:gd name="T3" fmla="*/ 53446 h 126"/>
                <a:gd name="T4" fmla="*/ 35600 w 80"/>
                <a:gd name="T5" fmla="*/ 55033 h 126"/>
                <a:gd name="T6" fmla="*/ 34231 w 80"/>
                <a:gd name="T7" fmla="*/ 56621 h 126"/>
                <a:gd name="T8" fmla="*/ 31949 w 80"/>
                <a:gd name="T9" fmla="*/ 57679 h 126"/>
                <a:gd name="T10" fmla="*/ 30580 w 80"/>
                <a:gd name="T11" fmla="*/ 58737 h 126"/>
                <a:gd name="T12" fmla="*/ 26472 w 80"/>
                <a:gd name="T13" fmla="*/ 60325 h 126"/>
                <a:gd name="T14" fmla="*/ 21908 w 80"/>
                <a:gd name="T15" fmla="*/ 61383 h 126"/>
                <a:gd name="T16" fmla="*/ 16431 w 80"/>
                <a:gd name="T17" fmla="*/ 61912 h 126"/>
                <a:gd name="T18" fmla="*/ 11410 w 80"/>
                <a:gd name="T19" fmla="*/ 62971 h 126"/>
                <a:gd name="T20" fmla="*/ 5933 w 80"/>
                <a:gd name="T21" fmla="*/ 65087 h 126"/>
                <a:gd name="T22" fmla="*/ 0 w 80"/>
                <a:gd name="T23" fmla="*/ 66675 h 126"/>
                <a:gd name="T24" fmla="*/ 3195 w 80"/>
                <a:gd name="T25" fmla="*/ 21167 h 126"/>
                <a:gd name="T26" fmla="*/ 10497 w 80"/>
                <a:gd name="T27" fmla="*/ 14287 h 126"/>
                <a:gd name="T28" fmla="*/ 18713 w 80"/>
                <a:gd name="T29" fmla="*/ 6350 h 126"/>
                <a:gd name="T30" fmla="*/ 23277 w 80"/>
                <a:gd name="T31" fmla="*/ 2646 h 126"/>
                <a:gd name="T32" fmla="*/ 27385 w 80"/>
                <a:gd name="T33" fmla="*/ 529 h 126"/>
                <a:gd name="T34" fmla="*/ 29667 w 80"/>
                <a:gd name="T35" fmla="*/ 0 h 126"/>
                <a:gd name="T36" fmla="*/ 31949 w 80"/>
                <a:gd name="T37" fmla="*/ 0 h 126"/>
                <a:gd name="T38" fmla="*/ 34231 w 80"/>
                <a:gd name="T39" fmla="*/ 529 h 126"/>
                <a:gd name="T40" fmla="*/ 36513 w 80"/>
                <a:gd name="T41" fmla="*/ 1058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84" name="Freeform 255">
              <a:extLst>
                <a:ext uri="{FF2B5EF4-FFF2-40B4-BE49-F238E27FC236}">
                  <a16:creationId xmlns:a16="http://schemas.microsoft.com/office/drawing/2014/main" id="{D3D92C03-9B1C-4064-A426-95AE943FC7FF}"/>
                </a:ext>
              </a:extLst>
            </p:cNvPr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732332" y="3695671"/>
              <a:ext cx="55562" cy="60325"/>
            </a:xfrm>
            <a:custGeom>
              <a:avLst/>
              <a:gdLst>
                <a:gd name="T0" fmla="*/ 50633 w 124"/>
                <a:gd name="T1" fmla="*/ 0 h 117"/>
                <a:gd name="T2" fmla="*/ 51977 w 124"/>
                <a:gd name="T3" fmla="*/ 7734 h 117"/>
                <a:gd name="T4" fmla="*/ 54666 w 124"/>
                <a:gd name="T5" fmla="*/ 18046 h 117"/>
                <a:gd name="T6" fmla="*/ 55562 w 124"/>
                <a:gd name="T7" fmla="*/ 23202 h 117"/>
                <a:gd name="T8" fmla="*/ 55562 w 124"/>
                <a:gd name="T9" fmla="*/ 27842 h 117"/>
                <a:gd name="T10" fmla="*/ 55562 w 124"/>
                <a:gd name="T11" fmla="*/ 30420 h 117"/>
                <a:gd name="T12" fmla="*/ 55114 w 124"/>
                <a:gd name="T13" fmla="*/ 32998 h 117"/>
                <a:gd name="T14" fmla="*/ 54666 w 124"/>
                <a:gd name="T15" fmla="*/ 35576 h 117"/>
                <a:gd name="T16" fmla="*/ 53322 w 124"/>
                <a:gd name="T17" fmla="*/ 37639 h 117"/>
                <a:gd name="T18" fmla="*/ 51081 w 124"/>
                <a:gd name="T19" fmla="*/ 37123 h 117"/>
                <a:gd name="T20" fmla="*/ 48393 w 124"/>
                <a:gd name="T21" fmla="*/ 36607 h 117"/>
                <a:gd name="T22" fmla="*/ 46152 w 124"/>
                <a:gd name="T23" fmla="*/ 37123 h 117"/>
                <a:gd name="T24" fmla="*/ 43016 w 124"/>
                <a:gd name="T25" fmla="*/ 37639 h 117"/>
                <a:gd name="T26" fmla="*/ 37191 w 124"/>
                <a:gd name="T27" fmla="*/ 40217 h 117"/>
                <a:gd name="T28" fmla="*/ 31814 w 124"/>
                <a:gd name="T29" fmla="*/ 43826 h 117"/>
                <a:gd name="T30" fmla="*/ 20612 w 124"/>
                <a:gd name="T31" fmla="*/ 53107 h 117"/>
                <a:gd name="T32" fmla="*/ 11650 w 124"/>
                <a:gd name="T33" fmla="*/ 60325 h 117"/>
                <a:gd name="T34" fmla="*/ 10306 w 124"/>
                <a:gd name="T35" fmla="*/ 57747 h 117"/>
                <a:gd name="T36" fmla="*/ 5825 w 124"/>
                <a:gd name="T37" fmla="*/ 52075 h 117"/>
                <a:gd name="T38" fmla="*/ 1792 w 124"/>
                <a:gd name="T39" fmla="*/ 45888 h 117"/>
                <a:gd name="T40" fmla="*/ 0 w 124"/>
                <a:gd name="T41" fmla="*/ 40732 h 117"/>
                <a:gd name="T42" fmla="*/ 448 w 124"/>
                <a:gd name="T43" fmla="*/ 39185 h 117"/>
                <a:gd name="T44" fmla="*/ 896 w 124"/>
                <a:gd name="T45" fmla="*/ 37123 h 117"/>
                <a:gd name="T46" fmla="*/ 2240 w 124"/>
                <a:gd name="T47" fmla="*/ 34545 h 117"/>
                <a:gd name="T48" fmla="*/ 4033 w 124"/>
                <a:gd name="T49" fmla="*/ 31967 h 117"/>
                <a:gd name="T50" fmla="*/ 7617 w 124"/>
                <a:gd name="T51" fmla="*/ 26811 h 117"/>
                <a:gd name="T52" fmla="*/ 12098 w 124"/>
                <a:gd name="T53" fmla="*/ 21655 h 117"/>
                <a:gd name="T54" fmla="*/ 21508 w 124"/>
                <a:gd name="T55" fmla="*/ 11343 h 117"/>
                <a:gd name="T56" fmla="*/ 26885 w 124"/>
                <a:gd name="T57" fmla="*/ 6187 h 117"/>
                <a:gd name="T58" fmla="*/ 32710 w 124"/>
                <a:gd name="T59" fmla="*/ 6187 h 117"/>
                <a:gd name="T60" fmla="*/ 38535 w 124"/>
                <a:gd name="T61" fmla="*/ 6187 h 117"/>
                <a:gd name="T62" fmla="*/ 44808 w 124"/>
                <a:gd name="T63" fmla="*/ 3094 h 117"/>
                <a:gd name="T64" fmla="*/ 50633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85" name="Freeform 256">
              <a:extLst>
                <a:ext uri="{FF2B5EF4-FFF2-40B4-BE49-F238E27FC236}">
                  <a16:creationId xmlns:a16="http://schemas.microsoft.com/office/drawing/2014/main" id="{EE21B3E4-6C30-43D2-885D-59451816B8A9}"/>
                </a:ext>
              </a:extLst>
            </p:cNvPr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5041894" y="2395519"/>
              <a:ext cx="503238" cy="473071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86" name="Freeform 257">
              <a:extLst>
                <a:ext uri="{FF2B5EF4-FFF2-40B4-BE49-F238E27FC236}">
                  <a16:creationId xmlns:a16="http://schemas.microsoft.com/office/drawing/2014/main" id="{3FF15E63-8084-49E5-B965-CF618778A13E}"/>
                </a:ext>
              </a:extLst>
            </p:cNvPr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5065707" y="3052739"/>
              <a:ext cx="247650" cy="228598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87" name="Freeform 258">
              <a:extLst>
                <a:ext uri="{FF2B5EF4-FFF2-40B4-BE49-F238E27FC236}">
                  <a16:creationId xmlns:a16="http://schemas.microsoft.com/office/drawing/2014/main" id="{525D9DDE-DFDA-4BB6-A51B-6E3CF5A7409B}"/>
                </a:ext>
              </a:extLst>
            </p:cNvPr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5260969" y="2827316"/>
              <a:ext cx="120650" cy="120649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88" name="Freeform 259">
              <a:extLst>
                <a:ext uri="{FF2B5EF4-FFF2-40B4-BE49-F238E27FC236}">
                  <a16:creationId xmlns:a16="http://schemas.microsoft.com/office/drawing/2014/main" id="{F1E19FF4-5CE7-4412-9C1F-BE4A70D24B35}"/>
                </a:ext>
              </a:extLst>
            </p:cNvPr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4948232" y="2479656"/>
              <a:ext cx="222250" cy="263523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89" name="Freeform 260">
              <a:extLst>
                <a:ext uri="{FF2B5EF4-FFF2-40B4-BE49-F238E27FC236}">
                  <a16:creationId xmlns:a16="http://schemas.microsoft.com/office/drawing/2014/main" id="{7EBFA654-5CE6-4EDF-AE3B-38C82C9FDD30}"/>
                </a:ext>
              </a:extLst>
            </p:cNvPr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5448294" y="2439969"/>
              <a:ext cx="331788" cy="290510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0" name="Freeform 261">
              <a:extLst>
                <a:ext uri="{FF2B5EF4-FFF2-40B4-BE49-F238E27FC236}">
                  <a16:creationId xmlns:a16="http://schemas.microsoft.com/office/drawing/2014/main" id="{6D15D7C1-7DD9-462A-A4AD-7DFCDDDF2CD2}"/>
                </a:ext>
              </a:extLst>
            </p:cNvPr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480043" y="2489180"/>
              <a:ext cx="365124" cy="423860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1" name="Freeform 262">
              <a:extLst>
                <a:ext uri="{FF2B5EF4-FFF2-40B4-BE49-F238E27FC236}">
                  <a16:creationId xmlns:a16="http://schemas.microsoft.com/office/drawing/2014/main" id="{108D5856-5662-4B00-A717-988C0FEF77C4}"/>
                </a:ext>
              </a:extLst>
            </p:cNvPr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6270617" y="2757466"/>
              <a:ext cx="220663" cy="585782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2" name="Freeform 263">
              <a:extLst>
                <a:ext uri="{FF2B5EF4-FFF2-40B4-BE49-F238E27FC236}">
                  <a16:creationId xmlns:a16="http://schemas.microsoft.com/office/drawing/2014/main" id="{5608275B-38E4-41D1-8A5C-89AEB44AF425}"/>
                </a:ext>
              </a:extLst>
            </p:cNvPr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594096" y="3267049"/>
              <a:ext cx="80963" cy="58738"/>
            </a:xfrm>
            <a:custGeom>
              <a:avLst/>
              <a:gdLst>
                <a:gd name="T0" fmla="*/ 80963 w 180"/>
                <a:gd name="T1" fmla="*/ 3671 h 112"/>
                <a:gd name="T2" fmla="*/ 76915 w 180"/>
                <a:gd name="T3" fmla="*/ 12587 h 112"/>
                <a:gd name="T4" fmla="*/ 73316 w 180"/>
                <a:gd name="T5" fmla="*/ 20453 h 112"/>
                <a:gd name="T6" fmla="*/ 68369 w 180"/>
                <a:gd name="T7" fmla="*/ 27796 h 112"/>
                <a:gd name="T8" fmla="*/ 63421 w 180"/>
                <a:gd name="T9" fmla="*/ 34613 h 112"/>
                <a:gd name="T10" fmla="*/ 58023 w 180"/>
                <a:gd name="T11" fmla="*/ 41956 h 112"/>
                <a:gd name="T12" fmla="*/ 51726 w 180"/>
                <a:gd name="T13" fmla="*/ 48249 h 112"/>
                <a:gd name="T14" fmla="*/ 45429 w 180"/>
                <a:gd name="T15" fmla="*/ 53494 h 112"/>
                <a:gd name="T16" fmla="*/ 39132 w 180"/>
                <a:gd name="T17" fmla="*/ 58738 h 112"/>
                <a:gd name="T18" fmla="*/ 36883 w 180"/>
                <a:gd name="T19" fmla="*/ 56116 h 112"/>
                <a:gd name="T20" fmla="*/ 35534 w 180"/>
                <a:gd name="T21" fmla="*/ 52969 h 112"/>
                <a:gd name="T22" fmla="*/ 34184 w 180"/>
                <a:gd name="T23" fmla="*/ 49822 h 112"/>
                <a:gd name="T24" fmla="*/ 33285 w 180"/>
                <a:gd name="T25" fmla="*/ 46151 h 112"/>
                <a:gd name="T26" fmla="*/ 31486 w 180"/>
                <a:gd name="T27" fmla="*/ 42480 h 112"/>
                <a:gd name="T28" fmla="*/ 30586 w 180"/>
                <a:gd name="T29" fmla="*/ 38809 h 112"/>
                <a:gd name="T30" fmla="*/ 29237 w 180"/>
                <a:gd name="T31" fmla="*/ 36187 h 112"/>
                <a:gd name="T32" fmla="*/ 26988 w 180"/>
                <a:gd name="T33" fmla="*/ 33040 h 112"/>
                <a:gd name="T34" fmla="*/ 20241 w 180"/>
                <a:gd name="T35" fmla="*/ 25173 h 112"/>
                <a:gd name="T36" fmla="*/ 16193 w 180"/>
                <a:gd name="T37" fmla="*/ 19929 h 112"/>
                <a:gd name="T38" fmla="*/ 13494 w 180"/>
                <a:gd name="T39" fmla="*/ 17307 h 112"/>
                <a:gd name="T40" fmla="*/ 11245 w 180"/>
                <a:gd name="T41" fmla="*/ 16258 h 112"/>
                <a:gd name="T42" fmla="*/ 8096 w 180"/>
                <a:gd name="T43" fmla="*/ 15733 h 112"/>
                <a:gd name="T44" fmla="*/ 0 w 180"/>
                <a:gd name="T45" fmla="*/ 13636 h 112"/>
                <a:gd name="T46" fmla="*/ 11695 w 180"/>
                <a:gd name="T47" fmla="*/ 7342 h 112"/>
                <a:gd name="T48" fmla="*/ 18442 w 180"/>
                <a:gd name="T49" fmla="*/ 4720 h 112"/>
                <a:gd name="T50" fmla="*/ 25188 w 180"/>
                <a:gd name="T51" fmla="*/ 2622 h 112"/>
                <a:gd name="T52" fmla="*/ 33285 w 180"/>
                <a:gd name="T53" fmla="*/ 1573 h 112"/>
                <a:gd name="T54" fmla="*/ 41831 w 180"/>
                <a:gd name="T55" fmla="*/ 524 h 112"/>
                <a:gd name="T56" fmla="*/ 51277 w 180"/>
                <a:gd name="T57" fmla="*/ 0 h 112"/>
                <a:gd name="T58" fmla="*/ 60722 w 180"/>
                <a:gd name="T59" fmla="*/ 524 h 112"/>
                <a:gd name="T60" fmla="*/ 70618 w 180"/>
                <a:gd name="T61" fmla="*/ 1573 h 112"/>
                <a:gd name="T62" fmla="*/ 80963 w 180"/>
                <a:gd name="T63" fmla="*/ 3671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3" name="Freeform 264">
              <a:extLst>
                <a:ext uri="{FF2B5EF4-FFF2-40B4-BE49-F238E27FC236}">
                  <a16:creationId xmlns:a16="http://schemas.microsoft.com/office/drawing/2014/main" id="{7F3F3DB5-BCFA-4CEE-B116-BA5650A23FAB}"/>
                </a:ext>
              </a:extLst>
            </p:cNvPr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3678233" y="3349599"/>
              <a:ext cx="74612" cy="100012"/>
            </a:xfrm>
            <a:custGeom>
              <a:avLst/>
              <a:gdLst>
                <a:gd name="T0" fmla="*/ 0 w 173"/>
                <a:gd name="T1" fmla="*/ 35421 h 192"/>
                <a:gd name="T2" fmla="*/ 11645 w 173"/>
                <a:gd name="T3" fmla="*/ 21878 h 192"/>
                <a:gd name="T4" fmla="*/ 21995 w 173"/>
                <a:gd name="T5" fmla="*/ 10939 h 192"/>
                <a:gd name="T6" fmla="*/ 24152 w 173"/>
                <a:gd name="T7" fmla="*/ 8334 h 192"/>
                <a:gd name="T8" fmla="*/ 27171 w 173"/>
                <a:gd name="T9" fmla="*/ 6251 h 192"/>
                <a:gd name="T10" fmla="*/ 30190 w 173"/>
                <a:gd name="T11" fmla="*/ 4167 h 192"/>
                <a:gd name="T12" fmla="*/ 32778 w 173"/>
                <a:gd name="T13" fmla="*/ 3125 h 192"/>
                <a:gd name="T14" fmla="*/ 35797 w 173"/>
                <a:gd name="T15" fmla="*/ 1563 h 192"/>
                <a:gd name="T16" fmla="*/ 38815 w 173"/>
                <a:gd name="T17" fmla="*/ 1042 h 192"/>
                <a:gd name="T18" fmla="*/ 42266 w 173"/>
                <a:gd name="T19" fmla="*/ 521 h 192"/>
                <a:gd name="T20" fmla="*/ 46147 w 173"/>
                <a:gd name="T21" fmla="*/ 0 h 192"/>
                <a:gd name="T22" fmla="*/ 50029 w 173"/>
                <a:gd name="T23" fmla="*/ 521 h 192"/>
                <a:gd name="T24" fmla="*/ 53479 w 173"/>
                <a:gd name="T25" fmla="*/ 1042 h 192"/>
                <a:gd name="T26" fmla="*/ 56929 w 173"/>
                <a:gd name="T27" fmla="*/ 2605 h 192"/>
                <a:gd name="T28" fmla="*/ 59948 w 173"/>
                <a:gd name="T29" fmla="*/ 4167 h 192"/>
                <a:gd name="T30" fmla="*/ 62536 w 173"/>
                <a:gd name="T31" fmla="*/ 6772 h 192"/>
                <a:gd name="T32" fmla="*/ 65124 w 173"/>
                <a:gd name="T33" fmla="*/ 9897 h 192"/>
                <a:gd name="T34" fmla="*/ 66849 w 173"/>
                <a:gd name="T35" fmla="*/ 12502 h 192"/>
                <a:gd name="T36" fmla="*/ 69005 w 173"/>
                <a:gd name="T37" fmla="*/ 15627 h 192"/>
                <a:gd name="T38" fmla="*/ 70299 w 173"/>
                <a:gd name="T39" fmla="*/ 19273 h 192"/>
                <a:gd name="T40" fmla="*/ 71593 w 173"/>
                <a:gd name="T41" fmla="*/ 22399 h 192"/>
                <a:gd name="T42" fmla="*/ 72456 w 173"/>
                <a:gd name="T43" fmla="*/ 26045 h 192"/>
                <a:gd name="T44" fmla="*/ 72887 w 173"/>
                <a:gd name="T45" fmla="*/ 29691 h 192"/>
                <a:gd name="T46" fmla="*/ 74181 w 173"/>
                <a:gd name="T47" fmla="*/ 37505 h 192"/>
                <a:gd name="T48" fmla="*/ 74612 w 173"/>
                <a:gd name="T49" fmla="*/ 45318 h 192"/>
                <a:gd name="T50" fmla="*/ 67711 w 173"/>
                <a:gd name="T51" fmla="*/ 59383 h 192"/>
                <a:gd name="T52" fmla="*/ 62967 w 173"/>
                <a:gd name="T53" fmla="*/ 71363 h 192"/>
                <a:gd name="T54" fmla="*/ 59948 w 173"/>
                <a:gd name="T55" fmla="*/ 77093 h 192"/>
                <a:gd name="T56" fmla="*/ 56067 w 173"/>
                <a:gd name="T57" fmla="*/ 83344 h 192"/>
                <a:gd name="T58" fmla="*/ 50460 w 173"/>
                <a:gd name="T59" fmla="*/ 90637 h 192"/>
                <a:gd name="T60" fmla="*/ 42697 w 173"/>
                <a:gd name="T61" fmla="*/ 100013 h 192"/>
                <a:gd name="T62" fmla="*/ 37090 w 173"/>
                <a:gd name="T63" fmla="*/ 95325 h 192"/>
                <a:gd name="T64" fmla="*/ 31915 w 173"/>
                <a:gd name="T65" fmla="*/ 91679 h 192"/>
                <a:gd name="T66" fmla="*/ 27171 w 173"/>
                <a:gd name="T67" fmla="*/ 88032 h 192"/>
                <a:gd name="T68" fmla="*/ 23289 w 173"/>
                <a:gd name="T69" fmla="*/ 84907 h 192"/>
                <a:gd name="T70" fmla="*/ 19839 w 173"/>
                <a:gd name="T71" fmla="*/ 81261 h 192"/>
                <a:gd name="T72" fmla="*/ 17251 w 173"/>
                <a:gd name="T73" fmla="*/ 78135 h 192"/>
                <a:gd name="T74" fmla="*/ 14664 w 173"/>
                <a:gd name="T75" fmla="*/ 75010 h 192"/>
                <a:gd name="T76" fmla="*/ 12938 w 173"/>
                <a:gd name="T77" fmla="*/ 71363 h 192"/>
                <a:gd name="T78" fmla="*/ 9488 w 173"/>
                <a:gd name="T79" fmla="*/ 64071 h 192"/>
                <a:gd name="T80" fmla="*/ 6901 w 173"/>
                <a:gd name="T81" fmla="*/ 55736 h 192"/>
                <a:gd name="T82" fmla="*/ 3882 w 173"/>
                <a:gd name="T83" fmla="*/ 46881 h 192"/>
                <a:gd name="T84" fmla="*/ 0 w 173"/>
                <a:gd name="T85" fmla="*/ 35421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4" name="Freeform 265">
              <a:extLst>
                <a:ext uri="{FF2B5EF4-FFF2-40B4-BE49-F238E27FC236}">
                  <a16:creationId xmlns:a16="http://schemas.microsoft.com/office/drawing/2014/main" id="{58AB29D5-2E5C-4171-BEF7-0175DF875AA7}"/>
                </a:ext>
              </a:extLst>
            </p:cNvPr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3721095" y="3400398"/>
              <a:ext cx="104775" cy="131762"/>
            </a:xfrm>
            <a:custGeom>
              <a:avLst/>
              <a:gdLst>
                <a:gd name="T0" fmla="*/ 33276 w 233"/>
                <a:gd name="T1" fmla="*/ 0 h 252"/>
                <a:gd name="T2" fmla="*/ 37323 w 233"/>
                <a:gd name="T3" fmla="*/ 1046 h 252"/>
                <a:gd name="T4" fmla="*/ 40021 w 233"/>
                <a:gd name="T5" fmla="*/ 1569 h 252"/>
                <a:gd name="T6" fmla="*/ 42719 w 233"/>
                <a:gd name="T7" fmla="*/ 1569 h 252"/>
                <a:gd name="T8" fmla="*/ 44518 w 233"/>
                <a:gd name="T9" fmla="*/ 1046 h 252"/>
                <a:gd name="T10" fmla="*/ 47666 w 233"/>
                <a:gd name="T11" fmla="*/ 523 h 252"/>
                <a:gd name="T12" fmla="*/ 50814 w 233"/>
                <a:gd name="T13" fmla="*/ 0 h 252"/>
                <a:gd name="T14" fmla="*/ 56210 w 233"/>
                <a:gd name="T15" fmla="*/ 8889 h 252"/>
                <a:gd name="T16" fmla="*/ 62955 w 233"/>
                <a:gd name="T17" fmla="*/ 19346 h 252"/>
                <a:gd name="T18" fmla="*/ 64754 w 233"/>
                <a:gd name="T19" fmla="*/ 21961 h 252"/>
                <a:gd name="T20" fmla="*/ 66552 w 233"/>
                <a:gd name="T21" fmla="*/ 24052 h 252"/>
                <a:gd name="T22" fmla="*/ 68801 w 233"/>
                <a:gd name="T23" fmla="*/ 25621 h 252"/>
                <a:gd name="T24" fmla="*/ 70599 w 233"/>
                <a:gd name="T25" fmla="*/ 27189 h 252"/>
                <a:gd name="T26" fmla="*/ 73298 w 233"/>
                <a:gd name="T27" fmla="*/ 28235 h 252"/>
                <a:gd name="T28" fmla="*/ 75546 w 233"/>
                <a:gd name="T29" fmla="*/ 29281 h 252"/>
                <a:gd name="T30" fmla="*/ 78244 w 233"/>
                <a:gd name="T31" fmla="*/ 29281 h 252"/>
                <a:gd name="T32" fmla="*/ 80942 w 233"/>
                <a:gd name="T33" fmla="*/ 29281 h 252"/>
                <a:gd name="T34" fmla="*/ 80942 w 233"/>
                <a:gd name="T35" fmla="*/ 41830 h 252"/>
                <a:gd name="T36" fmla="*/ 86788 w 233"/>
                <a:gd name="T37" fmla="*/ 53856 h 252"/>
                <a:gd name="T38" fmla="*/ 95332 w 233"/>
                <a:gd name="T39" fmla="*/ 66927 h 252"/>
                <a:gd name="T40" fmla="*/ 96681 w 233"/>
                <a:gd name="T41" fmla="*/ 70587 h 252"/>
                <a:gd name="T42" fmla="*/ 98929 w 233"/>
                <a:gd name="T43" fmla="*/ 74247 h 252"/>
                <a:gd name="T44" fmla="*/ 100278 w 233"/>
                <a:gd name="T45" fmla="*/ 78953 h 252"/>
                <a:gd name="T46" fmla="*/ 101627 w 233"/>
                <a:gd name="T47" fmla="*/ 83659 h 252"/>
                <a:gd name="T48" fmla="*/ 103426 w 233"/>
                <a:gd name="T49" fmla="*/ 88888 h 252"/>
                <a:gd name="T50" fmla="*/ 104325 w 233"/>
                <a:gd name="T51" fmla="*/ 94116 h 252"/>
                <a:gd name="T52" fmla="*/ 104775 w 233"/>
                <a:gd name="T53" fmla="*/ 99868 h 252"/>
                <a:gd name="T54" fmla="*/ 104775 w 233"/>
                <a:gd name="T55" fmla="*/ 106665 h 252"/>
                <a:gd name="T56" fmla="*/ 104325 w 233"/>
                <a:gd name="T57" fmla="*/ 112940 h 252"/>
                <a:gd name="T58" fmla="*/ 103426 w 233"/>
                <a:gd name="T59" fmla="*/ 119214 h 252"/>
                <a:gd name="T60" fmla="*/ 102077 w 233"/>
                <a:gd name="T61" fmla="*/ 125489 h 252"/>
                <a:gd name="T62" fmla="*/ 101627 w 233"/>
                <a:gd name="T63" fmla="*/ 131763 h 252"/>
                <a:gd name="T64" fmla="*/ 99829 w 233"/>
                <a:gd name="T65" fmla="*/ 131763 h 252"/>
                <a:gd name="T66" fmla="*/ 96681 w 233"/>
                <a:gd name="T67" fmla="*/ 130717 h 252"/>
                <a:gd name="T68" fmla="*/ 93533 w 233"/>
                <a:gd name="T69" fmla="*/ 128626 h 252"/>
                <a:gd name="T70" fmla="*/ 89036 w 233"/>
                <a:gd name="T71" fmla="*/ 126011 h 252"/>
                <a:gd name="T72" fmla="*/ 79143 w 233"/>
                <a:gd name="T73" fmla="*/ 118168 h 252"/>
                <a:gd name="T74" fmla="*/ 67901 w 233"/>
                <a:gd name="T75" fmla="*/ 108757 h 252"/>
                <a:gd name="T76" fmla="*/ 56210 w 233"/>
                <a:gd name="T77" fmla="*/ 97254 h 252"/>
                <a:gd name="T78" fmla="*/ 44968 w 233"/>
                <a:gd name="T79" fmla="*/ 86273 h 252"/>
                <a:gd name="T80" fmla="*/ 35075 w 233"/>
                <a:gd name="T81" fmla="*/ 75816 h 252"/>
                <a:gd name="T82" fmla="*/ 27430 w 233"/>
                <a:gd name="T83" fmla="*/ 67450 h 252"/>
                <a:gd name="T84" fmla="*/ 24732 w 233"/>
                <a:gd name="T85" fmla="*/ 65359 h 252"/>
                <a:gd name="T86" fmla="*/ 21585 w 233"/>
                <a:gd name="T87" fmla="*/ 62744 h 252"/>
                <a:gd name="T88" fmla="*/ 18437 w 233"/>
                <a:gd name="T89" fmla="*/ 60653 h 252"/>
                <a:gd name="T90" fmla="*/ 14839 w 233"/>
                <a:gd name="T91" fmla="*/ 58561 h 252"/>
                <a:gd name="T92" fmla="*/ 7645 w 233"/>
                <a:gd name="T93" fmla="*/ 54378 h 252"/>
                <a:gd name="T94" fmla="*/ 0 w 233"/>
                <a:gd name="T95" fmla="*/ 51764 h 252"/>
                <a:gd name="T96" fmla="*/ 17987 w 233"/>
                <a:gd name="T97" fmla="*/ 32941 h 252"/>
                <a:gd name="T98" fmla="*/ 26531 w 233"/>
                <a:gd name="T99" fmla="*/ 22483 h 252"/>
                <a:gd name="T100" fmla="*/ 29229 w 233"/>
                <a:gd name="T101" fmla="*/ 17255 h 252"/>
                <a:gd name="T102" fmla="*/ 31028 w 233"/>
                <a:gd name="T103" fmla="*/ 13072 h 252"/>
                <a:gd name="T104" fmla="*/ 32377 w 233"/>
                <a:gd name="T105" fmla="*/ 7320 h 252"/>
                <a:gd name="T106" fmla="*/ 33276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5" name="Freeform 266">
              <a:extLst>
                <a:ext uri="{FF2B5EF4-FFF2-40B4-BE49-F238E27FC236}">
                  <a16:creationId xmlns:a16="http://schemas.microsoft.com/office/drawing/2014/main" id="{0A28A789-EA06-40E8-B6FF-0D37DCE28586}"/>
                </a:ext>
              </a:extLst>
            </p:cNvPr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3935408" y="3319437"/>
              <a:ext cx="104775" cy="201610"/>
            </a:xfrm>
            <a:custGeom>
              <a:avLst/>
              <a:gdLst>
                <a:gd name="T0" fmla="*/ 5537 w 246"/>
                <a:gd name="T1" fmla="*/ 199490 h 380"/>
                <a:gd name="T2" fmla="*/ 5963 w 246"/>
                <a:gd name="T3" fmla="*/ 194715 h 380"/>
                <a:gd name="T4" fmla="*/ 6389 w 246"/>
                <a:gd name="T5" fmla="*/ 190470 h 380"/>
                <a:gd name="T6" fmla="*/ 7666 w 246"/>
                <a:gd name="T7" fmla="*/ 186226 h 380"/>
                <a:gd name="T8" fmla="*/ 8518 w 246"/>
                <a:gd name="T9" fmla="*/ 182512 h 380"/>
                <a:gd name="T10" fmla="*/ 10648 w 246"/>
                <a:gd name="T11" fmla="*/ 176676 h 380"/>
                <a:gd name="T12" fmla="*/ 11074 w 246"/>
                <a:gd name="T13" fmla="*/ 173492 h 380"/>
                <a:gd name="T14" fmla="*/ 10648 w 246"/>
                <a:gd name="T15" fmla="*/ 170309 h 380"/>
                <a:gd name="T16" fmla="*/ 9796 w 246"/>
                <a:gd name="T17" fmla="*/ 166595 h 380"/>
                <a:gd name="T18" fmla="*/ 8092 w 246"/>
                <a:gd name="T19" fmla="*/ 161820 h 380"/>
                <a:gd name="T20" fmla="*/ 5537 w 246"/>
                <a:gd name="T21" fmla="*/ 156515 h 380"/>
                <a:gd name="T22" fmla="*/ 3833 w 246"/>
                <a:gd name="T23" fmla="*/ 151209 h 380"/>
                <a:gd name="T24" fmla="*/ 1704 w 246"/>
                <a:gd name="T25" fmla="*/ 145903 h 380"/>
                <a:gd name="T26" fmla="*/ 426 w 246"/>
                <a:gd name="T27" fmla="*/ 141659 h 380"/>
                <a:gd name="T28" fmla="*/ 0 w 246"/>
                <a:gd name="T29" fmla="*/ 137414 h 380"/>
                <a:gd name="T30" fmla="*/ 426 w 246"/>
                <a:gd name="T31" fmla="*/ 133170 h 380"/>
                <a:gd name="T32" fmla="*/ 852 w 246"/>
                <a:gd name="T33" fmla="*/ 128926 h 380"/>
                <a:gd name="T34" fmla="*/ 1278 w 246"/>
                <a:gd name="T35" fmla="*/ 125212 h 380"/>
                <a:gd name="T36" fmla="*/ 2555 w 246"/>
                <a:gd name="T37" fmla="*/ 122028 h 380"/>
                <a:gd name="T38" fmla="*/ 4685 w 246"/>
                <a:gd name="T39" fmla="*/ 115662 h 380"/>
                <a:gd name="T40" fmla="*/ 8092 w 246"/>
                <a:gd name="T41" fmla="*/ 109825 h 380"/>
                <a:gd name="T42" fmla="*/ 11074 w 246"/>
                <a:gd name="T43" fmla="*/ 104520 h 380"/>
                <a:gd name="T44" fmla="*/ 14481 w 246"/>
                <a:gd name="T45" fmla="*/ 98153 h 380"/>
                <a:gd name="T46" fmla="*/ 17463 w 246"/>
                <a:gd name="T47" fmla="*/ 91787 h 380"/>
                <a:gd name="T48" fmla="*/ 20018 w 246"/>
                <a:gd name="T49" fmla="*/ 84889 h 380"/>
                <a:gd name="T50" fmla="*/ 11074 w 246"/>
                <a:gd name="T51" fmla="*/ 38731 h 380"/>
                <a:gd name="T52" fmla="*/ 11074 w 246"/>
                <a:gd name="T53" fmla="*/ 26528 h 380"/>
                <a:gd name="T54" fmla="*/ 10222 w 246"/>
                <a:gd name="T55" fmla="*/ 17508 h 380"/>
                <a:gd name="T56" fmla="*/ 10222 w 246"/>
                <a:gd name="T57" fmla="*/ 13264 h 380"/>
                <a:gd name="T58" fmla="*/ 10222 w 246"/>
                <a:gd name="T59" fmla="*/ 8489 h 380"/>
                <a:gd name="T60" fmla="*/ 10648 w 246"/>
                <a:gd name="T61" fmla="*/ 4244 h 380"/>
                <a:gd name="T62" fmla="*/ 11074 w 246"/>
                <a:gd name="T63" fmla="*/ 0 h 380"/>
                <a:gd name="T64" fmla="*/ 76665 w 246"/>
                <a:gd name="T65" fmla="*/ 0 h 380"/>
                <a:gd name="T66" fmla="*/ 93701 w 246"/>
                <a:gd name="T67" fmla="*/ 68442 h 380"/>
                <a:gd name="T68" fmla="*/ 93701 w 246"/>
                <a:gd name="T69" fmla="*/ 111417 h 380"/>
                <a:gd name="T70" fmla="*/ 93701 w 246"/>
                <a:gd name="T71" fmla="*/ 116723 h 380"/>
                <a:gd name="T72" fmla="*/ 94127 w 246"/>
                <a:gd name="T73" fmla="*/ 122028 h 380"/>
                <a:gd name="T74" fmla="*/ 94979 w 246"/>
                <a:gd name="T75" fmla="*/ 127334 h 380"/>
                <a:gd name="T76" fmla="*/ 95831 w 246"/>
                <a:gd name="T77" fmla="*/ 132639 h 380"/>
                <a:gd name="T78" fmla="*/ 97109 w 246"/>
                <a:gd name="T79" fmla="*/ 137414 h 380"/>
                <a:gd name="T80" fmla="*/ 99664 w 246"/>
                <a:gd name="T81" fmla="*/ 142190 h 380"/>
                <a:gd name="T82" fmla="*/ 101794 w 246"/>
                <a:gd name="T83" fmla="*/ 147495 h 380"/>
                <a:gd name="T84" fmla="*/ 104775 w 246"/>
                <a:gd name="T85" fmla="*/ 153331 h 380"/>
                <a:gd name="T86" fmla="*/ 95405 w 246"/>
                <a:gd name="T87" fmla="*/ 156515 h 380"/>
                <a:gd name="T88" fmla="*/ 86035 w 246"/>
                <a:gd name="T89" fmla="*/ 160228 h 380"/>
                <a:gd name="T90" fmla="*/ 77091 w 246"/>
                <a:gd name="T91" fmla="*/ 164473 h 380"/>
                <a:gd name="T92" fmla="*/ 68146 w 246"/>
                <a:gd name="T93" fmla="*/ 169248 h 380"/>
                <a:gd name="T94" fmla="*/ 60054 w 246"/>
                <a:gd name="T95" fmla="*/ 174023 h 380"/>
                <a:gd name="T96" fmla="*/ 51110 w 246"/>
                <a:gd name="T97" fmla="*/ 179329 h 380"/>
                <a:gd name="T98" fmla="*/ 42591 w 246"/>
                <a:gd name="T99" fmla="*/ 184104 h 380"/>
                <a:gd name="T100" fmla="*/ 34073 w 246"/>
                <a:gd name="T101" fmla="*/ 189940 h 380"/>
                <a:gd name="T102" fmla="*/ 31944 w 246"/>
                <a:gd name="T103" fmla="*/ 192593 h 380"/>
                <a:gd name="T104" fmla="*/ 29388 w 246"/>
                <a:gd name="T105" fmla="*/ 194715 h 380"/>
                <a:gd name="T106" fmla="*/ 26407 w 246"/>
                <a:gd name="T107" fmla="*/ 197368 h 380"/>
                <a:gd name="T108" fmla="*/ 22999 w 246"/>
                <a:gd name="T109" fmla="*/ 199490 h 380"/>
                <a:gd name="T110" fmla="*/ 19592 w 246"/>
                <a:gd name="T111" fmla="*/ 201081 h 380"/>
                <a:gd name="T112" fmla="*/ 15333 w 246"/>
                <a:gd name="T113" fmla="*/ 201612 h 380"/>
                <a:gd name="T114" fmla="*/ 13203 w 246"/>
                <a:gd name="T115" fmla="*/ 201612 h 380"/>
                <a:gd name="T116" fmla="*/ 10648 w 246"/>
                <a:gd name="T117" fmla="*/ 201081 h 380"/>
                <a:gd name="T118" fmla="*/ 8518 w 246"/>
                <a:gd name="T119" fmla="*/ 200551 h 380"/>
                <a:gd name="T120" fmla="*/ 5537 w 246"/>
                <a:gd name="T121" fmla="*/ 199490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6" name="Freeform 267">
              <a:extLst>
                <a:ext uri="{FF2B5EF4-FFF2-40B4-BE49-F238E27FC236}">
                  <a16:creationId xmlns:a16="http://schemas.microsoft.com/office/drawing/2014/main" id="{231C6BE9-2AFA-4F36-B1D8-639F1A7147DA}"/>
                </a:ext>
              </a:extLst>
            </p:cNvPr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3587745" y="3235300"/>
              <a:ext cx="87313" cy="58738"/>
            </a:xfrm>
            <a:custGeom>
              <a:avLst/>
              <a:gdLst>
                <a:gd name="T0" fmla="*/ 3167 w 193"/>
                <a:gd name="T1" fmla="*/ 30915 h 38"/>
                <a:gd name="T2" fmla="*/ 17191 w 193"/>
                <a:gd name="T3" fmla="*/ 17003 h 38"/>
                <a:gd name="T4" fmla="*/ 30311 w 193"/>
                <a:gd name="T5" fmla="*/ 7729 h 38"/>
                <a:gd name="T6" fmla="*/ 36192 w 193"/>
                <a:gd name="T7" fmla="*/ 4637 h 38"/>
                <a:gd name="T8" fmla="*/ 42526 w 193"/>
                <a:gd name="T9" fmla="*/ 3091 h 38"/>
                <a:gd name="T10" fmla="*/ 49764 w 193"/>
                <a:gd name="T11" fmla="*/ 1546 h 38"/>
                <a:gd name="T12" fmla="*/ 57002 w 193"/>
                <a:gd name="T13" fmla="*/ 0 h 38"/>
                <a:gd name="T14" fmla="*/ 62431 w 193"/>
                <a:gd name="T15" fmla="*/ 1546 h 38"/>
                <a:gd name="T16" fmla="*/ 67407 w 193"/>
                <a:gd name="T17" fmla="*/ 1546 h 38"/>
                <a:gd name="T18" fmla="*/ 72384 w 193"/>
                <a:gd name="T19" fmla="*/ 3091 h 38"/>
                <a:gd name="T20" fmla="*/ 76455 w 193"/>
                <a:gd name="T21" fmla="*/ 6183 h 38"/>
                <a:gd name="T22" fmla="*/ 80527 w 193"/>
                <a:gd name="T23" fmla="*/ 9274 h 38"/>
                <a:gd name="T24" fmla="*/ 83241 w 193"/>
                <a:gd name="T25" fmla="*/ 17003 h 38"/>
                <a:gd name="T26" fmla="*/ 84599 w 193"/>
                <a:gd name="T27" fmla="*/ 20095 h 38"/>
                <a:gd name="T28" fmla="*/ 85503 w 193"/>
                <a:gd name="T29" fmla="*/ 27823 h 38"/>
                <a:gd name="T30" fmla="*/ 86408 w 193"/>
                <a:gd name="T31" fmla="*/ 32460 h 38"/>
                <a:gd name="T32" fmla="*/ 87313 w 193"/>
                <a:gd name="T33" fmla="*/ 40189 h 38"/>
                <a:gd name="T34" fmla="*/ 82789 w 193"/>
                <a:gd name="T35" fmla="*/ 41735 h 38"/>
                <a:gd name="T36" fmla="*/ 78265 w 193"/>
                <a:gd name="T37" fmla="*/ 43281 h 38"/>
                <a:gd name="T38" fmla="*/ 74646 w 193"/>
                <a:gd name="T39" fmla="*/ 43281 h 38"/>
                <a:gd name="T40" fmla="*/ 70574 w 193"/>
                <a:gd name="T41" fmla="*/ 43281 h 38"/>
                <a:gd name="T42" fmla="*/ 62431 w 193"/>
                <a:gd name="T43" fmla="*/ 41735 h 38"/>
                <a:gd name="T44" fmla="*/ 54288 w 193"/>
                <a:gd name="T45" fmla="*/ 40189 h 38"/>
                <a:gd name="T46" fmla="*/ 46597 w 193"/>
                <a:gd name="T47" fmla="*/ 40189 h 38"/>
                <a:gd name="T48" fmla="*/ 40264 w 193"/>
                <a:gd name="T49" fmla="*/ 43281 h 38"/>
                <a:gd name="T50" fmla="*/ 34382 w 193"/>
                <a:gd name="T51" fmla="*/ 46372 h 38"/>
                <a:gd name="T52" fmla="*/ 28501 w 193"/>
                <a:gd name="T53" fmla="*/ 49464 h 38"/>
                <a:gd name="T54" fmla="*/ 22168 w 193"/>
                <a:gd name="T55" fmla="*/ 52555 h 38"/>
                <a:gd name="T56" fmla="*/ 15834 w 193"/>
                <a:gd name="T57" fmla="*/ 55647 h 38"/>
                <a:gd name="T58" fmla="*/ 8596 w 193"/>
                <a:gd name="T59" fmla="*/ 57192 h 38"/>
                <a:gd name="T60" fmla="*/ 0 w 193"/>
                <a:gd name="T61" fmla="*/ 58738 h 38"/>
                <a:gd name="T62" fmla="*/ 0 w 193"/>
                <a:gd name="T63" fmla="*/ 51009 h 38"/>
                <a:gd name="T64" fmla="*/ 452 w 193"/>
                <a:gd name="T65" fmla="*/ 44826 h 38"/>
                <a:gd name="T66" fmla="*/ 1357 w 193"/>
                <a:gd name="T67" fmla="*/ 37098 h 38"/>
                <a:gd name="T68" fmla="*/ 3167 w 193"/>
                <a:gd name="T69" fmla="*/ 30915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7" name="Freeform 268">
              <a:extLst>
                <a:ext uri="{FF2B5EF4-FFF2-40B4-BE49-F238E27FC236}">
                  <a16:creationId xmlns:a16="http://schemas.microsoft.com/office/drawing/2014/main" id="{557316EC-5A27-449B-93F7-9F83A37149E1}"/>
                </a:ext>
              </a:extLst>
            </p:cNvPr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4013195" y="3313087"/>
              <a:ext cx="42863" cy="155574"/>
            </a:xfrm>
            <a:custGeom>
              <a:avLst/>
              <a:gdLst>
                <a:gd name="T0" fmla="*/ 22947 w 99"/>
                <a:gd name="T1" fmla="*/ 6202 h 301"/>
                <a:gd name="T2" fmla="*/ 25545 w 99"/>
                <a:gd name="T3" fmla="*/ 6202 h 301"/>
                <a:gd name="T4" fmla="*/ 25545 w 99"/>
                <a:gd name="T5" fmla="*/ 9820 h 301"/>
                <a:gd name="T6" fmla="*/ 26843 w 99"/>
                <a:gd name="T7" fmla="*/ 13438 h 301"/>
                <a:gd name="T8" fmla="*/ 27276 w 99"/>
                <a:gd name="T9" fmla="*/ 17056 h 301"/>
                <a:gd name="T10" fmla="*/ 28575 w 99"/>
                <a:gd name="T11" fmla="*/ 21708 h 301"/>
                <a:gd name="T12" fmla="*/ 31173 w 99"/>
                <a:gd name="T13" fmla="*/ 29978 h 301"/>
                <a:gd name="T14" fmla="*/ 34204 w 99"/>
                <a:gd name="T15" fmla="*/ 38765 h 301"/>
                <a:gd name="T16" fmla="*/ 37667 w 99"/>
                <a:gd name="T17" fmla="*/ 48068 h 301"/>
                <a:gd name="T18" fmla="*/ 40265 w 99"/>
                <a:gd name="T19" fmla="*/ 57372 h 301"/>
                <a:gd name="T20" fmla="*/ 41564 w 99"/>
                <a:gd name="T21" fmla="*/ 62023 h 301"/>
                <a:gd name="T22" fmla="*/ 42430 w 99"/>
                <a:gd name="T23" fmla="*/ 66675 h 301"/>
                <a:gd name="T24" fmla="*/ 42863 w 99"/>
                <a:gd name="T25" fmla="*/ 71327 h 301"/>
                <a:gd name="T26" fmla="*/ 42863 w 99"/>
                <a:gd name="T27" fmla="*/ 76495 h 301"/>
                <a:gd name="T28" fmla="*/ 42863 w 99"/>
                <a:gd name="T29" fmla="*/ 149373 h 301"/>
                <a:gd name="T30" fmla="*/ 38533 w 99"/>
                <a:gd name="T31" fmla="*/ 149890 h 301"/>
                <a:gd name="T32" fmla="*/ 34637 w 99"/>
                <a:gd name="T33" fmla="*/ 151440 h 301"/>
                <a:gd name="T34" fmla="*/ 31606 w 99"/>
                <a:gd name="T35" fmla="*/ 153508 h 301"/>
                <a:gd name="T36" fmla="*/ 28575 w 99"/>
                <a:gd name="T37" fmla="*/ 155575 h 301"/>
                <a:gd name="T38" fmla="*/ 25545 w 99"/>
                <a:gd name="T39" fmla="*/ 149890 h 301"/>
                <a:gd name="T40" fmla="*/ 23380 w 99"/>
                <a:gd name="T41" fmla="*/ 144721 h 301"/>
                <a:gd name="T42" fmla="*/ 20782 w 99"/>
                <a:gd name="T43" fmla="*/ 140069 h 301"/>
                <a:gd name="T44" fmla="*/ 19483 w 99"/>
                <a:gd name="T45" fmla="*/ 135417 h 301"/>
                <a:gd name="T46" fmla="*/ 18617 w 99"/>
                <a:gd name="T47" fmla="*/ 130249 h 301"/>
                <a:gd name="T48" fmla="*/ 17751 w 99"/>
                <a:gd name="T49" fmla="*/ 125080 h 301"/>
                <a:gd name="T50" fmla="*/ 17318 w 99"/>
                <a:gd name="T51" fmla="*/ 119912 h 301"/>
                <a:gd name="T52" fmla="*/ 17318 w 99"/>
                <a:gd name="T53" fmla="*/ 114743 h 301"/>
                <a:gd name="T54" fmla="*/ 17318 w 99"/>
                <a:gd name="T55" fmla="*/ 72877 h 301"/>
                <a:gd name="T56" fmla="*/ 0 w 99"/>
                <a:gd name="T57" fmla="*/ 3101 h 301"/>
                <a:gd name="T58" fmla="*/ 2165 w 99"/>
                <a:gd name="T59" fmla="*/ 1034 h 301"/>
                <a:gd name="T60" fmla="*/ 4330 w 99"/>
                <a:gd name="T61" fmla="*/ 0 h 301"/>
                <a:gd name="T62" fmla="*/ 6061 w 99"/>
                <a:gd name="T63" fmla="*/ 0 h 301"/>
                <a:gd name="T64" fmla="*/ 8659 w 99"/>
                <a:gd name="T65" fmla="*/ 0 h 301"/>
                <a:gd name="T66" fmla="*/ 11257 w 99"/>
                <a:gd name="T67" fmla="*/ 0 h 301"/>
                <a:gd name="T68" fmla="*/ 13855 w 99"/>
                <a:gd name="T69" fmla="*/ 1034 h 301"/>
                <a:gd name="T70" fmla="*/ 16020 w 99"/>
                <a:gd name="T71" fmla="*/ 2067 h 301"/>
                <a:gd name="T72" fmla="*/ 17751 w 99"/>
                <a:gd name="T73" fmla="*/ 3101 h 301"/>
                <a:gd name="T74" fmla="*/ 20349 w 99"/>
                <a:gd name="T75" fmla="*/ 5169 h 301"/>
                <a:gd name="T76" fmla="*/ 22947 w 99"/>
                <a:gd name="T77" fmla="*/ 6202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8" name="Freeform 269">
              <a:extLst>
                <a:ext uri="{FF2B5EF4-FFF2-40B4-BE49-F238E27FC236}">
                  <a16:creationId xmlns:a16="http://schemas.microsoft.com/office/drawing/2014/main" id="{716FA44E-6BC3-458E-B5A6-BD36B6EF1462}"/>
                </a:ext>
              </a:extLst>
            </p:cNvPr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4038595" y="3274987"/>
              <a:ext cx="76200" cy="188910"/>
            </a:xfrm>
            <a:custGeom>
              <a:avLst/>
              <a:gdLst>
                <a:gd name="T0" fmla="*/ 0 w 173"/>
                <a:gd name="T1" fmla="*/ 42333 h 357"/>
                <a:gd name="T2" fmla="*/ 3964 w 173"/>
                <a:gd name="T3" fmla="*/ 38100 h 357"/>
                <a:gd name="T4" fmla="*/ 7488 w 173"/>
                <a:gd name="T5" fmla="*/ 34396 h 357"/>
                <a:gd name="T6" fmla="*/ 11012 w 173"/>
                <a:gd name="T7" fmla="*/ 31750 h 357"/>
                <a:gd name="T8" fmla="*/ 14535 w 173"/>
                <a:gd name="T9" fmla="*/ 29633 h 357"/>
                <a:gd name="T10" fmla="*/ 17618 w 173"/>
                <a:gd name="T11" fmla="*/ 26458 h 357"/>
                <a:gd name="T12" fmla="*/ 29511 w 173"/>
                <a:gd name="T13" fmla="*/ 26458 h 357"/>
                <a:gd name="T14" fmla="*/ 41403 w 173"/>
                <a:gd name="T15" fmla="*/ 0 h 357"/>
                <a:gd name="T16" fmla="*/ 44487 w 173"/>
                <a:gd name="T17" fmla="*/ 1587 h 357"/>
                <a:gd name="T18" fmla="*/ 47570 w 173"/>
                <a:gd name="T19" fmla="*/ 3704 h 357"/>
                <a:gd name="T20" fmla="*/ 51094 w 173"/>
                <a:gd name="T21" fmla="*/ 6350 h 357"/>
                <a:gd name="T22" fmla="*/ 54177 w 173"/>
                <a:gd name="T23" fmla="*/ 9525 h 357"/>
                <a:gd name="T24" fmla="*/ 57701 w 173"/>
                <a:gd name="T25" fmla="*/ 11642 h 357"/>
                <a:gd name="T26" fmla="*/ 61224 w 173"/>
                <a:gd name="T27" fmla="*/ 14287 h 357"/>
                <a:gd name="T28" fmla="*/ 63867 w 173"/>
                <a:gd name="T29" fmla="*/ 15346 h 357"/>
                <a:gd name="T30" fmla="*/ 67391 w 173"/>
                <a:gd name="T31" fmla="*/ 15875 h 357"/>
                <a:gd name="T32" fmla="*/ 71795 w 173"/>
                <a:gd name="T33" fmla="*/ 20637 h 357"/>
                <a:gd name="T34" fmla="*/ 76200 w 173"/>
                <a:gd name="T35" fmla="*/ 26458 h 357"/>
                <a:gd name="T36" fmla="*/ 76200 w 173"/>
                <a:gd name="T37" fmla="*/ 32279 h 357"/>
                <a:gd name="T38" fmla="*/ 76200 w 173"/>
                <a:gd name="T39" fmla="*/ 36512 h 357"/>
                <a:gd name="T40" fmla="*/ 76200 w 173"/>
                <a:gd name="T41" fmla="*/ 42333 h 357"/>
                <a:gd name="T42" fmla="*/ 76200 w 173"/>
                <a:gd name="T43" fmla="*/ 51858 h 357"/>
                <a:gd name="T44" fmla="*/ 76200 w 173"/>
                <a:gd name="T45" fmla="*/ 57679 h 357"/>
                <a:gd name="T46" fmla="*/ 75319 w 173"/>
                <a:gd name="T47" fmla="*/ 62442 h 357"/>
                <a:gd name="T48" fmla="*/ 73557 w 173"/>
                <a:gd name="T49" fmla="*/ 67204 h 357"/>
                <a:gd name="T50" fmla="*/ 71795 w 173"/>
                <a:gd name="T51" fmla="*/ 71437 h 357"/>
                <a:gd name="T52" fmla="*/ 66950 w 173"/>
                <a:gd name="T53" fmla="*/ 79904 h 357"/>
                <a:gd name="T54" fmla="*/ 61665 w 173"/>
                <a:gd name="T55" fmla="*/ 88371 h 357"/>
                <a:gd name="T56" fmla="*/ 56379 w 173"/>
                <a:gd name="T57" fmla="*/ 96837 h 357"/>
                <a:gd name="T58" fmla="*/ 51534 w 173"/>
                <a:gd name="T59" fmla="*/ 105833 h 357"/>
                <a:gd name="T60" fmla="*/ 49332 w 173"/>
                <a:gd name="T61" fmla="*/ 110596 h 357"/>
                <a:gd name="T62" fmla="*/ 48010 w 173"/>
                <a:gd name="T63" fmla="*/ 115887 h 357"/>
                <a:gd name="T64" fmla="*/ 47570 w 173"/>
                <a:gd name="T65" fmla="*/ 121179 h 357"/>
                <a:gd name="T66" fmla="*/ 47129 w 173"/>
                <a:gd name="T67" fmla="*/ 127000 h 357"/>
                <a:gd name="T68" fmla="*/ 47570 w 173"/>
                <a:gd name="T69" fmla="*/ 144462 h 357"/>
                <a:gd name="T70" fmla="*/ 48010 w 173"/>
                <a:gd name="T71" fmla="*/ 155045 h 357"/>
                <a:gd name="T72" fmla="*/ 48451 w 173"/>
                <a:gd name="T73" fmla="*/ 159808 h 357"/>
                <a:gd name="T74" fmla="*/ 48010 w 173"/>
                <a:gd name="T75" fmla="*/ 165629 h 357"/>
                <a:gd name="T76" fmla="*/ 48010 w 173"/>
                <a:gd name="T77" fmla="*/ 173037 h 357"/>
                <a:gd name="T78" fmla="*/ 47129 w 173"/>
                <a:gd name="T79" fmla="*/ 182562 h 357"/>
                <a:gd name="T80" fmla="*/ 42725 w 173"/>
                <a:gd name="T81" fmla="*/ 183091 h 357"/>
                <a:gd name="T82" fmla="*/ 38761 w 173"/>
                <a:gd name="T83" fmla="*/ 183620 h 357"/>
                <a:gd name="T84" fmla="*/ 34797 w 173"/>
                <a:gd name="T85" fmla="*/ 184679 h 357"/>
                <a:gd name="T86" fmla="*/ 31273 w 173"/>
                <a:gd name="T87" fmla="*/ 185737 h 357"/>
                <a:gd name="T88" fmla="*/ 27749 w 173"/>
                <a:gd name="T89" fmla="*/ 186795 h 357"/>
                <a:gd name="T90" fmla="*/ 24225 w 173"/>
                <a:gd name="T91" fmla="*/ 187854 h 357"/>
                <a:gd name="T92" fmla="*/ 21142 w 173"/>
                <a:gd name="T93" fmla="*/ 188912 h 357"/>
                <a:gd name="T94" fmla="*/ 17618 w 173"/>
                <a:gd name="T95" fmla="*/ 188912 h 357"/>
                <a:gd name="T96" fmla="*/ 17618 w 173"/>
                <a:gd name="T97" fmla="*/ 114300 h 357"/>
                <a:gd name="T98" fmla="*/ 17618 w 173"/>
                <a:gd name="T99" fmla="*/ 109008 h 357"/>
                <a:gd name="T100" fmla="*/ 17178 w 173"/>
                <a:gd name="T101" fmla="*/ 104246 h 357"/>
                <a:gd name="T102" fmla="*/ 16297 w 173"/>
                <a:gd name="T103" fmla="*/ 99483 h 357"/>
                <a:gd name="T104" fmla="*/ 14976 w 173"/>
                <a:gd name="T105" fmla="*/ 94721 h 357"/>
                <a:gd name="T106" fmla="*/ 12333 w 173"/>
                <a:gd name="T107" fmla="*/ 85196 h 357"/>
                <a:gd name="T108" fmla="*/ 8809 w 173"/>
                <a:gd name="T109" fmla="*/ 75671 h 357"/>
                <a:gd name="T110" fmla="*/ 5726 w 173"/>
                <a:gd name="T111" fmla="*/ 66675 h 357"/>
                <a:gd name="T112" fmla="*/ 3083 w 173"/>
                <a:gd name="T113" fmla="*/ 58208 h 357"/>
                <a:gd name="T114" fmla="*/ 1762 w 173"/>
                <a:gd name="T115" fmla="*/ 53446 h 357"/>
                <a:gd name="T116" fmla="*/ 1321 w 173"/>
                <a:gd name="T117" fmla="*/ 49742 h 357"/>
                <a:gd name="T118" fmla="*/ 0 w 173"/>
                <a:gd name="T119" fmla="*/ 46037 h 357"/>
                <a:gd name="T120" fmla="*/ 0 w 173"/>
                <a:gd name="T121" fmla="*/ 42333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99" name="Freeform 270">
              <a:extLst>
                <a:ext uri="{FF2B5EF4-FFF2-40B4-BE49-F238E27FC236}">
                  <a16:creationId xmlns:a16="http://schemas.microsoft.com/office/drawing/2014/main" id="{5E0E409E-D4AB-4592-AEC8-F8E501F2637D}"/>
                </a:ext>
              </a:extLst>
            </p:cNvPr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767257" y="4479890"/>
              <a:ext cx="25400" cy="60325"/>
            </a:xfrm>
            <a:custGeom>
              <a:avLst/>
              <a:gdLst>
                <a:gd name="T0" fmla="*/ 5080 w 50"/>
                <a:gd name="T1" fmla="*/ 0 h 74"/>
                <a:gd name="T2" fmla="*/ 3048 w 50"/>
                <a:gd name="T3" fmla="*/ 11413 h 74"/>
                <a:gd name="T4" fmla="*/ 1016 w 50"/>
                <a:gd name="T5" fmla="*/ 21195 h 74"/>
                <a:gd name="T6" fmla="*/ 0 w 50"/>
                <a:gd name="T7" fmla="*/ 29347 h 74"/>
                <a:gd name="T8" fmla="*/ 0 w 50"/>
                <a:gd name="T9" fmla="*/ 35054 h 74"/>
                <a:gd name="T10" fmla="*/ 0 w 50"/>
                <a:gd name="T11" fmla="*/ 40760 h 74"/>
                <a:gd name="T12" fmla="*/ 1016 w 50"/>
                <a:gd name="T13" fmla="*/ 45651 h 74"/>
                <a:gd name="T14" fmla="*/ 3048 w 50"/>
                <a:gd name="T15" fmla="*/ 49727 h 74"/>
                <a:gd name="T16" fmla="*/ 5080 w 50"/>
                <a:gd name="T17" fmla="*/ 55434 h 74"/>
                <a:gd name="T18" fmla="*/ 25400 w 50"/>
                <a:gd name="T19" fmla="*/ 60325 h 74"/>
                <a:gd name="T20" fmla="*/ 25400 w 50"/>
                <a:gd name="T21" fmla="*/ 41575 h 74"/>
                <a:gd name="T22" fmla="*/ 25400 w 50"/>
                <a:gd name="T23" fmla="*/ 27717 h 74"/>
                <a:gd name="T24" fmla="*/ 25400 w 50"/>
                <a:gd name="T25" fmla="*/ 15489 h 74"/>
                <a:gd name="T26" fmla="*/ 25400 w 50"/>
                <a:gd name="T27" fmla="*/ 0 h 74"/>
                <a:gd name="T28" fmla="*/ 19304 w 50"/>
                <a:gd name="T29" fmla="*/ 0 h 74"/>
                <a:gd name="T30" fmla="*/ 12700 w 50"/>
                <a:gd name="T31" fmla="*/ 0 h 74"/>
                <a:gd name="T32" fmla="*/ 7112 w 50"/>
                <a:gd name="T33" fmla="*/ 0 h 74"/>
                <a:gd name="T34" fmla="*/ 508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0" name="Freeform 271">
              <a:extLst>
                <a:ext uri="{FF2B5EF4-FFF2-40B4-BE49-F238E27FC236}">
                  <a16:creationId xmlns:a16="http://schemas.microsoft.com/office/drawing/2014/main" id="{2C555FDE-AB7A-4323-BE2E-B6F609432738}"/>
                </a:ext>
              </a:extLst>
            </p:cNvPr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662482" y="4576726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1" name="Freeform 272">
              <a:extLst>
                <a:ext uri="{FF2B5EF4-FFF2-40B4-BE49-F238E27FC236}">
                  <a16:creationId xmlns:a16="http://schemas.microsoft.com/office/drawing/2014/main" id="{382BFBE9-ED58-4F30-BD32-90870ED9F2A4}"/>
                </a:ext>
              </a:extLst>
            </p:cNvPr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6880217" y="2290745"/>
              <a:ext cx="120650" cy="171449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2" name="Freeform 273">
              <a:extLst>
                <a:ext uri="{FF2B5EF4-FFF2-40B4-BE49-F238E27FC236}">
                  <a16:creationId xmlns:a16="http://schemas.microsoft.com/office/drawing/2014/main" id="{7868A027-A2C7-4845-B397-9BEB05718CCB}"/>
                </a:ext>
              </a:extLst>
            </p:cNvPr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5951531" y="2705079"/>
              <a:ext cx="206374" cy="123824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3" name="Freeform 274">
              <a:extLst>
                <a:ext uri="{FF2B5EF4-FFF2-40B4-BE49-F238E27FC236}">
                  <a16:creationId xmlns:a16="http://schemas.microsoft.com/office/drawing/2014/main" id="{21403326-FFDB-45A5-BCAC-B6AB069D69C1}"/>
                </a:ext>
              </a:extLst>
            </p:cNvPr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6167430" y="2760641"/>
              <a:ext cx="73025" cy="65087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4" name="Freeform 275">
              <a:extLst>
                <a:ext uri="{FF2B5EF4-FFF2-40B4-BE49-F238E27FC236}">
                  <a16:creationId xmlns:a16="http://schemas.microsoft.com/office/drawing/2014/main" id="{7AE15040-74D9-45F0-A79D-4E48DE3A6370}"/>
                </a:ext>
              </a:extLst>
            </p:cNvPr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6157906" y="2832077"/>
              <a:ext cx="133350" cy="166687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5" name="Freeform 276">
              <a:extLst>
                <a:ext uri="{FF2B5EF4-FFF2-40B4-BE49-F238E27FC236}">
                  <a16:creationId xmlns:a16="http://schemas.microsoft.com/office/drawing/2014/main" id="{116708AE-8F63-4F0A-A3C8-AA99499222B9}"/>
                </a:ext>
              </a:extLst>
            </p:cNvPr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475405" y="2947965"/>
              <a:ext cx="201612" cy="269873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6" name="Freeform 277">
              <a:extLst>
                <a:ext uri="{FF2B5EF4-FFF2-40B4-BE49-F238E27FC236}">
                  <a16:creationId xmlns:a16="http://schemas.microsoft.com/office/drawing/2014/main" id="{4FF1D2E2-C3E0-4F6C-BA36-50E60A4867E0}"/>
                </a:ext>
              </a:extLst>
            </p:cNvPr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6557955" y="3198788"/>
              <a:ext cx="133350" cy="130174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7" name="Freeform 278">
              <a:extLst>
                <a:ext uri="{FF2B5EF4-FFF2-40B4-BE49-F238E27FC236}">
                  <a16:creationId xmlns:a16="http://schemas.microsoft.com/office/drawing/2014/main" id="{2A4099F7-E38A-4D74-9E87-29DA76F83E12}"/>
                </a:ext>
              </a:extLst>
            </p:cNvPr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6959591" y="2435206"/>
              <a:ext cx="85725" cy="130174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8" name="Freeform 279">
              <a:extLst>
                <a:ext uri="{FF2B5EF4-FFF2-40B4-BE49-F238E27FC236}">
                  <a16:creationId xmlns:a16="http://schemas.microsoft.com/office/drawing/2014/main" id="{A997C543-5655-4A31-9C2E-904BB0C0D37E}"/>
                </a:ext>
              </a:extLst>
            </p:cNvPr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7527916" y="3732183"/>
              <a:ext cx="231775" cy="253998"/>
            </a:xfrm>
            <a:custGeom>
              <a:avLst/>
              <a:gdLst>
                <a:gd name="T0" fmla="*/ 39204 w 538"/>
                <a:gd name="T1" fmla="*/ 10953 h 487"/>
                <a:gd name="T2" fmla="*/ 68929 w 538"/>
                <a:gd name="T3" fmla="*/ 24513 h 487"/>
                <a:gd name="T4" fmla="*/ 87023 w 538"/>
                <a:gd name="T5" fmla="*/ 36509 h 487"/>
                <a:gd name="T6" fmla="*/ 108995 w 538"/>
                <a:gd name="T7" fmla="*/ 57372 h 487"/>
                <a:gd name="T8" fmla="*/ 129243 w 538"/>
                <a:gd name="T9" fmla="*/ 70932 h 487"/>
                <a:gd name="T10" fmla="*/ 128812 w 538"/>
                <a:gd name="T11" fmla="*/ 83971 h 487"/>
                <a:gd name="T12" fmla="*/ 149491 w 538"/>
                <a:gd name="T13" fmla="*/ 106920 h 487"/>
                <a:gd name="T14" fmla="*/ 169308 w 538"/>
                <a:gd name="T15" fmla="*/ 129347 h 487"/>
                <a:gd name="T16" fmla="*/ 163276 w 538"/>
                <a:gd name="T17" fmla="*/ 130390 h 487"/>
                <a:gd name="T18" fmla="*/ 160261 w 538"/>
                <a:gd name="T19" fmla="*/ 133520 h 487"/>
                <a:gd name="T20" fmla="*/ 160261 w 538"/>
                <a:gd name="T21" fmla="*/ 144994 h 487"/>
                <a:gd name="T22" fmla="*/ 162415 w 538"/>
                <a:gd name="T23" fmla="*/ 156990 h 487"/>
                <a:gd name="T24" fmla="*/ 167585 w 538"/>
                <a:gd name="T25" fmla="*/ 169507 h 487"/>
                <a:gd name="T26" fmla="*/ 175339 w 538"/>
                <a:gd name="T27" fmla="*/ 181503 h 487"/>
                <a:gd name="T28" fmla="*/ 184386 w 538"/>
                <a:gd name="T29" fmla="*/ 190891 h 487"/>
                <a:gd name="T30" fmla="*/ 194295 w 538"/>
                <a:gd name="T31" fmla="*/ 196107 h 487"/>
                <a:gd name="T32" fmla="*/ 198603 w 538"/>
                <a:gd name="T33" fmla="*/ 203409 h 487"/>
                <a:gd name="T34" fmla="*/ 203342 w 538"/>
                <a:gd name="T35" fmla="*/ 211754 h 487"/>
                <a:gd name="T36" fmla="*/ 210665 w 538"/>
                <a:gd name="T37" fmla="*/ 217491 h 487"/>
                <a:gd name="T38" fmla="*/ 221005 w 538"/>
                <a:gd name="T39" fmla="*/ 225314 h 487"/>
                <a:gd name="T40" fmla="*/ 223159 w 538"/>
                <a:gd name="T41" fmla="*/ 231573 h 487"/>
                <a:gd name="T42" fmla="*/ 226174 w 538"/>
                <a:gd name="T43" fmla="*/ 234702 h 487"/>
                <a:gd name="T44" fmla="*/ 231775 w 538"/>
                <a:gd name="T45" fmla="*/ 237832 h 487"/>
                <a:gd name="T46" fmla="*/ 230052 w 538"/>
                <a:gd name="T47" fmla="*/ 246177 h 487"/>
                <a:gd name="T48" fmla="*/ 223590 w 538"/>
                <a:gd name="T49" fmla="*/ 252435 h 487"/>
                <a:gd name="T50" fmla="*/ 211096 w 538"/>
                <a:gd name="T51" fmla="*/ 254000 h 487"/>
                <a:gd name="T52" fmla="*/ 193002 w 538"/>
                <a:gd name="T53" fmla="*/ 250349 h 487"/>
                <a:gd name="T54" fmla="*/ 178355 w 538"/>
                <a:gd name="T55" fmla="*/ 243047 h 487"/>
                <a:gd name="T56" fmla="*/ 166292 w 538"/>
                <a:gd name="T57" fmla="*/ 232616 h 487"/>
                <a:gd name="T58" fmla="*/ 152937 w 538"/>
                <a:gd name="T59" fmla="*/ 216448 h 487"/>
                <a:gd name="T60" fmla="*/ 134412 w 538"/>
                <a:gd name="T61" fmla="*/ 190370 h 487"/>
                <a:gd name="T62" fmla="*/ 118042 w 538"/>
                <a:gd name="T63" fmla="*/ 172115 h 487"/>
                <a:gd name="T64" fmla="*/ 105979 w 538"/>
                <a:gd name="T65" fmla="*/ 164813 h 487"/>
                <a:gd name="T66" fmla="*/ 91331 w 538"/>
                <a:gd name="T67" fmla="*/ 161162 h 487"/>
                <a:gd name="T68" fmla="*/ 77546 w 538"/>
                <a:gd name="T69" fmla="*/ 161684 h 487"/>
                <a:gd name="T70" fmla="*/ 65914 w 538"/>
                <a:gd name="T71" fmla="*/ 165335 h 487"/>
                <a:gd name="T72" fmla="*/ 48681 w 538"/>
                <a:gd name="T73" fmla="*/ 179938 h 487"/>
                <a:gd name="T74" fmla="*/ 58590 w 538"/>
                <a:gd name="T75" fmla="*/ 188283 h 487"/>
                <a:gd name="T76" fmla="*/ 60313 w 538"/>
                <a:gd name="T77" fmla="*/ 192977 h 487"/>
                <a:gd name="T78" fmla="*/ 53420 w 538"/>
                <a:gd name="T79" fmla="*/ 209146 h 487"/>
                <a:gd name="T80" fmla="*/ 48681 w 538"/>
                <a:gd name="T81" fmla="*/ 215926 h 487"/>
                <a:gd name="T82" fmla="*/ 20248 w 538"/>
                <a:gd name="T83" fmla="*/ 210189 h 487"/>
                <a:gd name="T84" fmla="*/ 8616 w 538"/>
                <a:gd name="T85" fmla="*/ 135084 h 487"/>
                <a:gd name="T86" fmla="*/ 8616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9" name="Freeform 280">
              <a:extLst>
                <a:ext uri="{FF2B5EF4-FFF2-40B4-BE49-F238E27FC236}">
                  <a16:creationId xmlns:a16="http://schemas.microsoft.com/office/drawing/2014/main" id="{8E35E577-E414-4319-809A-1E1414393793}"/>
                </a:ext>
              </a:extLst>
            </p:cNvPr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7720003" y="3716308"/>
              <a:ext cx="106362" cy="128586"/>
            </a:xfrm>
            <a:custGeom>
              <a:avLst/>
              <a:gdLst>
                <a:gd name="T0" fmla="*/ 57175 w 253"/>
                <a:gd name="T1" fmla="*/ 523 h 246"/>
                <a:gd name="T2" fmla="*/ 66003 w 253"/>
                <a:gd name="T3" fmla="*/ 4182 h 246"/>
                <a:gd name="T4" fmla="*/ 75252 w 253"/>
                <a:gd name="T5" fmla="*/ 10977 h 246"/>
                <a:gd name="T6" fmla="*/ 83660 w 253"/>
                <a:gd name="T7" fmla="*/ 19340 h 246"/>
                <a:gd name="T8" fmla="*/ 91648 w 253"/>
                <a:gd name="T9" fmla="*/ 29795 h 246"/>
                <a:gd name="T10" fmla="*/ 98374 w 253"/>
                <a:gd name="T11" fmla="*/ 39726 h 246"/>
                <a:gd name="T12" fmla="*/ 102999 w 253"/>
                <a:gd name="T13" fmla="*/ 49135 h 246"/>
                <a:gd name="T14" fmla="*/ 105942 w 253"/>
                <a:gd name="T15" fmla="*/ 58021 h 246"/>
                <a:gd name="T16" fmla="*/ 105942 w 253"/>
                <a:gd name="T17" fmla="*/ 66907 h 246"/>
                <a:gd name="T18" fmla="*/ 102158 w 253"/>
                <a:gd name="T19" fmla="*/ 78929 h 246"/>
                <a:gd name="T20" fmla="*/ 96272 w 253"/>
                <a:gd name="T21" fmla="*/ 90952 h 246"/>
                <a:gd name="T22" fmla="*/ 87864 w 253"/>
                <a:gd name="T23" fmla="*/ 101929 h 246"/>
                <a:gd name="T24" fmla="*/ 77354 w 253"/>
                <a:gd name="T25" fmla="*/ 111860 h 246"/>
                <a:gd name="T26" fmla="*/ 66003 w 253"/>
                <a:gd name="T27" fmla="*/ 119701 h 246"/>
                <a:gd name="T28" fmla="*/ 54232 w 253"/>
                <a:gd name="T29" fmla="*/ 125451 h 246"/>
                <a:gd name="T30" fmla="*/ 42040 w 253"/>
                <a:gd name="T31" fmla="*/ 128064 h 246"/>
                <a:gd name="T32" fmla="*/ 31110 w 253"/>
                <a:gd name="T33" fmla="*/ 128064 h 246"/>
                <a:gd name="T34" fmla="*/ 22281 w 253"/>
                <a:gd name="T35" fmla="*/ 125451 h 246"/>
                <a:gd name="T36" fmla="*/ 13873 w 253"/>
                <a:gd name="T37" fmla="*/ 122314 h 246"/>
                <a:gd name="T38" fmla="*/ 4624 w 253"/>
                <a:gd name="T39" fmla="*/ 119701 h 246"/>
                <a:gd name="T40" fmla="*/ 1261 w 253"/>
                <a:gd name="T41" fmla="*/ 114474 h 246"/>
                <a:gd name="T42" fmla="*/ 4204 w 253"/>
                <a:gd name="T43" fmla="*/ 107156 h 246"/>
                <a:gd name="T44" fmla="*/ 9249 w 253"/>
                <a:gd name="T45" fmla="*/ 102451 h 246"/>
                <a:gd name="T46" fmla="*/ 15555 w 253"/>
                <a:gd name="T47" fmla="*/ 99838 h 246"/>
                <a:gd name="T48" fmla="*/ 21020 w 253"/>
                <a:gd name="T49" fmla="*/ 102974 h 246"/>
                <a:gd name="T50" fmla="*/ 25224 w 253"/>
                <a:gd name="T51" fmla="*/ 108201 h 246"/>
                <a:gd name="T52" fmla="*/ 28587 w 253"/>
                <a:gd name="T53" fmla="*/ 105065 h 246"/>
                <a:gd name="T54" fmla="*/ 31530 w 253"/>
                <a:gd name="T55" fmla="*/ 99315 h 246"/>
                <a:gd name="T56" fmla="*/ 35314 w 253"/>
                <a:gd name="T57" fmla="*/ 94088 h 246"/>
                <a:gd name="T58" fmla="*/ 38257 w 253"/>
                <a:gd name="T59" fmla="*/ 94611 h 246"/>
                <a:gd name="T60" fmla="*/ 41200 w 253"/>
                <a:gd name="T61" fmla="*/ 93565 h 246"/>
                <a:gd name="T62" fmla="*/ 44563 w 253"/>
                <a:gd name="T63" fmla="*/ 93043 h 246"/>
                <a:gd name="T64" fmla="*/ 50448 w 253"/>
                <a:gd name="T65" fmla="*/ 90952 h 246"/>
                <a:gd name="T66" fmla="*/ 62640 w 253"/>
                <a:gd name="T67" fmla="*/ 85725 h 246"/>
                <a:gd name="T68" fmla="*/ 75252 w 253"/>
                <a:gd name="T69" fmla="*/ 76839 h 246"/>
                <a:gd name="T70" fmla="*/ 82819 w 253"/>
                <a:gd name="T71" fmla="*/ 70566 h 246"/>
                <a:gd name="T72" fmla="*/ 88285 w 253"/>
                <a:gd name="T73" fmla="*/ 64294 h 246"/>
                <a:gd name="T74" fmla="*/ 91648 w 253"/>
                <a:gd name="T75" fmla="*/ 58021 h 246"/>
                <a:gd name="T76" fmla="*/ 92068 w 253"/>
                <a:gd name="T77" fmla="*/ 51226 h 246"/>
                <a:gd name="T78" fmla="*/ 89966 w 253"/>
                <a:gd name="T79" fmla="*/ 45999 h 246"/>
                <a:gd name="T80" fmla="*/ 88285 w 253"/>
                <a:gd name="T81" fmla="*/ 41817 h 246"/>
                <a:gd name="T82" fmla="*/ 87023 w 253"/>
                <a:gd name="T83" fmla="*/ 37635 h 246"/>
                <a:gd name="T84" fmla="*/ 84501 w 253"/>
                <a:gd name="T85" fmla="*/ 35022 h 246"/>
                <a:gd name="T86" fmla="*/ 80297 w 253"/>
                <a:gd name="T87" fmla="*/ 33976 h 246"/>
                <a:gd name="T88" fmla="*/ 77354 w 253"/>
                <a:gd name="T89" fmla="*/ 31885 h 246"/>
                <a:gd name="T90" fmla="*/ 75673 w 253"/>
                <a:gd name="T91" fmla="*/ 28226 h 246"/>
                <a:gd name="T92" fmla="*/ 58856 w 253"/>
                <a:gd name="T93" fmla="*/ 25613 h 246"/>
                <a:gd name="T94" fmla="*/ 57175 w 253"/>
                <a:gd name="T95" fmla="*/ 22999 h 246"/>
                <a:gd name="T96" fmla="*/ 57175 w 253"/>
                <a:gd name="T97" fmla="*/ 18818 h 246"/>
                <a:gd name="T98" fmla="*/ 58856 w 253"/>
                <a:gd name="T99" fmla="*/ 9409 h 246"/>
                <a:gd name="T100" fmla="*/ 46244 w 253"/>
                <a:gd name="T101" fmla="*/ 5750 h 246"/>
                <a:gd name="T102" fmla="*/ 40779 w 253"/>
                <a:gd name="T103" fmla="*/ 6273 h 246"/>
                <a:gd name="T104" fmla="*/ 36155 w 253"/>
                <a:gd name="T105" fmla="*/ 9409 h 246"/>
                <a:gd name="T106" fmla="*/ 43722 w 253"/>
                <a:gd name="T107" fmla="*/ 2614 h 246"/>
                <a:gd name="T108" fmla="*/ 47506 w 253"/>
                <a:gd name="T109" fmla="*/ 523 h 246"/>
                <a:gd name="T110" fmla="*/ 53391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211" name="Group 282">
              <a:extLst>
                <a:ext uri="{FF2B5EF4-FFF2-40B4-BE49-F238E27FC236}">
                  <a16:creationId xmlns:a16="http://schemas.microsoft.com/office/drawing/2014/main" id="{90703986-A8B2-49F8-A6E5-84A03A843D68}"/>
                </a:ext>
              </a:extLst>
            </p:cNvPr>
            <p:cNvGrpSpPr>
              <a:grpSpLocks/>
            </p:cNvGrpSpPr>
            <p:nvPr>
              <p:custDataLst>
                <p:tags r:id="rId185"/>
              </p:custDataLst>
            </p:nvPr>
          </p:nvGrpSpPr>
          <p:grpSpPr bwMode="auto">
            <a:xfrm>
              <a:off x="6935780" y="3060676"/>
              <a:ext cx="233362" cy="439734"/>
              <a:chOff x="5062" y="2295"/>
              <a:chExt cx="177" cy="279"/>
            </a:xfrm>
          </p:grpSpPr>
          <p:sp>
            <p:nvSpPr>
              <p:cNvPr id="456" name="Freeform 283">
                <a:extLst>
                  <a:ext uri="{FF2B5EF4-FFF2-40B4-BE49-F238E27FC236}">
                    <a16:creationId xmlns:a16="http://schemas.microsoft.com/office/drawing/2014/main" id="{6F4A237A-C100-40D0-8953-47D59281A4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FEA34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57" name="Freeform 284">
                <a:extLst>
                  <a:ext uri="{FF2B5EF4-FFF2-40B4-BE49-F238E27FC236}">
                    <a16:creationId xmlns:a16="http://schemas.microsoft.com/office/drawing/2014/main" id="{DD211D05-F169-4CFC-A2E5-A1FBD361CD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58" name="Freeform 285">
                <a:extLst>
                  <a:ext uri="{FF2B5EF4-FFF2-40B4-BE49-F238E27FC236}">
                    <a16:creationId xmlns:a16="http://schemas.microsoft.com/office/drawing/2014/main" id="{0F854B8F-7011-4D99-9BA5-9E0EEA6AFD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59" name="Freeform 286">
                <a:extLst>
                  <a:ext uri="{FF2B5EF4-FFF2-40B4-BE49-F238E27FC236}">
                    <a16:creationId xmlns:a16="http://schemas.microsoft.com/office/drawing/2014/main" id="{EE50AF87-03EF-4484-A757-C9DA48C7B8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60" name="Freeform 287">
                <a:extLst>
                  <a:ext uri="{FF2B5EF4-FFF2-40B4-BE49-F238E27FC236}">
                    <a16:creationId xmlns:a16="http://schemas.microsoft.com/office/drawing/2014/main" id="{23A0BEFA-7D96-4917-8206-22637020A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61" name="Freeform 288">
                <a:extLst>
                  <a:ext uri="{FF2B5EF4-FFF2-40B4-BE49-F238E27FC236}">
                    <a16:creationId xmlns:a16="http://schemas.microsoft.com/office/drawing/2014/main" id="{10090049-094B-4C5F-BEF5-CAC04BC6A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62" name="Freeform 289">
                <a:extLst>
                  <a:ext uri="{FF2B5EF4-FFF2-40B4-BE49-F238E27FC236}">
                    <a16:creationId xmlns:a16="http://schemas.microsoft.com/office/drawing/2014/main" id="{F8446DAE-1F7C-42C8-BE9A-BF818B222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63" name="Freeform 290">
                <a:extLst>
                  <a:ext uri="{FF2B5EF4-FFF2-40B4-BE49-F238E27FC236}">
                    <a16:creationId xmlns:a16="http://schemas.microsoft.com/office/drawing/2014/main" id="{47E84B7A-EFE3-40D3-B089-04E1E0DE42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FEA34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64" name="Freeform 291">
                <a:extLst>
                  <a:ext uri="{FF2B5EF4-FFF2-40B4-BE49-F238E27FC236}">
                    <a16:creationId xmlns:a16="http://schemas.microsoft.com/office/drawing/2014/main" id="{B9D2A55B-44B9-4BD3-AA73-98EACD48D3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FEA34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65" name="Freeform 292">
                <a:extLst>
                  <a:ext uri="{FF2B5EF4-FFF2-40B4-BE49-F238E27FC236}">
                    <a16:creationId xmlns:a16="http://schemas.microsoft.com/office/drawing/2014/main" id="{C7DE8988-FD9B-40BB-AC73-0469DD5229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66" name="Freeform 293">
                <a:extLst>
                  <a:ext uri="{FF2B5EF4-FFF2-40B4-BE49-F238E27FC236}">
                    <a16:creationId xmlns:a16="http://schemas.microsoft.com/office/drawing/2014/main" id="{FA75419E-A8AD-44DD-A3F4-CEF00E712A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67" name="Freeform 294">
                <a:extLst>
                  <a:ext uri="{FF2B5EF4-FFF2-40B4-BE49-F238E27FC236}">
                    <a16:creationId xmlns:a16="http://schemas.microsoft.com/office/drawing/2014/main" id="{8F4449ED-1A57-465D-9EA4-D13838577D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FEA34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68" name="Freeform 295">
                <a:extLst>
                  <a:ext uri="{FF2B5EF4-FFF2-40B4-BE49-F238E27FC236}">
                    <a16:creationId xmlns:a16="http://schemas.microsoft.com/office/drawing/2014/main" id="{C58495D9-61EF-4217-8529-17F63766A9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69" name="Freeform 296">
                <a:extLst>
                  <a:ext uri="{FF2B5EF4-FFF2-40B4-BE49-F238E27FC236}">
                    <a16:creationId xmlns:a16="http://schemas.microsoft.com/office/drawing/2014/main" id="{666EA6D2-EC53-4FE0-8DEC-4BCDBE58B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70" name="Freeform 297">
                <a:extLst>
                  <a:ext uri="{FF2B5EF4-FFF2-40B4-BE49-F238E27FC236}">
                    <a16:creationId xmlns:a16="http://schemas.microsoft.com/office/drawing/2014/main" id="{96065128-D605-4974-A3EF-ACE222E7E8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46B688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71" name="Line 298">
                <a:extLst>
                  <a:ext uri="{FF2B5EF4-FFF2-40B4-BE49-F238E27FC236}">
                    <a16:creationId xmlns:a16="http://schemas.microsoft.com/office/drawing/2014/main" id="{41D7153D-CD93-4A3C-BAF0-4E1C1670F0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73" name="Line 300">
                <a:extLst>
                  <a:ext uri="{FF2B5EF4-FFF2-40B4-BE49-F238E27FC236}">
                    <a16:creationId xmlns:a16="http://schemas.microsoft.com/office/drawing/2014/main" id="{948AE2B8-F911-4E46-B0C0-5B0D7FD3CF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74" name="Freeform 301">
                <a:extLst>
                  <a:ext uri="{FF2B5EF4-FFF2-40B4-BE49-F238E27FC236}">
                    <a16:creationId xmlns:a16="http://schemas.microsoft.com/office/drawing/2014/main" id="{7E178579-4567-4FCC-935F-B38BE5A0B1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75" name="Freeform 302">
                <a:extLst>
                  <a:ext uri="{FF2B5EF4-FFF2-40B4-BE49-F238E27FC236}">
                    <a16:creationId xmlns:a16="http://schemas.microsoft.com/office/drawing/2014/main" id="{6BB6B2A8-4176-43F8-AB49-06906A4EBE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76" name="Freeform 303">
                <a:extLst>
                  <a:ext uri="{FF2B5EF4-FFF2-40B4-BE49-F238E27FC236}">
                    <a16:creationId xmlns:a16="http://schemas.microsoft.com/office/drawing/2014/main" id="{A505BC57-5D56-46EB-8297-3B2BD183B8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77" name="Freeform 304">
                <a:extLst>
                  <a:ext uri="{FF2B5EF4-FFF2-40B4-BE49-F238E27FC236}">
                    <a16:creationId xmlns:a16="http://schemas.microsoft.com/office/drawing/2014/main" id="{4461DAC3-1373-450D-95BD-C97A825DEE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79" name="Line 306">
                <a:extLst>
                  <a:ext uri="{FF2B5EF4-FFF2-40B4-BE49-F238E27FC236}">
                    <a16:creationId xmlns:a16="http://schemas.microsoft.com/office/drawing/2014/main" id="{E1D4B9CD-C770-49B0-916D-24EC77A2A6C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EA34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212" name="Freeform 307">
              <a:extLst>
                <a:ext uri="{FF2B5EF4-FFF2-40B4-BE49-F238E27FC236}">
                  <a16:creationId xmlns:a16="http://schemas.microsoft.com/office/drawing/2014/main" id="{99DD471D-17D4-4493-98E5-F5EC1B9E4B94}"/>
                </a:ext>
              </a:extLst>
            </p:cNvPr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7280266" y="3879819"/>
              <a:ext cx="14288" cy="55562"/>
            </a:xfrm>
            <a:custGeom>
              <a:avLst/>
              <a:gdLst>
                <a:gd name="T0" fmla="*/ 0 w 33"/>
                <a:gd name="T1" fmla="*/ 55563 h 43"/>
                <a:gd name="T2" fmla="*/ 433 w 33"/>
                <a:gd name="T3" fmla="*/ 43934 h 43"/>
                <a:gd name="T4" fmla="*/ 866 w 33"/>
                <a:gd name="T5" fmla="*/ 34888 h 43"/>
                <a:gd name="T6" fmla="*/ 2165 w 33"/>
                <a:gd name="T7" fmla="*/ 27135 h 43"/>
                <a:gd name="T8" fmla="*/ 3897 w 33"/>
                <a:gd name="T9" fmla="*/ 19382 h 43"/>
                <a:gd name="T10" fmla="*/ 6062 w 33"/>
                <a:gd name="T11" fmla="*/ 11629 h 43"/>
                <a:gd name="T12" fmla="*/ 8659 w 33"/>
                <a:gd name="T13" fmla="*/ 6461 h 43"/>
                <a:gd name="T14" fmla="*/ 11257 w 33"/>
                <a:gd name="T15" fmla="*/ 2584 h 43"/>
                <a:gd name="T16" fmla="*/ 14288 w 33"/>
                <a:gd name="T17" fmla="*/ 0 h 43"/>
                <a:gd name="T18" fmla="*/ 14288 w 33"/>
                <a:gd name="T19" fmla="*/ 32304 h 43"/>
                <a:gd name="T20" fmla="*/ 9958 w 33"/>
                <a:gd name="T21" fmla="*/ 34888 h 43"/>
                <a:gd name="T22" fmla="*/ 7793 w 33"/>
                <a:gd name="T23" fmla="*/ 37473 h 43"/>
                <a:gd name="T24" fmla="*/ 6928 w 33"/>
                <a:gd name="T25" fmla="*/ 41349 h 43"/>
                <a:gd name="T26" fmla="*/ 6928 w 33"/>
                <a:gd name="T27" fmla="*/ 43934 h 43"/>
                <a:gd name="T28" fmla="*/ 6928 w 33"/>
                <a:gd name="T29" fmla="*/ 46518 h 43"/>
                <a:gd name="T30" fmla="*/ 6062 w 33"/>
                <a:gd name="T31" fmla="*/ 49102 h 43"/>
                <a:gd name="T32" fmla="*/ 4330 w 33"/>
                <a:gd name="T33" fmla="*/ 52979 h 43"/>
                <a:gd name="T34" fmla="*/ 0 w 33"/>
                <a:gd name="T35" fmla="*/ 5556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13" name="Freeform 308">
              <a:extLst>
                <a:ext uri="{FF2B5EF4-FFF2-40B4-BE49-F238E27FC236}">
                  <a16:creationId xmlns:a16="http://schemas.microsoft.com/office/drawing/2014/main" id="{F0FDA76D-65D9-4524-9160-D15F3FB942F3}"/>
                </a:ext>
              </a:extLst>
            </p:cNvPr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7356466" y="3819495"/>
              <a:ext cx="22225" cy="58738"/>
            </a:xfrm>
            <a:custGeom>
              <a:avLst/>
              <a:gdLst>
                <a:gd name="T0" fmla="*/ 0 w 54"/>
                <a:gd name="T1" fmla="*/ 35115 h 92"/>
                <a:gd name="T2" fmla="*/ 412 w 54"/>
                <a:gd name="T3" fmla="*/ 32561 h 92"/>
                <a:gd name="T4" fmla="*/ 823 w 54"/>
                <a:gd name="T5" fmla="*/ 29369 h 92"/>
                <a:gd name="T6" fmla="*/ 1235 w 54"/>
                <a:gd name="T7" fmla="*/ 26815 h 92"/>
                <a:gd name="T8" fmla="*/ 2469 w 54"/>
                <a:gd name="T9" fmla="*/ 23623 h 92"/>
                <a:gd name="T10" fmla="*/ 4527 w 54"/>
                <a:gd name="T11" fmla="*/ 18515 h 92"/>
                <a:gd name="T12" fmla="*/ 7408 w 54"/>
                <a:gd name="T13" fmla="*/ 13408 h 92"/>
                <a:gd name="T14" fmla="*/ 12759 w 54"/>
                <a:gd name="T15" fmla="*/ 4469 h 92"/>
                <a:gd name="T16" fmla="*/ 16875 w 54"/>
                <a:gd name="T17" fmla="*/ 0 h 92"/>
                <a:gd name="T18" fmla="*/ 22225 w 54"/>
                <a:gd name="T19" fmla="*/ 7661 h 92"/>
                <a:gd name="T20" fmla="*/ 20990 w 54"/>
                <a:gd name="T21" fmla="*/ 13408 h 92"/>
                <a:gd name="T22" fmla="*/ 19344 w 54"/>
                <a:gd name="T23" fmla="*/ 18515 h 92"/>
                <a:gd name="T24" fmla="*/ 18109 w 54"/>
                <a:gd name="T25" fmla="*/ 22346 h 92"/>
                <a:gd name="T26" fmla="*/ 16875 w 54"/>
                <a:gd name="T27" fmla="*/ 26177 h 92"/>
                <a:gd name="T28" fmla="*/ 13582 w 54"/>
                <a:gd name="T29" fmla="*/ 31284 h 92"/>
                <a:gd name="T30" fmla="*/ 11524 w 54"/>
                <a:gd name="T31" fmla="*/ 35115 h 92"/>
                <a:gd name="T32" fmla="*/ 10701 w 54"/>
                <a:gd name="T33" fmla="*/ 40861 h 92"/>
                <a:gd name="T34" fmla="*/ 10701 w 54"/>
                <a:gd name="T35" fmla="*/ 47246 h 92"/>
                <a:gd name="T36" fmla="*/ 9878 w 54"/>
                <a:gd name="T37" fmla="*/ 52992 h 92"/>
                <a:gd name="T38" fmla="*/ 8231 w 54"/>
                <a:gd name="T39" fmla="*/ 58738 h 92"/>
                <a:gd name="T40" fmla="*/ 5762 w 54"/>
                <a:gd name="T41" fmla="*/ 52992 h 92"/>
                <a:gd name="T42" fmla="*/ 3293 w 54"/>
                <a:gd name="T43" fmla="*/ 47246 h 92"/>
                <a:gd name="T44" fmla="*/ 2058 w 54"/>
                <a:gd name="T45" fmla="*/ 44692 h 92"/>
                <a:gd name="T46" fmla="*/ 823 w 54"/>
                <a:gd name="T47" fmla="*/ 40861 h 92"/>
                <a:gd name="T48" fmla="*/ 412 w 54"/>
                <a:gd name="T49" fmla="*/ 38307 h 92"/>
                <a:gd name="T50" fmla="*/ 0 w 54"/>
                <a:gd name="T51" fmla="*/ 3511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14" name="Freeform 309">
              <a:extLst>
                <a:ext uri="{FF2B5EF4-FFF2-40B4-BE49-F238E27FC236}">
                  <a16:creationId xmlns:a16="http://schemas.microsoft.com/office/drawing/2014/main" id="{077B94D5-B731-428D-84E4-719C5A56E1DA}"/>
                </a:ext>
              </a:extLst>
            </p:cNvPr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7404091" y="3698846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7541 w 60"/>
                <a:gd name="T3" fmla="*/ 12700 h 18"/>
                <a:gd name="T4" fmla="*/ 14685 w 60"/>
                <a:gd name="T5" fmla="*/ 28575 h 18"/>
                <a:gd name="T6" fmla="*/ 17860 w 60"/>
                <a:gd name="T7" fmla="*/ 34925 h 18"/>
                <a:gd name="T8" fmla="*/ 20241 w 60"/>
                <a:gd name="T9" fmla="*/ 41275 h 18"/>
                <a:gd name="T10" fmla="*/ 22225 w 60"/>
                <a:gd name="T11" fmla="*/ 50800 h 18"/>
                <a:gd name="T12" fmla="*/ 23813 w 60"/>
                <a:gd name="T13" fmla="*/ 57150 h 18"/>
                <a:gd name="T14" fmla="*/ 15082 w 60"/>
                <a:gd name="T15" fmla="*/ 57150 h 18"/>
                <a:gd name="T16" fmla="*/ 9128 w 60"/>
                <a:gd name="T17" fmla="*/ 57150 h 18"/>
                <a:gd name="T18" fmla="*/ 3969 w 60"/>
                <a:gd name="T19" fmla="*/ 57150 h 18"/>
                <a:gd name="T20" fmla="*/ 0 w 60"/>
                <a:gd name="T21" fmla="*/ 571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15" name="Freeform 310">
              <a:extLst>
                <a:ext uri="{FF2B5EF4-FFF2-40B4-BE49-F238E27FC236}">
                  <a16:creationId xmlns:a16="http://schemas.microsoft.com/office/drawing/2014/main" id="{E3F5182F-9E73-41DA-A4A3-4A2AEFA40251}"/>
                </a:ext>
              </a:extLst>
            </p:cNvPr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7388216" y="3668684"/>
              <a:ext cx="25400" cy="57150"/>
            </a:xfrm>
            <a:custGeom>
              <a:avLst/>
              <a:gdLst>
                <a:gd name="T0" fmla="*/ 0 w 66"/>
                <a:gd name="T1" fmla="*/ 57150 h 18"/>
                <a:gd name="T2" fmla="*/ 25400 w 66"/>
                <a:gd name="T3" fmla="*/ 57150 h 18"/>
                <a:gd name="T4" fmla="*/ 20012 w 66"/>
                <a:gd name="T5" fmla="*/ 41275 h 18"/>
                <a:gd name="T6" fmla="*/ 15394 w 66"/>
                <a:gd name="T7" fmla="*/ 22225 h 18"/>
                <a:gd name="T8" fmla="*/ 13470 w 66"/>
                <a:gd name="T9" fmla="*/ 12700 h 18"/>
                <a:gd name="T10" fmla="*/ 11161 w 66"/>
                <a:gd name="T11" fmla="*/ 6350 h 18"/>
                <a:gd name="T12" fmla="*/ 9621 w 66"/>
                <a:gd name="T13" fmla="*/ 3175 h 18"/>
                <a:gd name="T14" fmla="*/ 7312 w 66"/>
                <a:gd name="T15" fmla="*/ 0 h 18"/>
                <a:gd name="T16" fmla="*/ 0 w 66"/>
                <a:gd name="T17" fmla="*/ 571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16" name="Freeform 311">
              <a:extLst>
                <a:ext uri="{FF2B5EF4-FFF2-40B4-BE49-F238E27FC236}">
                  <a16:creationId xmlns:a16="http://schemas.microsoft.com/office/drawing/2014/main" id="{C5DA1145-D765-4AE4-B111-0B0684F0FE98}"/>
                </a:ext>
              </a:extLst>
            </p:cNvPr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7213591" y="3565497"/>
              <a:ext cx="7938" cy="57150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17" name="Freeform 312">
              <a:extLst>
                <a:ext uri="{FF2B5EF4-FFF2-40B4-BE49-F238E27FC236}">
                  <a16:creationId xmlns:a16="http://schemas.microsoft.com/office/drawing/2014/main" id="{D5D06398-9374-4868-9621-A1E0ADA5FDCE}"/>
                </a:ext>
              </a:extLst>
            </p:cNvPr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7140566" y="3700434"/>
              <a:ext cx="30163" cy="58737"/>
            </a:xfrm>
            <a:custGeom>
              <a:avLst/>
              <a:gdLst>
                <a:gd name="T0" fmla="*/ 2514 w 72"/>
                <a:gd name="T1" fmla="*/ 58737 h 29"/>
                <a:gd name="T2" fmla="*/ 6284 w 72"/>
                <a:gd name="T3" fmla="*/ 52661 h 29"/>
                <a:gd name="T4" fmla="*/ 10054 w 72"/>
                <a:gd name="T5" fmla="*/ 48610 h 29"/>
                <a:gd name="T6" fmla="*/ 13406 w 72"/>
                <a:gd name="T7" fmla="*/ 48610 h 29"/>
                <a:gd name="T8" fmla="*/ 16338 w 72"/>
                <a:gd name="T9" fmla="*/ 48610 h 29"/>
                <a:gd name="T10" fmla="*/ 23041 w 72"/>
                <a:gd name="T11" fmla="*/ 54686 h 29"/>
                <a:gd name="T12" fmla="*/ 30163 w 72"/>
                <a:gd name="T13" fmla="*/ 58737 h 29"/>
                <a:gd name="T14" fmla="*/ 30163 w 72"/>
                <a:gd name="T15" fmla="*/ 8102 h 29"/>
                <a:gd name="T16" fmla="*/ 24298 w 72"/>
                <a:gd name="T17" fmla="*/ 2025 h 29"/>
                <a:gd name="T18" fmla="*/ 19690 w 72"/>
                <a:gd name="T19" fmla="*/ 0 h 29"/>
                <a:gd name="T20" fmla="*/ 16338 w 72"/>
                <a:gd name="T21" fmla="*/ 0 h 29"/>
                <a:gd name="T22" fmla="*/ 14244 w 72"/>
                <a:gd name="T23" fmla="*/ 4051 h 29"/>
                <a:gd name="T24" fmla="*/ 11311 w 72"/>
                <a:gd name="T25" fmla="*/ 6076 h 29"/>
                <a:gd name="T26" fmla="*/ 8798 w 72"/>
                <a:gd name="T27" fmla="*/ 10127 h 29"/>
                <a:gd name="T28" fmla="*/ 5027 w 72"/>
                <a:gd name="T29" fmla="*/ 10127 h 29"/>
                <a:gd name="T30" fmla="*/ 0 w 72"/>
                <a:gd name="T31" fmla="*/ 8102 h 29"/>
                <a:gd name="T32" fmla="*/ 1257 w 72"/>
                <a:gd name="T33" fmla="*/ 32407 h 29"/>
                <a:gd name="T34" fmla="*/ 2514 w 72"/>
                <a:gd name="T35" fmla="*/ 5873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18" name="Freeform 313">
              <a:extLst>
                <a:ext uri="{FF2B5EF4-FFF2-40B4-BE49-F238E27FC236}">
                  <a16:creationId xmlns:a16="http://schemas.microsoft.com/office/drawing/2014/main" id="{641311D0-19CF-4C03-8A8B-ED37F22F7502}"/>
                </a:ext>
              </a:extLst>
            </p:cNvPr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7148504" y="3886169"/>
              <a:ext cx="19050" cy="55562"/>
            </a:xfrm>
            <a:custGeom>
              <a:avLst/>
              <a:gdLst>
                <a:gd name="T0" fmla="*/ 0 w 46"/>
                <a:gd name="T1" fmla="*/ 0 h 37"/>
                <a:gd name="T2" fmla="*/ 3727 w 46"/>
                <a:gd name="T3" fmla="*/ 13515 h 37"/>
                <a:gd name="T4" fmla="*/ 8283 w 46"/>
                <a:gd name="T5" fmla="*/ 22526 h 37"/>
                <a:gd name="T6" fmla="*/ 12838 w 46"/>
                <a:gd name="T7" fmla="*/ 30034 h 37"/>
                <a:gd name="T8" fmla="*/ 19050 w 46"/>
                <a:gd name="T9" fmla="*/ 37543 h 37"/>
                <a:gd name="T10" fmla="*/ 15323 w 46"/>
                <a:gd name="T11" fmla="*/ 43549 h 37"/>
                <a:gd name="T12" fmla="*/ 12010 w 46"/>
                <a:gd name="T13" fmla="*/ 49556 h 37"/>
                <a:gd name="T14" fmla="*/ 8697 w 46"/>
                <a:gd name="T15" fmla="*/ 54061 h 37"/>
                <a:gd name="T16" fmla="*/ 5384 w 46"/>
                <a:gd name="T17" fmla="*/ 55563 h 37"/>
                <a:gd name="T18" fmla="*/ 3727 w 46"/>
                <a:gd name="T19" fmla="*/ 54061 h 37"/>
                <a:gd name="T20" fmla="*/ 2899 w 46"/>
                <a:gd name="T21" fmla="*/ 49556 h 37"/>
                <a:gd name="T22" fmla="*/ 2071 w 46"/>
                <a:gd name="T23" fmla="*/ 43549 h 37"/>
                <a:gd name="T24" fmla="*/ 1242 w 46"/>
                <a:gd name="T25" fmla="*/ 34539 h 37"/>
                <a:gd name="T26" fmla="*/ 414 w 46"/>
                <a:gd name="T27" fmla="*/ 18020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19" name="Freeform 314">
              <a:extLst>
                <a:ext uri="{FF2B5EF4-FFF2-40B4-BE49-F238E27FC236}">
                  <a16:creationId xmlns:a16="http://schemas.microsoft.com/office/drawing/2014/main" id="{BA57B1F3-2C28-48C8-B91A-E08E231AECCD}"/>
                </a:ext>
              </a:extLst>
            </p:cNvPr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7261216" y="3705196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11113 w 26"/>
                <a:gd name="T3" fmla="*/ 57150 h 19"/>
                <a:gd name="T4" fmla="*/ 11113 w 26"/>
                <a:gd name="T5" fmla="*/ 27071 h 19"/>
                <a:gd name="T6" fmla="*/ 11113 w 26"/>
                <a:gd name="T7" fmla="*/ 0 h 19"/>
                <a:gd name="T8" fmla="*/ 6411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20" name="Freeform 315">
              <a:extLst>
                <a:ext uri="{FF2B5EF4-FFF2-40B4-BE49-F238E27FC236}">
                  <a16:creationId xmlns:a16="http://schemas.microsoft.com/office/drawing/2014/main" id="{7ABC8290-7D89-4A04-B559-80F51B59D8E5}"/>
                </a:ext>
              </a:extLst>
            </p:cNvPr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7121516" y="3700434"/>
              <a:ext cx="19050" cy="58737"/>
            </a:xfrm>
            <a:custGeom>
              <a:avLst/>
              <a:gdLst>
                <a:gd name="T0" fmla="*/ 886 w 43"/>
                <a:gd name="T1" fmla="*/ 0 h 31"/>
                <a:gd name="T2" fmla="*/ 443 w 43"/>
                <a:gd name="T3" fmla="*/ 22737 h 31"/>
                <a:gd name="T4" fmla="*/ 0 w 43"/>
                <a:gd name="T5" fmla="*/ 43579 h 31"/>
                <a:gd name="T6" fmla="*/ 0 w 43"/>
                <a:gd name="T7" fmla="*/ 49263 h 31"/>
                <a:gd name="T8" fmla="*/ 0 w 43"/>
                <a:gd name="T9" fmla="*/ 54948 h 31"/>
                <a:gd name="T10" fmla="*/ 0 w 43"/>
                <a:gd name="T11" fmla="*/ 58737 h 31"/>
                <a:gd name="T12" fmla="*/ 886 w 43"/>
                <a:gd name="T13" fmla="*/ 58737 h 31"/>
                <a:gd name="T14" fmla="*/ 5759 w 43"/>
                <a:gd name="T15" fmla="*/ 41684 h 31"/>
                <a:gd name="T16" fmla="*/ 11076 w 43"/>
                <a:gd name="T17" fmla="*/ 24632 h 31"/>
                <a:gd name="T18" fmla="*/ 15506 w 43"/>
                <a:gd name="T19" fmla="*/ 9474 h 31"/>
                <a:gd name="T20" fmla="*/ 19050 w 43"/>
                <a:gd name="T21" fmla="*/ 0 h 31"/>
                <a:gd name="T22" fmla="*/ 886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21" name="Freeform 316">
              <a:extLst>
                <a:ext uri="{FF2B5EF4-FFF2-40B4-BE49-F238E27FC236}">
                  <a16:creationId xmlns:a16="http://schemas.microsoft.com/office/drawing/2014/main" id="{D6FF618A-A931-4ABA-A39D-F0BCA4306D96}"/>
                </a:ext>
              </a:extLst>
            </p:cNvPr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7165966" y="3748059"/>
              <a:ext cx="30163" cy="57150"/>
            </a:xfrm>
            <a:custGeom>
              <a:avLst/>
              <a:gdLst>
                <a:gd name="T0" fmla="*/ 1699 w 71"/>
                <a:gd name="T1" fmla="*/ 13996 h 49"/>
                <a:gd name="T2" fmla="*/ 1699 w 71"/>
                <a:gd name="T3" fmla="*/ 20994 h 49"/>
                <a:gd name="T4" fmla="*/ 2124 w 71"/>
                <a:gd name="T5" fmla="*/ 29158 h 49"/>
                <a:gd name="T6" fmla="*/ 2974 w 71"/>
                <a:gd name="T7" fmla="*/ 36156 h 49"/>
                <a:gd name="T8" fmla="*/ 3823 w 71"/>
                <a:gd name="T9" fmla="*/ 43154 h 49"/>
                <a:gd name="T10" fmla="*/ 5948 w 71"/>
                <a:gd name="T11" fmla="*/ 47819 h 49"/>
                <a:gd name="T12" fmla="*/ 7647 w 71"/>
                <a:gd name="T13" fmla="*/ 53651 h 49"/>
                <a:gd name="T14" fmla="*/ 9771 w 71"/>
                <a:gd name="T15" fmla="*/ 55984 h 49"/>
                <a:gd name="T16" fmla="*/ 12745 w 71"/>
                <a:gd name="T17" fmla="*/ 57150 h 49"/>
                <a:gd name="T18" fmla="*/ 14869 w 71"/>
                <a:gd name="T19" fmla="*/ 55984 h 49"/>
                <a:gd name="T20" fmla="*/ 16993 w 71"/>
                <a:gd name="T21" fmla="*/ 53651 h 49"/>
                <a:gd name="T22" fmla="*/ 19117 w 71"/>
                <a:gd name="T23" fmla="*/ 48986 h 49"/>
                <a:gd name="T24" fmla="*/ 21242 w 71"/>
                <a:gd name="T25" fmla="*/ 43154 h 49"/>
                <a:gd name="T26" fmla="*/ 25490 w 71"/>
                <a:gd name="T27" fmla="*/ 32657 h 49"/>
                <a:gd name="T28" fmla="*/ 30163 w 71"/>
                <a:gd name="T29" fmla="*/ 20994 h 49"/>
                <a:gd name="T30" fmla="*/ 25915 w 71"/>
                <a:gd name="T31" fmla="*/ 13996 h 49"/>
                <a:gd name="T32" fmla="*/ 22091 w 71"/>
                <a:gd name="T33" fmla="*/ 10497 h 49"/>
                <a:gd name="T34" fmla="*/ 18693 w 71"/>
                <a:gd name="T35" fmla="*/ 8164 h 49"/>
                <a:gd name="T36" fmla="*/ 15719 w 71"/>
                <a:gd name="T37" fmla="*/ 6998 h 49"/>
                <a:gd name="T38" fmla="*/ 12320 w 71"/>
                <a:gd name="T39" fmla="*/ 6998 h 49"/>
                <a:gd name="T40" fmla="*/ 8921 w 71"/>
                <a:gd name="T41" fmla="*/ 5832 h 49"/>
                <a:gd name="T42" fmla="*/ 5948 w 71"/>
                <a:gd name="T43" fmla="*/ 3499 h 49"/>
                <a:gd name="T44" fmla="*/ 1699 w 71"/>
                <a:gd name="T45" fmla="*/ 0 h 49"/>
                <a:gd name="T46" fmla="*/ 1274 w 71"/>
                <a:gd name="T47" fmla="*/ 1166 h 49"/>
                <a:gd name="T48" fmla="*/ 425 w 71"/>
                <a:gd name="T49" fmla="*/ 6998 h 49"/>
                <a:gd name="T50" fmla="*/ 0 w 71"/>
                <a:gd name="T51" fmla="*/ 9331 h 49"/>
                <a:gd name="T52" fmla="*/ 0 w 71"/>
                <a:gd name="T53" fmla="*/ 11663 h 49"/>
                <a:gd name="T54" fmla="*/ 425 w 71"/>
                <a:gd name="T55" fmla="*/ 12830 h 49"/>
                <a:gd name="T56" fmla="*/ 1699 w 71"/>
                <a:gd name="T57" fmla="*/ 1399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22" name="Freeform 317">
              <a:extLst>
                <a:ext uri="{FF2B5EF4-FFF2-40B4-BE49-F238E27FC236}">
                  <a16:creationId xmlns:a16="http://schemas.microsoft.com/office/drawing/2014/main" id="{26CAD074-99A3-4EA8-8DA0-B9A35BB7CE97}"/>
                </a:ext>
              </a:extLst>
            </p:cNvPr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6967529" y="3951256"/>
              <a:ext cx="46037" cy="58737"/>
            </a:xfrm>
            <a:custGeom>
              <a:avLst/>
              <a:gdLst>
                <a:gd name="T0" fmla="*/ 18908 w 112"/>
                <a:gd name="T1" fmla="*/ 4518 h 26"/>
                <a:gd name="T2" fmla="*/ 23019 w 112"/>
                <a:gd name="T3" fmla="*/ 4518 h 26"/>
                <a:gd name="T4" fmla="*/ 27129 w 112"/>
                <a:gd name="T5" fmla="*/ 6777 h 26"/>
                <a:gd name="T6" fmla="*/ 30417 w 112"/>
                <a:gd name="T7" fmla="*/ 9036 h 26"/>
                <a:gd name="T8" fmla="*/ 34528 w 112"/>
                <a:gd name="T9" fmla="*/ 13555 h 26"/>
                <a:gd name="T10" fmla="*/ 37816 w 112"/>
                <a:gd name="T11" fmla="*/ 20332 h 26"/>
                <a:gd name="T12" fmla="*/ 41104 w 112"/>
                <a:gd name="T13" fmla="*/ 27109 h 26"/>
                <a:gd name="T14" fmla="*/ 43571 w 112"/>
                <a:gd name="T15" fmla="*/ 36146 h 26"/>
                <a:gd name="T16" fmla="*/ 46037 w 112"/>
                <a:gd name="T17" fmla="*/ 45182 h 26"/>
                <a:gd name="T18" fmla="*/ 45215 w 112"/>
                <a:gd name="T19" fmla="*/ 49701 h 26"/>
                <a:gd name="T20" fmla="*/ 43160 w 112"/>
                <a:gd name="T21" fmla="*/ 51960 h 26"/>
                <a:gd name="T22" fmla="*/ 41516 w 112"/>
                <a:gd name="T23" fmla="*/ 56478 h 26"/>
                <a:gd name="T24" fmla="*/ 39049 w 112"/>
                <a:gd name="T25" fmla="*/ 56478 h 26"/>
                <a:gd name="T26" fmla="*/ 35761 w 112"/>
                <a:gd name="T27" fmla="*/ 58737 h 26"/>
                <a:gd name="T28" fmla="*/ 32473 w 112"/>
                <a:gd name="T29" fmla="*/ 58737 h 26"/>
                <a:gd name="T30" fmla="*/ 27129 w 112"/>
                <a:gd name="T31" fmla="*/ 54219 h 26"/>
                <a:gd name="T32" fmla="*/ 16853 w 112"/>
                <a:gd name="T33" fmla="*/ 42923 h 26"/>
                <a:gd name="T34" fmla="*/ 6577 w 112"/>
                <a:gd name="T35" fmla="*/ 29369 h 26"/>
                <a:gd name="T36" fmla="*/ 0 w 112"/>
                <a:gd name="T37" fmla="*/ 18073 h 26"/>
                <a:gd name="T38" fmla="*/ 2055 w 112"/>
                <a:gd name="T39" fmla="*/ 9036 h 26"/>
                <a:gd name="T40" fmla="*/ 4521 w 112"/>
                <a:gd name="T41" fmla="*/ 4518 h 26"/>
                <a:gd name="T42" fmla="*/ 7399 w 112"/>
                <a:gd name="T43" fmla="*/ 2259 h 26"/>
                <a:gd name="T44" fmla="*/ 10276 w 112"/>
                <a:gd name="T45" fmla="*/ 0 h 26"/>
                <a:gd name="T46" fmla="*/ 15209 w 112"/>
                <a:gd name="T47" fmla="*/ 2259 h 26"/>
                <a:gd name="T48" fmla="*/ 18908 w 112"/>
                <a:gd name="T49" fmla="*/ 4518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23" name="Freeform 318">
              <a:extLst>
                <a:ext uri="{FF2B5EF4-FFF2-40B4-BE49-F238E27FC236}">
                  <a16:creationId xmlns:a16="http://schemas.microsoft.com/office/drawing/2014/main" id="{005BF0B7-4554-4EEB-94B5-17AACA7989C5}"/>
                </a:ext>
              </a:extLst>
            </p:cNvPr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7065954" y="3989356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14287 w 41"/>
                <a:gd name="T3" fmla="*/ 0 h 25"/>
                <a:gd name="T4" fmla="*/ 9757 w 41"/>
                <a:gd name="T5" fmla="*/ 18796 h 25"/>
                <a:gd name="T6" fmla="*/ 6272 w 41"/>
                <a:gd name="T7" fmla="*/ 35242 h 25"/>
                <a:gd name="T8" fmla="*/ 3136 w 41"/>
                <a:gd name="T9" fmla="*/ 46990 h 25"/>
                <a:gd name="T10" fmla="*/ 0 w 41"/>
                <a:gd name="T11" fmla="*/ 5873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24" name="Freeform 319">
              <a:extLst>
                <a:ext uri="{FF2B5EF4-FFF2-40B4-BE49-F238E27FC236}">
                  <a16:creationId xmlns:a16="http://schemas.microsoft.com/office/drawing/2014/main" id="{37D43330-C3CC-4AC3-B936-6881A3A63A12}"/>
                </a:ext>
              </a:extLst>
            </p:cNvPr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6899266" y="3921094"/>
              <a:ext cx="36513" cy="55562"/>
            </a:xfrm>
            <a:custGeom>
              <a:avLst/>
              <a:gdLst>
                <a:gd name="T0" fmla="*/ 0 w 81"/>
                <a:gd name="T1" fmla="*/ 55563 h 31"/>
                <a:gd name="T2" fmla="*/ 0 w 81"/>
                <a:gd name="T3" fmla="*/ 39432 h 31"/>
                <a:gd name="T4" fmla="*/ 0 w 81"/>
                <a:gd name="T5" fmla="*/ 23301 h 31"/>
                <a:gd name="T6" fmla="*/ 0 w 81"/>
                <a:gd name="T7" fmla="*/ 17924 h 31"/>
                <a:gd name="T8" fmla="*/ 902 w 81"/>
                <a:gd name="T9" fmla="*/ 14339 h 31"/>
                <a:gd name="T10" fmla="*/ 1352 w 81"/>
                <a:gd name="T11" fmla="*/ 10754 h 31"/>
                <a:gd name="T12" fmla="*/ 1803 w 81"/>
                <a:gd name="T13" fmla="*/ 7169 h 31"/>
                <a:gd name="T14" fmla="*/ 3606 w 81"/>
                <a:gd name="T15" fmla="*/ 3585 h 31"/>
                <a:gd name="T16" fmla="*/ 6311 w 81"/>
                <a:gd name="T17" fmla="*/ 0 h 31"/>
                <a:gd name="T18" fmla="*/ 11720 w 81"/>
                <a:gd name="T19" fmla="*/ 1792 h 31"/>
                <a:gd name="T20" fmla="*/ 18482 w 81"/>
                <a:gd name="T21" fmla="*/ 1792 h 31"/>
                <a:gd name="T22" fmla="*/ 25244 w 81"/>
                <a:gd name="T23" fmla="*/ 1792 h 31"/>
                <a:gd name="T24" fmla="*/ 29301 w 81"/>
                <a:gd name="T25" fmla="*/ 1792 h 31"/>
                <a:gd name="T26" fmla="*/ 32907 w 81"/>
                <a:gd name="T27" fmla="*/ 1792 h 31"/>
                <a:gd name="T28" fmla="*/ 36513 w 81"/>
                <a:gd name="T29" fmla="*/ 1792 h 31"/>
                <a:gd name="T30" fmla="*/ 32907 w 81"/>
                <a:gd name="T31" fmla="*/ 10754 h 31"/>
                <a:gd name="T32" fmla="*/ 30202 w 81"/>
                <a:gd name="T33" fmla="*/ 17924 h 31"/>
                <a:gd name="T34" fmla="*/ 28850 w 81"/>
                <a:gd name="T35" fmla="*/ 25093 h 31"/>
                <a:gd name="T36" fmla="*/ 27948 w 81"/>
                <a:gd name="T37" fmla="*/ 32262 h 31"/>
                <a:gd name="T38" fmla="*/ 26596 w 81"/>
                <a:gd name="T39" fmla="*/ 37639 h 31"/>
                <a:gd name="T40" fmla="*/ 24342 w 81"/>
                <a:gd name="T41" fmla="*/ 41224 h 31"/>
                <a:gd name="T42" fmla="*/ 21187 w 81"/>
                <a:gd name="T43" fmla="*/ 44809 h 31"/>
                <a:gd name="T44" fmla="*/ 15326 w 81"/>
                <a:gd name="T45" fmla="*/ 44809 h 31"/>
                <a:gd name="T46" fmla="*/ 0 w 81"/>
                <a:gd name="T47" fmla="*/ 5556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26" name="Freeform 321">
              <a:extLst>
                <a:ext uri="{FF2B5EF4-FFF2-40B4-BE49-F238E27FC236}">
                  <a16:creationId xmlns:a16="http://schemas.microsoft.com/office/drawing/2014/main" id="{7762E3CD-B2BA-429E-AC6E-627B97A35B8E}"/>
                </a:ext>
              </a:extLst>
            </p:cNvPr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6996104" y="3916332"/>
              <a:ext cx="36512" cy="58737"/>
            </a:xfrm>
            <a:custGeom>
              <a:avLst/>
              <a:gdLst>
                <a:gd name="T0" fmla="*/ 0 w 86"/>
                <a:gd name="T1" fmla="*/ 26815 h 46"/>
                <a:gd name="T2" fmla="*/ 5944 w 86"/>
                <a:gd name="T3" fmla="*/ 33199 h 46"/>
                <a:gd name="T4" fmla="*/ 10614 w 86"/>
                <a:gd name="T5" fmla="*/ 37030 h 46"/>
                <a:gd name="T6" fmla="*/ 12737 w 86"/>
                <a:gd name="T7" fmla="*/ 38307 h 46"/>
                <a:gd name="T8" fmla="*/ 15284 w 86"/>
                <a:gd name="T9" fmla="*/ 38307 h 46"/>
                <a:gd name="T10" fmla="*/ 17407 w 86"/>
                <a:gd name="T11" fmla="*/ 37030 h 46"/>
                <a:gd name="T12" fmla="*/ 19530 w 86"/>
                <a:gd name="T13" fmla="*/ 34476 h 46"/>
                <a:gd name="T14" fmla="*/ 19530 w 86"/>
                <a:gd name="T15" fmla="*/ 45968 h 46"/>
                <a:gd name="T16" fmla="*/ 19530 w 86"/>
                <a:gd name="T17" fmla="*/ 58737 h 46"/>
                <a:gd name="T18" fmla="*/ 23775 w 86"/>
                <a:gd name="T19" fmla="*/ 57460 h 46"/>
                <a:gd name="T20" fmla="*/ 28445 w 86"/>
                <a:gd name="T21" fmla="*/ 54906 h 46"/>
                <a:gd name="T22" fmla="*/ 32691 w 86"/>
                <a:gd name="T23" fmla="*/ 51076 h 46"/>
                <a:gd name="T24" fmla="*/ 36512 w 86"/>
                <a:gd name="T25" fmla="*/ 51076 h 46"/>
                <a:gd name="T26" fmla="*/ 35238 w 86"/>
                <a:gd name="T27" fmla="*/ 40861 h 46"/>
                <a:gd name="T28" fmla="*/ 33965 w 86"/>
                <a:gd name="T29" fmla="*/ 31922 h 46"/>
                <a:gd name="T30" fmla="*/ 31417 w 86"/>
                <a:gd name="T31" fmla="*/ 24261 h 46"/>
                <a:gd name="T32" fmla="*/ 29719 w 86"/>
                <a:gd name="T33" fmla="*/ 17876 h 46"/>
                <a:gd name="T34" fmla="*/ 27172 w 86"/>
                <a:gd name="T35" fmla="*/ 11492 h 46"/>
                <a:gd name="T36" fmla="*/ 24624 w 86"/>
                <a:gd name="T37" fmla="*/ 7661 h 46"/>
                <a:gd name="T38" fmla="*/ 21652 w 86"/>
                <a:gd name="T39" fmla="*/ 3831 h 46"/>
                <a:gd name="T40" fmla="*/ 19530 w 86"/>
                <a:gd name="T41" fmla="*/ 1277 h 46"/>
                <a:gd name="T42" fmla="*/ 16558 w 86"/>
                <a:gd name="T43" fmla="*/ 0 h 46"/>
                <a:gd name="T44" fmla="*/ 14010 w 86"/>
                <a:gd name="T45" fmla="*/ 0 h 46"/>
                <a:gd name="T46" fmla="*/ 11039 w 86"/>
                <a:gd name="T47" fmla="*/ 1277 h 46"/>
                <a:gd name="T48" fmla="*/ 8067 w 86"/>
                <a:gd name="T49" fmla="*/ 3831 h 46"/>
                <a:gd name="T50" fmla="*/ 5944 w 86"/>
                <a:gd name="T51" fmla="*/ 7661 h 46"/>
                <a:gd name="T52" fmla="*/ 3396 w 86"/>
                <a:gd name="T53" fmla="*/ 12769 h 46"/>
                <a:gd name="T54" fmla="*/ 1698 w 86"/>
                <a:gd name="T55" fmla="*/ 19153 h 46"/>
                <a:gd name="T56" fmla="*/ 0 w 86"/>
                <a:gd name="T57" fmla="*/ 26815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28" name="Freeform 323">
              <a:extLst>
                <a:ext uri="{FF2B5EF4-FFF2-40B4-BE49-F238E27FC236}">
                  <a16:creationId xmlns:a16="http://schemas.microsoft.com/office/drawing/2014/main" id="{A8380D57-1BB6-4341-AADD-09A9E0D51257}"/>
                </a:ext>
              </a:extLst>
            </p:cNvPr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7121516" y="3913157"/>
              <a:ext cx="1588" cy="55562"/>
            </a:xfrm>
            <a:custGeom>
              <a:avLst/>
              <a:gdLst>
                <a:gd name="T0" fmla="*/ 1588 w 4"/>
                <a:gd name="T1" fmla="*/ 55562 h 19"/>
                <a:gd name="T2" fmla="*/ 1588 w 4"/>
                <a:gd name="T3" fmla="*/ 0 h 19"/>
                <a:gd name="T4" fmla="*/ 794 w 4"/>
                <a:gd name="T5" fmla="*/ 2924 h 19"/>
                <a:gd name="T6" fmla="*/ 397 w 4"/>
                <a:gd name="T7" fmla="*/ 8773 h 19"/>
                <a:gd name="T8" fmla="*/ 0 w 4"/>
                <a:gd name="T9" fmla="*/ 17546 h 19"/>
                <a:gd name="T10" fmla="*/ 0 w 4"/>
                <a:gd name="T11" fmla="*/ 29243 h 19"/>
                <a:gd name="T12" fmla="*/ 0 w 4"/>
                <a:gd name="T13" fmla="*/ 40940 h 19"/>
                <a:gd name="T14" fmla="*/ 397 w 4"/>
                <a:gd name="T15" fmla="*/ 46789 h 19"/>
                <a:gd name="T16" fmla="*/ 794 w 4"/>
                <a:gd name="T17" fmla="*/ 55562 h 19"/>
                <a:gd name="T18" fmla="*/ 1588 w 4"/>
                <a:gd name="T19" fmla="*/ 5556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0" name="Freeform 325">
              <a:extLst>
                <a:ext uri="{FF2B5EF4-FFF2-40B4-BE49-F238E27FC236}">
                  <a16:creationId xmlns:a16="http://schemas.microsoft.com/office/drawing/2014/main" id="{2D4FC9B5-000A-411B-8992-BF150D2B77E1}"/>
                </a:ext>
              </a:extLst>
            </p:cNvPr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642092" y="3700434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4570 w 66"/>
                <a:gd name="T3" fmla="*/ 0 h 80"/>
                <a:gd name="T4" fmla="*/ 8226 w 66"/>
                <a:gd name="T5" fmla="*/ 0 h 80"/>
                <a:gd name="T6" fmla="*/ 11882 w 66"/>
                <a:gd name="T7" fmla="*/ 0 h 80"/>
                <a:gd name="T8" fmla="*/ 15082 w 66"/>
                <a:gd name="T9" fmla="*/ 0 h 80"/>
                <a:gd name="T10" fmla="*/ 15082 w 66"/>
                <a:gd name="T11" fmla="*/ 5139 h 80"/>
                <a:gd name="T12" fmla="*/ 15539 w 66"/>
                <a:gd name="T13" fmla="*/ 10279 h 80"/>
                <a:gd name="T14" fmla="*/ 16453 w 66"/>
                <a:gd name="T15" fmla="*/ 15418 h 80"/>
                <a:gd name="T16" fmla="*/ 17367 w 66"/>
                <a:gd name="T17" fmla="*/ 19824 h 80"/>
                <a:gd name="T18" fmla="*/ 20109 w 66"/>
                <a:gd name="T19" fmla="*/ 26432 h 80"/>
                <a:gd name="T20" fmla="*/ 22394 w 66"/>
                <a:gd name="T21" fmla="*/ 33040 h 80"/>
                <a:gd name="T22" fmla="*/ 25593 w 66"/>
                <a:gd name="T23" fmla="*/ 38179 h 80"/>
                <a:gd name="T24" fmla="*/ 27878 w 66"/>
                <a:gd name="T25" fmla="*/ 44053 h 80"/>
                <a:gd name="T26" fmla="*/ 28335 w 66"/>
                <a:gd name="T27" fmla="*/ 47724 h 80"/>
                <a:gd name="T28" fmla="*/ 29706 w 66"/>
                <a:gd name="T29" fmla="*/ 50661 h 80"/>
                <a:gd name="T30" fmla="*/ 30163 w 66"/>
                <a:gd name="T31" fmla="*/ 55066 h 80"/>
                <a:gd name="T32" fmla="*/ 30163 w 66"/>
                <a:gd name="T33" fmla="*/ 58737 h 80"/>
                <a:gd name="T34" fmla="*/ 0 w 66"/>
                <a:gd name="T35" fmla="*/ 13216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1" name="Freeform 326">
              <a:extLst>
                <a:ext uri="{FF2B5EF4-FFF2-40B4-BE49-F238E27FC236}">
                  <a16:creationId xmlns:a16="http://schemas.microsoft.com/office/drawing/2014/main" id="{D03E53CC-9819-4568-BF58-2EAEFCC0692F}"/>
                </a:ext>
              </a:extLst>
            </p:cNvPr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476992" y="3684559"/>
              <a:ext cx="7938" cy="57150"/>
            </a:xfrm>
            <a:custGeom>
              <a:avLst/>
              <a:gdLst>
                <a:gd name="T0" fmla="*/ 7938 w 20"/>
                <a:gd name="T1" fmla="*/ 57150 h 48"/>
                <a:gd name="T2" fmla="*/ 7938 w 20"/>
                <a:gd name="T3" fmla="*/ 46434 h 48"/>
                <a:gd name="T4" fmla="*/ 7541 w 20"/>
                <a:gd name="T5" fmla="*/ 38100 h 48"/>
                <a:gd name="T6" fmla="*/ 6350 w 20"/>
                <a:gd name="T7" fmla="*/ 29766 h 48"/>
                <a:gd name="T8" fmla="*/ 5557 w 20"/>
                <a:gd name="T9" fmla="*/ 22622 h 48"/>
                <a:gd name="T10" fmla="*/ 4763 w 20"/>
                <a:gd name="T11" fmla="*/ 16669 h 48"/>
                <a:gd name="T12" fmla="*/ 3572 w 20"/>
                <a:gd name="T13" fmla="*/ 10716 h 48"/>
                <a:gd name="T14" fmla="*/ 1588 w 20"/>
                <a:gd name="T15" fmla="*/ 4763 h 48"/>
                <a:gd name="T16" fmla="*/ 0 w 20"/>
                <a:gd name="T17" fmla="*/ 0 h 48"/>
                <a:gd name="T18" fmla="*/ 0 w 20"/>
                <a:gd name="T19" fmla="*/ 9525 h 48"/>
                <a:gd name="T20" fmla="*/ 794 w 20"/>
                <a:gd name="T21" fmla="*/ 20241 h 48"/>
                <a:gd name="T22" fmla="*/ 1588 w 20"/>
                <a:gd name="T23" fmla="*/ 28575 h 48"/>
                <a:gd name="T24" fmla="*/ 3175 w 20"/>
                <a:gd name="T25" fmla="*/ 36909 h 48"/>
                <a:gd name="T26" fmla="*/ 5557 w 20"/>
                <a:gd name="T27" fmla="*/ 48816 h 48"/>
                <a:gd name="T28" fmla="*/ 7938 w 20"/>
                <a:gd name="T29" fmla="*/ 57150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2" name="Line 327" descr="Horizontal dunkel">
              <a:extLst>
                <a:ext uri="{FF2B5EF4-FFF2-40B4-BE49-F238E27FC236}">
                  <a16:creationId xmlns:a16="http://schemas.microsoft.com/office/drawing/2014/main" id="{185657AC-A850-4BCC-A2B9-F705BAD3F166}"/>
                </a:ext>
              </a:extLst>
            </p:cNvPr>
            <p:cNvSpPr>
              <a:spLocks noChangeShapeType="1"/>
            </p:cNvSpPr>
            <p:nvPr>
              <p:custDataLst>
                <p:tags r:id="rId203"/>
              </p:custDataLst>
            </p:nvPr>
          </p:nvSpPr>
          <p:spPr bwMode="auto">
            <a:xfrm>
              <a:off x="6502392" y="372107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3" name="Freeform 328">
              <a:extLst>
                <a:ext uri="{FF2B5EF4-FFF2-40B4-BE49-F238E27FC236}">
                  <a16:creationId xmlns:a16="http://schemas.microsoft.com/office/drawing/2014/main" id="{D824D36D-20EC-4713-88CB-B8A6995C4465}"/>
                </a:ext>
              </a:extLst>
            </p:cNvPr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6499217" y="3721070"/>
              <a:ext cx="7938" cy="57150"/>
            </a:xfrm>
            <a:custGeom>
              <a:avLst/>
              <a:gdLst>
                <a:gd name="T0" fmla="*/ 7938 w 20"/>
                <a:gd name="T1" fmla="*/ 57150 h 12"/>
                <a:gd name="T2" fmla="*/ 7938 w 20"/>
                <a:gd name="T3" fmla="*/ 38100 h 12"/>
                <a:gd name="T4" fmla="*/ 7144 w 20"/>
                <a:gd name="T5" fmla="*/ 23813 h 12"/>
                <a:gd name="T6" fmla="*/ 5954 w 20"/>
                <a:gd name="T7" fmla="*/ 14288 h 12"/>
                <a:gd name="T8" fmla="*/ 5160 w 20"/>
                <a:gd name="T9" fmla="*/ 9525 h 12"/>
                <a:gd name="T10" fmla="*/ 277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4" name="Freeform 329">
              <a:extLst>
                <a:ext uri="{FF2B5EF4-FFF2-40B4-BE49-F238E27FC236}">
                  <a16:creationId xmlns:a16="http://schemas.microsoft.com/office/drawing/2014/main" id="{CFD6F59C-859E-41C5-8622-5314C2425239}"/>
                </a:ext>
              </a:extLst>
            </p:cNvPr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6400792" y="3565497"/>
              <a:ext cx="22225" cy="57150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6" name="Freeform 331">
              <a:extLst>
                <a:ext uri="{FF2B5EF4-FFF2-40B4-BE49-F238E27FC236}">
                  <a16:creationId xmlns:a16="http://schemas.microsoft.com/office/drawing/2014/main" id="{C79C014F-342F-4D2C-8D8D-5544907BC86B}"/>
                </a:ext>
              </a:extLst>
            </p:cNvPr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7445366" y="3886169"/>
              <a:ext cx="28575" cy="55562"/>
            </a:xfrm>
            <a:custGeom>
              <a:avLst/>
              <a:gdLst>
                <a:gd name="T0" fmla="*/ 8353 w 65"/>
                <a:gd name="T1" fmla="*/ 55563 h 68"/>
                <a:gd name="T2" fmla="*/ 7034 w 65"/>
                <a:gd name="T3" fmla="*/ 55563 h 68"/>
                <a:gd name="T4" fmla="*/ 6155 w 65"/>
                <a:gd name="T5" fmla="*/ 53929 h 68"/>
                <a:gd name="T6" fmla="*/ 4836 w 65"/>
                <a:gd name="T7" fmla="*/ 52295 h 68"/>
                <a:gd name="T8" fmla="*/ 3077 w 65"/>
                <a:gd name="T9" fmla="*/ 49843 h 68"/>
                <a:gd name="T10" fmla="*/ 1758 w 65"/>
                <a:gd name="T11" fmla="*/ 48209 h 68"/>
                <a:gd name="T12" fmla="*/ 879 w 65"/>
                <a:gd name="T13" fmla="*/ 44941 h 68"/>
                <a:gd name="T14" fmla="*/ 0 w 65"/>
                <a:gd name="T15" fmla="*/ 42489 h 68"/>
                <a:gd name="T16" fmla="*/ 0 w 65"/>
                <a:gd name="T17" fmla="*/ 40038 h 68"/>
                <a:gd name="T18" fmla="*/ 0 w 65"/>
                <a:gd name="T19" fmla="*/ 31050 h 68"/>
                <a:gd name="T20" fmla="*/ 879 w 65"/>
                <a:gd name="T21" fmla="*/ 23696 h 68"/>
                <a:gd name="T22" fmla="*/ 2198 w 65"/>
                <a:gd name="T23" fmla="*/ 17159 h 68"/>
                <a:gd name="T24" fmla="*/ 3957 w 65"/>
                <a:gd name="T25" fmla="*/ 11439 h 68"/>
                <a:gd name="T26" fmla="*/ 6594 w 65"/>
                <a:gd name="T27" fmla="*/ 6537 h 68"/>
                <a:gd name="T28" fmla="*/ 9672 w 65"/>
                <a:gd name="T29" fmla="*/ 3268 h 68"/>
                <a:gd name="T30" fmla="*/ 13188 w 65"/>
                <a:gd name="T31" fmla="*/ 1634 h 68"/>
                <a:gd name="T32" fmla="*/ 17145 w 65"/>
                <a:gd name="T33" fmla="*/ 0 h 68"/>
                <a:gd name="T34" fmla="*/ 22860 w 65"/>
                <a:gd name="T35" fmla="*/ 0 h 68"/>
                <a:gd name="T36" fmla="*/ 28575 w 65"/>
                <a:gd name="T37" fmla="*/ 0 h 68"/>
                <a:gd name="T38" fmla="*/ 28575 w 65"/>
                <a:gd name="T39" fmla="*/ 35135 h 68"/>
                <a:gd name="T40" fmla="*/ 24618 w 65"/>
                <a:gd name="T41" fmla="*/ 42489 h 68"/>
                <a:gd name="T42" fmla="*/ 19783 w 65"/>
                <a:gd name="T43" fmla="*/ 49843 h 68"/>
                <a:gd name="T44" fmla="*/ 17145 w 65"/>
                <a:gd name="T45" fmla="*/ 52295 h 68"/>
                <a:gd name="T46" fmla="*/ 14947 w 65"/>
                <a:gd name="T47" fmla="*/ 53929 h 68"/>
                <a:gd name="T48" fmla="*/ 11870 w 65"/>
                <a:gd name="T49" fmla="*/ 55563 h 68"/>
                <a:gd name="T50" fmla="*/ 8353 w 65"/>
                <a:gd name="T51" fmla="*/ 55563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7" name="Freeform 332">
              <a:extLst>
                <a:ext uri="{FF2B5EF4-FFF2-40B4-BE49-F238E27FC236}">
                  <a16:creationId xmlns:a16="http://schemas.microsoft.com/office/drawing/2014/main" id="{B3EF4998-61E9-4F0E-A701-FF4C5745BE3E}"/>
                </a:ext>
              </a:extLst>
            </p:cNvPr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6383330" y="3468661"/>
              <a:ext cx="274637" cy="368297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8" name="Freeform 333">
              <a:extLst>
                <a:ext uri="{FF2B5EF4-FFF2-40B4-BE49-F238E27FC236}">
                  <a16:creationId xmlns:a16="http://schemas.microsoft.com/office/drawing/2014/main" id="{E228746E-6669-4B03-A8C3-76D1DFC29F96}"/>
                </a:ext>
              </a:extLst>
            </p:cNvPr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6724642" y="3517872"/>
              <a:ext cx="254000" cy="257173"/>
            </a:xfrm>
            <a:custGeom>
              <a:avLst/>
              <a:gdLst>
                <a:gd name="T0" fmla="*/ 224041 w 585"/>
                <a:gd name="T1" fmla="*/ 14606 h 493"/>
                <a:gd name="T2" fmla="*/ 214923 w 585"/>
                <a:gd name="T3" fmla="*/ 28691 h 493"/>
                <a:gd name="T4" fmla="*/ 222304 w 585"/>
                <a:gd name="T5" fmla="*/ 48514 h 493"/>
                <a:gd name="T6" fmla="*/ 231856 w 585"/>
                <a:gd name="T7" fmla="*/ 67815 h 493"/>
                <a:gd name="T8" fmla="*/ 248790 w 585"/>
                <a:gd name="T9" fmla="*/ 92333 h 493"/>
                <a:gd name="T10" fmla="*/ 251829 w 585"/>
                <a:gd name="T11" fmla="*/ 106939 h 493"/>
                <a:gd name="T12" fmla="*/ 237501 w 585"/>
                <a:gd name="T13" fmla="*/ 106417 h 493"/>
                <a:gd name="T14" fmla="*/ 224041 w 585"/>
                <a:gd name="T15" fmla="*/ 121545 h 493"/>
                <a:gd name="T16" fmla="*/ 219699 w 585"/>
                <a:gd name="T17" fmla="*/ 128327 h 493"/>
                <a:gd name="T18" fmla="*/ 224909 w 585"/>
                <a:gd name="T19" fmla="*/ 141368 h 493"/>
                <a:gd name="T20" fmla="*/ 227949 w 585"/>
                <a:gd name="T21" fmla="*/ 153366 h 493"/>
                <a:gd name="T22" fmla="*/ 219265 w 585"/>
                <a:gd name="T23" fmla="*/ 160669 h 493"/>
                <a:gd name="T24" fmla="*/ 199292 w 585"/>
                <a:gd name="T25" fmla="*/ 168494 h 493"/>
                <a:gd name="T26" fmla="*/ 192345 w 585"/>
                <a:gd name="T27" fmla="*/ 184665 h 493"/>
                <a:gd name="T28" fmla="*/ 193214 w 585"/>
                <a:gd name="T29" fmla="*/ 216486 h 493"/>
                <a:gd name="T30" fmla="*/ 186701 w 585"/>
                <a:gd name="T31" fmla="*/ 236831 h 493"/>
                <a:gd name="T32" fmla="*/ 173675 w 585"/>
                <a:gd name="T33" fmla="*/ 246220 h 493"/>
                <a:gd name="T34" fmla="*/ 160650 w 585"/>
                <a:gd name="T35" fmla="*/ 254567 h 493"/>
                <a:gd name="T36" fmla="*/ 148058 w 585"/>
                <a:gd name="T37" fmla="*/ 257175 h 493"/>
                <a:gd name="T38" fmla="*/ 142848 w 585"/>
                <a:gd name="T39" fmla="*/ 254045 h 493"/>
                <a:gd name="T40" fmla="*/ 141979 w 585"/>
                <a:gd name="T41" fmla="*/ 245699 h 493"/>
                <a:gd name="T42" fmla="*/ 131993 w 585"/>
                <a:gd name="T43" fmla="*/ 235266 h 493"/>
                <a:gd name="T44" fmla="*/ 108981 w 585"/>
                <a:gd name="T45" fmla="*/ 236831 h 493"/>
                <a:gd name="T46" fmla="*/ 95087 w 585"/>
                <a:gd name="T47" fmla="*/ 241004 h 493"/>
                <a:gd name="T48" fmla="*/ 76417 w 585"/>
                <a:gd name="T49" fmla="*/ 229527 h 493"/>
                <a:gd name="T50" fmla="*/ 52971 w 585"/>
                <a:gd name="T51" fmla="*/ 227441 h 493"/>
                <a:gd name="T52" fmla="*/ 41248 w 585"/>
                <a:gd name="T53" fmla="*/ 223789 h 493"/>
                <a:gd name="T54" fmla="*/ 35169 w 585"/>
                <a:gd name="T55" fmla="*/ 190925 h 493"/>
                <a:gd name="T56" fmla="*/ 25183 w 585"/>
                <a:gd name="T57" fmla="*/ 161712 h 493"/>
                <a:gd name="T58" fmla="*/ 15197 w 585"/>
                <a:gd name="T59" fmla="*/ 152323 h 493"/>
                <a:gd name="T60" fmla="*/ 5210 w 585"/>
                <a:gd name="T61" fmla="*/ 135630 h 493"/>
                <a:gd name="T62" fmla="*/ 2171 w 585"/>
                <a:gd name="T63" fmla="*/ 106417 h 493"/>
                <a:gd name="T64" fmla="*/ 13460 w 585"/>
                <a:gd name="T65" fmla="*/ 79813 h 493"/>
                <a:gd name="T66" fmla="*/ 23446 w 585"/>
                <a:gd name="T67" fmla="*/ 73553 h 493"/>
                <a:gd name="T68" fmla="*/ 32564 w 585"/>
                <a:gd name="T69" fmla="*/ 79291 h 493"/>
                <a:gd name="T70" fmla="*/ 42116 w 585"/>
                <a:gd name="T71" fmla="*/ 97549 h 493"/>
                <a:gd name="T72" fmla="*/ 56010 w 585"/>
                <a:gd name="T73" fmla="*/ 111634 h 493"/>
                <a:gd name="T74" fmla="*/ 73812 w 585"/>
                <a:gd name="T75" fmla="*/ 111112 h 493"/>
                <a:gd name="T76" fmla="*/ 95956 w 585"/>
                <a:gd name="T77" fmla="*/ 98592 h 493"/>
                <a:gd name="T78" fmla="*/ 101166 w 585"/>
                <a:gd name="T79" fmla="*/ 89724 h 493"/>
                <a:gd name="T80" fmla="*/ 125046 w 585"/>
                <a:gd name="T81" fmla="*/ 92854 h 493"/>
                <a:gd name="T82" fmla="*/ 141545 w 585"/>
                <a:gd name="T83" fmla="*/ 94419 h 493"/>
                <a:gd name="T84" fmla="*/ 146321 w 585"/>
                <a:gd name="T85" fmla="*/ 88681 h 493"/>
                <a:gd name="T86" fmla="*/ 157176 w 585"/>
                <a:gd name="T87" fmla="*/ 82421 h 493"/>
                <a:gd name="T88" fmla="*/ 166294 w 585"/>
                <a:gd name="T89" fmla="*/ 70945 h 493"/>
                <a:gd name="T90" fmla="*/ 180188 w 585"/>
                <a:gd name="T91" fmla="*/ 41211 h 493"/>
                <a:gd name="T92" fmla="*/ 185398 w 585"/>
                <a:gd name="T93" fmla="*/ 13041 h 493"/>
                <a:gd name="T94" fmla="*/ 194082 w 585"/>
                <a:gd name="T95" fmla="*/ 3130 h 493"/>
                <a:gd name="T96" fmla="*/ 207976 w 585"/>
                <a:gd name="T97" fmla="*/ 1043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9" name="Freeform 334">
              <a:extLst>
                <a:ext uri="{FF2B5EF4-FFF2-40B4-BE49-F238E27FC236}">
                  <a16:creationId xmlns:a16="http://schemas.microsoft.com/office/drawing/2014/main" id="{4D0E0B3F-2E48-41B3-A411-2953412BE947}"/>
                </a:ext>
              </a:extLst>
            </p:cNvPr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7080241" y="3924269"/>
              <a:ext cx="92075" cy="57150"/>
            </a:xfrm>
            <a:custGeom>
              <a:avLst/>
              <a:gdLst>
                <a:gd name="T0" fmla="*/ 0 w 212"/>
                <a:gd name="T1" fmla="*/ 57150 h 105"/>
                <a:gd name="T2" fmla="*/ 6949 w 212"/>
                <a:gd name="T3" fmla="*/ 46264 h 105"/>
                <a:gd name="T4" fmla="*/ 15201 w 212"/>
                <a:gd name="T5" fmla="*/ 37011 h 105"/>
                <a:gd name="T6" fmla="*/ 19110 w 212"/>
                <a:gd name="T7" fmla="*/ 32657 h 105"/>
                <a:gd name="T8" fmla="*/ 23453 w 212"/>
                <a:gd name="T9" fmla="*/ 28847 h 105"/>
                <a:gd name="T10" fmla="*/ 27796 w 212"/>
                <a:gd name="T11" fmla="*/ 25037 h 105"/>
                <a:gd name="T12" fmla="*/ 31705 w 212"/>
                <a:gd name="T13" fmla="*/ 20683 h 105"/>
                <a:gd name="T14" fmla="*/ 36048 w 212"/>
                <a:gd name="T15" fmla="*/ 17417 h 105"/>
                <a:gd name="T16" fmla="*/ 40826 w 212"/>
                <a:gd name="T17" fmla="*/ 14696 h 105"/>
                <a:gd name="T18" fmla="*/ 46038 w 212"/>
                <a:gd name="T19" fmla="*/ 11430 h 105"/>
                <a:gd name="T20" fmla="*/ 51249 w 212"/>
                <a:gd name="T21" fmla="*/ 8709 h 105"/>
                <a:gd name="T22" fmla="*/ 62542 w 212"/>
                <a:gd name="T23" fmla="*/ 4354 h 105"/>
                <a:gd name="T24" fmla="*/ 74702 w 212"/>
                <a:gd name="T25" fmla="*/ 0 h 105"/>
                <a:gd name="T26" fmla="*/ 92075 w 212"/>
                <a:gd name="T27" fmla="*/ 0 h 105"/>
                <a:gd name="T28" fmla="*/ 87732 w 212"/>
                <a:gd name="T29" fmla="*/ 4899 h 105"/>
                <a:gd name="T30" fmla="*/ 82520 w 212"/>
                <a:gd name="T31" fmla="*/ 9797 h 105"/>
                <a:gd name="T32" fmla="*/ 77308 w 212"/>
                <a:gd name="T33" fmla="*/ 14696 h 105"/>
                <a:gd name="T34" fmla="*/ 71662 w 212"/>
                <a:gd name="T35" fmla="*/ 19050 h 105"/>
                <a:gd name="T36" fmla="*/ 59501 w 212"/>
                <a:gd name="T37" fmla="*/ 28303 h 105"/>
                <a:gd name="T38" fmla="*/ 47340 w 212"/>
                <a:gd name="T39" fmla="*/ 35923 h 105"/>
                <a:gd name="T40" fmla="*/ 34311 w 212"/>
                <a:gd name="T41" fmla="*/ 42999 h 105"/>
                <a:gd name="T42" fmla="*/ 21716 w 212"/>
                <a:gd name="T43" fmla="*/ 48986 h 105"/>
                <a:gd name="T44" fmla="*/ 9989 w 212"/>
                <a:gd name="T45" fmla="*/ 53884 h 105"/>
                <a:gd name="T46" fmla="*/ 0 w 212"/>
                <a:gd name="T47" fmla="*/ 5715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0" name="Freeform 335">
              <a:extLst>
                <a:ext uri="{FF2B5EF4-FFF2-40B4-BE49-F238E27FC236}">
                  <a16:creationId xmlns:a16="http://schemas.microsoft.com/office/drawing/2014/main" id="{4909B2B0-4F45-4199-B1AF-A7E091F92031}"/>
                </a:ext>
              </a:extLst>
            </p:cNvPr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7196129" y="3590897"/>
              <a:ext cx="42862" cy="88899"/>
            </a:xfrm>
            <a:custGeom>
              <a:avLst/>
              <a:gdLst>
                <a:gd name="T0" fmla="*/ 0 w 92"/>
                <a:gd name="T1" fmla="*/ 43379 h 166"/>
                <a:gd name="T2" fmla="*/ 0 w 92"/>
                <a:gd name="T3" fmla="*/ 79260 h 166"/>
                <a:gd name="T4" fmla="*/ 2329 w 92"/>
                <a:gd name="T5" fmla="*/ 77118 h 166"/>
                <a:gd name="T6" fmla="*/ 5591 w 92"/>
                <a:gd name="T7" fmla="*/ 74440 h 166"/>
                <a:gd name="T8" fmla="*/ 6522 w 92"/>
                <a:gd name="T9" fmla="*/ 73369 h 166"/>
                <a:gd name="T10" fmla="*/ 7920 w 92"/>
                <a:gd name="T11" fmla="*/ 72298 h 166"/>
                <a:gd name="T12" fmla="*/ 8386 w 92"/>
                <a:gd name="T13" fmla="*/ 70692 h 166"/>
                <a:gd name="T14" fmla="*/ 8852 w 92"/>
                <a:gd name="T15" fmla="*/ 69620 h 166"/>
                <a:gd name="T16" fmla="*/ 9318 w 92"/>
                <a:gd name="T17" fmla="*/ 73905 h 166"/>
                <a:gd name="T18" fmla="*/ 11181 w 92"/>
                <a:gd name="T19" fmla="*/ 79260 h 166"/>
                <a:gd name="T20" fmla="*/ 12579 w 92"/>
                <a:gd name="T21" fmla="*/ 82473 h 166"/>
                <a:gd name="T22" fmla="*/ 13977 w 92"/>
                <a:gd name="T23" fmla="*/ 85151 h 166"/>
                <a:gd name="T24" fmla="*/ 16306 w 92"/>
                <a:gd name="T25" fmla="*/ 87293 h 166"/>
                <a:gd name="T26" fmla="*/ 18170 w 92"/>
                <a:gd name="T27" fmla="*/ 88900 h 166"/>
                <a:gd name="T28" fmla="*/ 19102 w 92"/>
                <a:gd name="T29" fmla="*/ 84616 h 166"/>
                <a:gd name="T30" fmla="*/ 19102 w 92"/>
                <a:gd name="T31" fmla="*/ 79260 h 166"/>
                <a:gd name="T32" fmla="*/ 19102 w 92"/>
                <a:gd name="T33" fmla="*/ 73369 h 166"/>
                <a:gd name="T34" fmla="*/ 19102 w 92"/>
                <a:gd name="T35" fmla="*/ 67478 h 166"/>
                <a:gd name="T36" fmla="*/ 18636 w 92"/>
                <a:gd name="T37" fmla="*/ 57303 h 166"/>
                <a:gd name="T38" fmla="*/ 18170 w 92"/>
                <a:gd name="T39" fmla="*/ 53019 h 166"/>
                <a:gd name="T40" fmla="*/ 22363 w 92"/>
                <a:gd name="T41" fmla="*/ 53554 h 166"/>
                <a:gd name="T42" fmla="*/ 26556 w 92"/>
                <a:gd name="T43" fmla="*/ 54625 h 166"/>
                <a:gd name="T44" fmla="*/ 29817 w 92"/>
                <a:gd name="T45" fmla="*/ 56232 h 166"/>
                <a:gd name="T46" fmla="*/ 33078 w 92"/>
                <a:gd name="T47" fmla="*/ 57839 h 166"/>
                <a:gd name="T48" fmla="*/ 35408 w 92"/>
                <a:gd name="T49" fmla="*/ 59445 h 166"/>
                <a:gd name="T50" fmla="*/ 38203 w 92"/>
                <a:gd name="T51" fmla="*/ 61052 h 166"/>
                <a:gd name="T52" fmla="*/ 40533 w 92"/>
                <a:gd name="T53" fmla="*/ 62123 h 166"/>
                <a:gd name="T54" fmla="*/ 42862 w 92"/>
                <a:gd name="T55" fmla="*/ 63194 h 166"/>
                <a:gd name="T56" fmla="*/ 39601 w 92"/>
                <a:gd name="T57" fmla="*/ 55161 h 166"/>
                <a:gd name="T58" fmla="*/ 37737 w 92"/>
                <a:gd name="T59" fmla="*/ 47663 h 166"/>
                <a:gd name="T60" fmla="*/ 35408 w 92"/>
                <a:gd name="T61" fmla="*/ 40166 h 166"/>
                <a:gd name="T62" fmla="*/ 34010 w 92"/>
                <a:gd name="T63" fmla="*/ 32133 h 166"/>
                <a:gd name="T64" fmla="*/ 32612 w 92"/>
                <a:gd name="T65" fmla="*/ 25170 h 166"/>
                <a:gd name="T66" fmla="*/ 31215 w 92"/>
                <a:gd name="T67" fmla="*/ 18208 h 166"/>
                <a:gd name="T68" fmla="*/ 29351 w 92"/>
                <a:gd name="T69" fmla="*/ 12317 h 166"/>
                <a:gd name="T70" fmla="*/ 27488 w 92"/>
                <a:gd name="T71" fmla="*/ 6962 h 166"/>
                <a:gd name="T72" fmla="*/ 27488 w 92"/>
                <a:gd name="T73" fmla="*/ 10175 h 166"/>
                <a:gd name="T74" fmla="*/ 27488 w 92"/>
                <a:gd name="T75" fmla="*/ 13389 h 166"/>
                <a:gd name="T76" fmla="*/ 23295 w 92"/>
                <a:gd name="T77" fmla="*/ 12317 h 166"/>
                <a:gd name="T78" fmla="*/ 19567 w 92"/>
                <a:gd name="T79" fmla="*/ 10175 h 166"/>
                <a:gd name="T80" fmla="*/ 16306 w 92"/>
                <a:gd name="T81" fmla="*/ 8033 h 166"/>
                <a:gd name="T82" fmla="*/ 13511 w 92"/>
                <a:gd name="T83" fmla="*/ 5891 h 166"/>
                <a:gd name="T84" fmla="*/ 10716 w 92"/>
                <a:gd name="T85" fmla="*/ 3749 h 166"/>
                <a:gd name="T86" fmla="*/ 7454 w 92"/>
                <a:gd name="T87" fmla="*/ 1607 h 166"/>
                <a:gd name="T88" fmla="*/ 3727 w 92"/>
                <a:gd name="T89" fmla="*/ 536 h 166"/>
                <a:gd name="T90" fmla="*/ 0 w 92"/>
                <a:gd name="T91" fmla="*/ 0 h 166"/>
                <a:gd name="T92" fmla="*/ 0 w 92"/>
                <a:gd name="T93" fmla="*/ 5355 h 166"/>
                <a:gd name="T94" fmla="*/ 0 w 92"/>
                <a:gd name="T95" fmla="*/ 10175 h 166"/>
                <a:gd name="T96" fmla="*/ 0 w 92"/>
                <a:gd name="T97" fmla="*/ 17673 h 166"/>
                <a:gd name="T98" fmla="*/ 0 w 92"/>
                <a:gd name="T99" fmla="*/ 27848 h 166"/>
                <a:gd name="T100" fmla="*/ 0 w 92"/>
                <a:gd name="T101" fmla="*/ 37488 h 166"/>
                <a:gd name="T102" fmla="*/ 0 w 92"/>
                <a:gd name="T103" fmla="*/ 43379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1" name="Freeform 336">
              <a:extLst>
                <a:ext uri="{FF2B5EF4-FFF2-40B4-BE49-F238E27FC236}">
                  <a16:creationId xmlns:a16="http://schemas.microsoft.com/office/drawing/2014/main" id="{EC0B2E45-277B-4060-AEB7-85877DE02711}"/>
                </a:ext>
              </a:extLst>
            </p:cNvPr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7208829" y="3735359"/>
              <a:ext cx="71437" cy="55562"/>
            </a:xfrm>
            <a:custGeom>
              <a:avLst/>
              <a:gdLst>
                <a:gd name="T0" fmla="*/ 3012 w 166"/>
                <a:gd name="T1" fmla="*/ 0 h 62"/>
                <a:gd name="T2" fmla="*/ 6025 w 166"/>
                <a:gd name="T3" fmla="*/ 2688 h 62"/>
                <a:gd name="T4" fmla="*/ 9468 w 166"/>
                <a:gd name="T5" fmla="*/ 5377 h 62"/>
                <a:gd name="T6" fmla="*/ 12910 w 166"/>
                <a:gd name="T7" fmla="*/ 6273 h 62"/>
                <a:gd name="T8" fmla="*/ 15492 w 166"/>
                <a:gd name="T9" fmla="*/ 7169 h 62"/>
                <a:gd name="T10" fmla="*/ 20656 w 166"/>
                <a:gd name="T11" fmla="*/ 7169 h 62"/>
                <a:gd name="T12" fmla="*/ 24960 w 166"/>
                <a:gd name="T13" fmla="*/ 6273 h 62"/>
                <a:gd name="T14" fmla="*/ 29694 w 166"/>
                <a:gd name="T15" fmla="*/ 4481 h 62"/>
                <a:gd name="T16" fmla="*/ 34427 w 166"/>
                <a:gd name="T17" fmla="*/ 2688 h 62"/>
                <a:gd name="T18" fmla="*/ 39592 w 166"/>
                <a:gd name="T19" fmla="*/ 896 h 62"/>
                <a:gd name="T20" fmla="*/ 45616 w 166"/>
                <a:gd name="T21" fmla="*/ 0 h 62"/>
                <a:gd name="T22" fmla="*/ 47768 w 166"/>
                <a:gd name="T23" fmla="*/ 896 h 62"/>
                <a:gd name="T24" fmla="*/ 49489 w 166"/>
                <a:gd name="T25" fmla="*/ 1792 h 62"/>
                <a:gd name="T26" fmla="*/ 51641 w 166"/>
                <a:gd name="T27" fmla="*/ 4481 h 62"/>
                <a:gd name="T28" fmla="*/ 53363 w 166"/>
                <a:gd name="T29" fmla="*/ 7169 h 62"/>
                <a:gd name="T30" fmla="*/ 56805 w 166"/>
                <a:gd name="T31" fmla="*/ 15235 h 62"/>
                <a:gd name="T32" fmla="*/ 59387 w 166"/>
                <a:gd name="T33" fmla="*/ 23300 h 62"/>
                <a:gd name="T34" fmla="*/ 62400 w 166"/>
                <a:gd name="T35" fmla="*/ 32262 h 62"/>
                <a:gd name="T36" fmla="*/ 64982 w 166"/>
                <a:gd name="T37" fmla="*/ 40327 h 62"/>
                <a:gd name="T38" fmla="*/ 66703 w 166"/>
                <a:gd name="T39" fmla="*/ 43912 h 62"/>
                <a:gd name="T40" fmla="*/ 67994 w 166"/>
                <a:gd name="T41" fmla="*/ 46600 h 62"/>
                <a:gd name="T42" fmla="*/ 69716 w 166"/>
                <a:gd name="T43" fmla="*/ 48393 h 62"/>
                <a:gd name="T44" fmla="*/ 71437 w 166"/>
                <a:gd name="T45" fmla="*/ 50185 h 62"/>
                <a:gd name="T46" fmla="*/ 68425 w 166"/>
                <a:gd name="T47" fmla="*/ 51081 h 62"/>
                <a:gd name="T48" fmla="*/ 64982 w 166"/>
                <a:gd name="T49" fmla="*/ 52874 h 62"/>
                <a:gd name="T50" fmla="*/ 61539 w 166"/>
                <a:gd name="T51" fmla="*/ 54666 h 62"/>
                <a:gd name="T52" fmla="*/ 57236 w 166"/>
                <a:gd name="T53" fmla="*/ 55562 h 62"/>
                <a:gd name="T54" fmla="*/ 53793 w 166"/>
                <a:gd name="T55" fmla="*/ 54666 h 62"/>
                <a:gd name="T56" fmla="*/ 51211 w 166"/>
                <a:gd name="T57" fmla="*/ 51977 h 62"/>
                <a:gd name="T58" fmla="*/ 48198 w 166"/>
                <a:gd name="T59" fmla="*/ 48393 h 62"/>
                <a:gd name="T60" fmla="*/ 45616 w 166"/>
                <a:gd name="T61" fmla="*/ 44808 h 62"/>
                <a:gd name="T62" fmla="*/ 43034 w 166"/>
                <a:gd name="T63" fmla="*/ 40327 h 62"/>
                <a:gd name="T64" fmla="*/ 40022 w 166"/>
                <a:gd name="T65" fmla="*/ 36743 h 62"/>
                <a:gd name="T66" fmla="*/ 37440 w 166"/>
                <a:gd name="T67" fmla="*/ 34950 h 62"/>
                <a:gd name="T68" fmla="*/ 33997 w 166"/>
                <a:gd name="T69" fmla="*/ 34054 h 62"/>
                <a:gd name="T70" fmla="*/ 24099 w 166"/>
                <a:gd name="T71" fmla="*/ 34054 h 62"/>
                <a:gd name="T72" fmla="*/ 15062 w 166"/>
                <a:gd name="T73" fmla="*/ 34950 h 62"/>
                <a:gd name="T74" fmla="*/ 11189 w 166"/>
                <a:gd name="T75" fmla="*/ 36743 h 62"/>
                <a:gd name="T76" fmla="*/ 8177 w 166"/>
                <a:gd name="T77" fmla="*/ 38535 h 62"/>
                <a:gd name="T78" fmla="*/ 5164 w 166"/>
                <a:gd name="T79" fmla="*/ 41223 h 62"/>
                <a:gd name="T80" fmla="*/ 3012 w 166"/>
                <a:gd name="T81" fmla="*/ 44808 h 62"/>
                <a:gd name="T82" fmla="*/ 861 w 166"/>
                <a:gd name="T83" fmla="*/ 40327 h 62"/>
                <a:gd name="T84" fmla="*/ 430 w 166"/>
                <a:gd name="T85" fmla="*/ 35846 h 62"/>
                <a:gd name="T86" fmla="*/ 0 w 166"/>
                <a:gd name="T87" fmla="*/ 30469 h 62"/>
                <a:gd name="T88" fmla="*/ 430 w 166"/>
                <a:gd name="T89" fmla="*/ 25093 h 62"/>
                <a:gd name="T90" fmla="*/ 1721 w 166"/>
                <a:gd name="T91" fmla="*/ 13442 h 62"/>
                <a:gd name="T92" fmla="*/ 3012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2" name="Freeform 337">
              <a:extLst>
                <a:ext uri="{FF2B5EF4-FFF2-40B4-BE49-F238E27FC236}">
                  <a16:creationId xmlns:a16="http://schemas.microsoft.com/office/drawing/2014/main" id="{8D19F78F-B1DD-4D41-A5D3-B79B894F2590}"/>
                </a:ext>
              </a:extLst>
            </p:cNvPr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7285029" y="3659159"/>
              <a:ext cx="85725" cy="63499"/>
            </a:xfrm>
            <a:custGeom>
              <a:avLst/>
              <a:gdLst>
                <a:gd name="T0" fmla="*/ 14658 w 193"/>
                <a:gd name="T1" fmla="*/ 18368 h 121"/>
                <a:gd name="T2" fmla="*/ 21320 w 193"/>
                <a:gd name="T3" fmla="*/ 13120 h 121"/>
                <a:gd name="T4" fmla="*/ 30204 w 193"/>
                <a:gd name="T5" fmla="*/ 6298 h 121"/>
                <a:gd name="T6" fmla="*/ 37310 w 193"/>
                <a:gd name="T7" fmla="*/ 2099 h 121"/>
                <a:gd name="T8" fmla="*/ 41752 w 193"/>
                <a:gd name="T9" fmla="*/ 525 h 121"/>
                <a:gd name="T10" fmla="*/ 46638 w 193"/>
                <a:gd name="T11" fmla="*/ 525 h 121"/>
                <a:gd name="T12" fmla="*/ 51524 w 193"/>
                <a:gd name="T13" fmla="*/ 1574 h 121"/>
                <a:gd name="T14" fmla="*/ 58186 w 193"/>
                <a:gd name="T15" fmla="*/ 5248 h 121"/>
                <a:gd name="T16" fmla="*/ 65737 w 193"/>
                <a:gd name="T17" fmla="*/ 11021 h 121"/>
                <a:gd name="T18" fmla="*/ 71956 w 193"/>
                <a:gd name="T19" fmla="*/ 14694 h 121"/>
                <a:gd name="T20" fmla="*/ 76842 w 193"/>
                <a:gd name="T21" fmla="*/ 15744 h 121"/>
                <a:gd name="T22" fmla="*/ 79507 w 193"/>
                <a:gd name="T23" fmla="*/ 25190 h 121"/>
                <a:gd name="T24" fmla="*/ 79062 w 193"/>
                <a:gd name="T25" fmla="*/ 34636 h 121"/>
                <a:gd name="T26" fmla="*/ 80839 w 193"/>
                <a:gd name="T27" fmla="*/ 39360 h 121"/>
                <a:gd name="T28" fmla="*/ 83060 w 193"/>
                <a:gd name="T29" fmla="*/ 46707 h 121"/>
                <a:gd name="T30" fmla="*/ 83504 w 193"/>
                <a:gd name="T31" fmla="*/ 53529 h 121"/>
                <a:gd name="T32" fmla="*/ 84837 w 193"/>
                <a:gd name="T33" fmla="*/ 57202 h 121"/>
                <a:gd name="T34" fmla="*/ 83504 w 193"/>
                <a:gd name="T35" fmla="*/ 59826 h 121"/>
                <a:gd name="T36" fmla="*/ 78618 w 193"/>
                <a:gd name="T37" fmla="*/ 61926 h 121"/>
                <a:gd name="T38" fmla="*/ 70623 w 193"/>
                <a:gd name="T39" fmla="*/ 63500 h 121"/>
                <a:gd name="T40" fmla="*/ 51524 w 193"/>
                <a:gd name="T41" fmla="*/ 62450 h 121"/>
                <a:gd name="T42" fmla="*/ 31980 w 193"/>
                <a:gd name="T43" fmla="*/ 60876 h 121"/>
                <a:gd name="T44" fmla="*/ 27983 w 193"/>
                <a:gd name="T45" fmla="*/ 57727 h 121"/>
                <a:gd name="T46" fmla="*/ 24874 w 193"/>
                <a:gd name="T47" fmla="*/ 52479 h 121"/>
                <a:gd name="T48" fmla="*/ 23985 w 193"/>
                <a:gd name="T49" fmla="*/ 45657 h 121"/>
                <a:gd name="T50" fmla="*/ 20876 w 193"/>
                <a:gd name="T51" fmla="*/ 41459 h 121"/>
                <a:gd name="T52" fmla="*/ 13769 w 193"/>
                <a:gd name="T53" fmla="*/ 39360 h 121"/>
                <a:gd name="T54" fmla="*/ 5774 w 193"/>
                <a:gd name="T55" fmla="*/ 36211 h 121"/>
                <a:gd name="T56" fmla="*/ 1333 w 193"/>
                <a:gd name="T57" fmla="*/ 32537 h 121"/>
                <a:gd name="T58" fmla="*/ 0 w 193"/>
                <a:gd name="T59" fmla="*/ 30438 h 121"/>
                <a:gd name="T60" fmla="*/ 444 w 193"/>
                <a:gd name="T61" fmla="*/ 26764 h 121"/>
                <a:gd name="T62" fmla="*/ 3109 w 193"/>
                <a:gd name="T63" fmla="*/ 23616 h 121"/>
                <a:gd name="T64" fmla="*/ 8883 w 193"/>
                <a:gd name="T65" fmla="*/ 19942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3" name="Freeform 338">
              <a:extLst>
                <a:ext uri="{FF2B5EF4-FFF2-40B4-BE49-F238E27FC236}">
                  <a16:creationId xmlns:a16="http://schemas.microsoft.com/office/drawing/2014/main" id="{98AB5030-7621-49E2-986E-9F37B05E7025}"/>
                </a:ext>
              </a:extLst>
            </p:cNvPr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6973879" y="3597247"/>
              <a:ext cx="166687" cy="230186"/>
            </a:xfrm>
            <a:custGeom>
              <a:avLst/>
              <a:gdLst>
                <a:gd name="T0" fmla="*/ 16273 w 379"/>
                <a:gd name="T1" fmla="*/ 220707 h 437"/>
                <a:gd name="T2" fmla="*/ 20231 w 379"/>
                <a:gd name="T3" fmla="*/ 214386 h 437"/>
                <a:gd name="T4" fmla="*/ 10555 w 379"/>
                <a:gd name="T5" fmla="*/ 163818 h 437"/>
                <a:gd name="T6" fmla="*/ 880 w 379"/>
                <a:gd name="T7" fmla="*/ 154863 h 437"/>
                <a:gd name="T8" fmla="*/ 6597 w 379"/>
                <a:gd name="T9" fmla="*/ 142221 h 437"/>
                <a:gd name="T10" fmla="*/ 13634 w 379"/>
                <a:gd name="T11" fmla="*/ 116411 h 437"/>
                <a:gd name="T12" fmla="*/ 17152 w 379"/>
                <a:gd name="T13" fmla="*/ 90600 h 437"/>
                <a:gd name="T14" fmla="*/ 25069 w 379"/>
                <a:gd name="T15" fmla="*/ 83753 h 437"/>
                <a:gd name="T16" fmla="*/ 28587 w 379"/>
                <a:gd name="T17" fmla="*/ 68477 h 437"/>
                <a:gd name="T18" fmla="*/ 33425 w 379"/>
                <a:gd name="T19" fmla="*/ 41086 h 437"/>
                <a:gd name="T20" fmla="*/ 39583 w 379"/>
                <a:gd name="T21" fmla="*/ 26864 h 437"/>
                <a:gd name="T22" fmla="*/ 50578 w 379"/>
                <a:gd name="T23" fmla="*/ 16329 h 437"/>
                <a:gd name="T24" fmla="*/ 67291 w 379"/>
                <a:gd name="T25" fmla="*/ 13169 h 437"/>
                <a:gd name="T26" fmla="*/ 95438 w 379"/>
                <a:gd name="T27" fmla="*/ 20016 h 437"/>
                <a:gd name="T28" fmla="*/ 115230 w 379"/>
                <a:gd name="T29" fmla="*/ 25284 h 437"/>
                <a:gd name="T30" fmla="*/ 133262 w 379"/>
                <a:gd name="T31" fmla="*/ 23704 h 437"/>
                <a:gd name="T32" fmla="*/ 144697 w 379"/>
                <a:gd name="T33" fmla="*/ 16329 h 437"/>
                <a:gd name="T34" fmla="*/ 156571 w 379"/>
                <a:gd name="T35" fmla="*/ 3687 h 437"/>
                <a:gd name="T36" fmla="*/ 164488 w 379"/>
                <a:gd name="T37" fmla="*/ 4741 h 437"/>
                <a:gd name="T38" fmla="*/ 163608 w 379"/>
                <a:gd name="T39" fmla="*/ 18436 h 437"/>
                <a:gd name="T40" fmla="*/ 144697 w 379"/>
                <a:gd name="T41" fmla="*/ 42140 h 437"/>
                <a:gd name="T42" fmla="*/ 128424 w 379"/>
                <a:gd name="T43" fmla="*/ 51094 h 437"/>
                <a:gd name="T44" fmla="*/ 119188 w 379"/>
                <a:gd name="T45" fmla="*/ 49514 h 437"/>
                <a:gd name="T46" fmla="*/ 104674 w 379"/>
                <a:gd name="T47" fmla="*/ 36345 h 437"/>
                <a:gd name="T48" fmla="*/ 93239 w 379"/>
                <a:gd name="T49" fmla="*/ 29498 h 437"/>
                <a:gd name="T50" fmla="*/ 77846 w 379"/>
                <a:gd name="T51" fmla="*/ 29498 h 437"/>
                <a:gd name="T52" fmla="*/ 60693 w 379"/>
                <a:gd name="T53" fmla="*/ 32132 h 437"/>
                <a:gd name="T54" fmla="*/ 50138 w 379"/>
                <a:gd name="T55" fmla="*/ 41613 h 437"/>
                <a:gd name="T56" fmla="*/ 34745 w 379"/>
                <a:gd name="T57" fmla="*/ 84806 h 437"/>
                <a:gd name="T58" fmla="*/ 52337 w 379"/>
                <a:gd name="T59" fmla="*/ 89020 h 437"/>
                <a:gd name="T60" fmla="*/ 58494 w 379"/>
                <a:gd name="T61" fmla="*/ 100608 h 437"/>
                <a:gd name="T62" fmla="*/ 68170 w 379"/>
                <a:gd name="T63" fmla="*/ 88493 h 437"/>
                <a:gd name="T64" fmla="*/ 75647 w 379"/>
                <a:gd name="T65" fmla="*/ 80592 h 437"/>
                <a:gd name="T66" fmla="*/ 97197 w 379"/>
                <a:gd name="T67" fmla="*/ 79012 h 437"/>
                <a:gd name="T68" fmla="*/ 109952 w 379"/>
                <a:gd name="T69" fmla="*/ 77432 h 437"/>
                <a:gd name="T70" fmla="*/ 120067 w 379"/>
                <a:gd name="T71" fmla="*/ 91127 h 437"/>
                <a:gd name="T72" fmla="*/ 122706 w 379"/>
                <a:gd name="T73" fmla="*/ 106929 h 437"/>
                <a:gd name="T74" fmla="*/ 108193 w 379"/>
                <a:gd name="T75" fmla="*/ 101135 h 437"/>
                <a:gd name="T76" fmla="*/ 95878 w 379"/>
                <a:gd name="T77" fmla="*/ 97448 h 437"/>
                <a:gd name="T78" fmla="*/ 84443 w 379"/>
                <a:gd name="T79" fmla="*/ 102715 h 437"/>
                <a:gd name="T80" fmla="*/ 81804 w 379"/>
                <a:gd name="T81" fmla="*/ 110090 h 437"/>
                <a:gd name="T82" fmla="*/ 84443 w 379"/>
                <a:gd name="T83" fmla="*/ 122732 h 437"/>
                <a:gd name="T84" fmla="*/ 96758 w 379"/>
                <a:gd name="T85" fmla="*/ 143275 h 437"/>
                <a:gd name="T86" fmla="*/ 98957 w 379"/>
                <a:gd name="T87" fmla="*/ 155917 h 437"/>
                <a:gd name="T88" fmla="*/ 94559 w 379"/>
                <a:gd name="T89" fmla="*/ 169612 h 437"/>
                <a:gd name="T90" fmla="*/ 90161 w 379"/>
                <a:gd name="T91" fmla="*/ 181727 h 437"/>
                <a:gd name="T92" fmla="*/ 92360 w 379"/>
                <a:gd name="T93" fmla="*/ 187522 h 437"/>
                <a:gd name="T94" fmla="*/ 103795 w 379"/>
                <a:gd name="T95" fmla="*/ 193843 h 437"/>
                <a:gd name="T96" fmla="*/ 110831 w 379"/>
                <a:gd name="T97" fmla="*/ 210698 h 437"/>
                <a:gd name="T98" fmla="*/ 105114 w 379"/>
                <a:gd name="T99" fmla="*/ 225974 h 437"/>
                <a:gd name="T100" fmla="*/ 97197 w 379"/>
                <a:gd name="T101" fmla="*/ 221760 h 437"/>
                <a:gd name="T102" fmla="*/ 88841 w 379"/>
                <a:gd name="T103" fmla="*/ 219653 h 437"/>
                <a:gd name="T104" fmla="*/ 77846 w 379"/>
                <a:gd name="T105" fmla="*/ 210698 h 437"/>
                <a:gd name="T106" fmla="*/ 67291 w 379"/>
                <a:gd name="T107" fmla="*/ 187522 h 437"/>
                <a:gd name="T108" fmla="*/ 60254 w 379"/>
                <a:gd name="T109" fmla="*/ 160131 h 437"/>
                <a:gd name="T110" fmla="*/ 50138 w 379"/>
                <a:gd name="T111" fmla="*/ 138534 h 437"/>
                <a:gd name="T112" fmla="*/ 42661 w 379"/>
                <a:gd name="T113" fmla="*/ 136427 h 437"/>
                <a:gd name="T114" fmla="*/ 46180 w 379"/>
                <a:gd name="T115" fmla="*/ 200690 h 437"/>
                <a:gd name="T116" fmla="*/ 40902 w 379"/>
                <a:gd name="T117" fmla="*/ 212805 h 437"/>
                <a:gd name="T118" fmla="*/ 25069 w 379"/>
                <a:gd name="T119" fmla="*/ 224394 h 437"/>
                <a:gd name="T120" fmla="*/ 25949 w 379"/>
                <a:gd name="T121" fmla="*/ 230188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4" name="Freeform 339">
              <a:extLst>
                <a:ext uri="{FF2B5EF4-FFF2-40B4-BE49-F238E27FC236}">
                  <a16:creationId xmlns:a16="http://schemas.microsoft.com/office/drawing/2014/main" id="{803E1E07-08A9-49FD-8CDE-76B801299719}"/>
                </a:ext>
              </a:extLst>
            </p:cNvPr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6638917" y="3838545"/>
              <a:ext cx="250824" cy="95249"/>
            </a:xfrm>
            <a:custGeom>
              <a:avLst/>
              <a:gdLst>
                <a:gd name="T0" fmla="*/ 4773 w 578"/>
                <a:gd name="T1" fmla="*/ 25883 h 184"/>
                <a:gd name="T2" fmla="*/ 10415 w 578"/>
                <a:gd name="T3" fmla="*/ 16565 h 184"/>
                <a:gd name="T4" fmla="*/ 17792 w 578"/>
                <a:gd name="T5" fmla="*/ 3624 h 184"/>
                <a:gd name="T6" fmla="*/ 23433 w 578"/>
                <a:gd name="T7" fmla="*/ 0 h 184"/>
                <a:gd name="T8" fmla="*/ 34282 w 578"/>
                <a:gd name="T9" fmla="*/ 1035 h 184"/>
                <a:gd name="T10" fmla="*/ 41226 w 578"/>
                <a:gd name="T11" fmla="*/ 1035 h 184"/>
                <a:gd name="T12" fmla="*/ 43829 w 578"/>
                <a:gd name="T13" fmla="*/ 2588 h 184"/>
                <a:gd name="T14" fmla="*/ 49905 w 578"/>
                <a:gd name="T15" fmla="*/ 7765 h 184"/>
                <a:gd name="T16" fmla="*/ 63791 w 578"/>
                <a:gd name="T17" fmla="*/ 13977 h 184"/>
                <a:gd name="T18" fmla="*/ 72904 w 578"/>
                <a:gd name="T19" fmla="*/ 19154 h 184"/>
                <a:gd name="T20" fmla="*/ 77244 w 578"/>
                <a:gd name="T21" fmla="*/ 27436 h 184"/>
                <a:gd name="T22" fmla="*/ 83319 w 578"/>
                <a:gd name="T23" fmla="*/ 31577 h 184"/>
                <a:gd name="T24" fmla="*/ 100243 w 578"/>
                <a:gd name="T25" fmla="*/ 31060 h 184"/>
                <a:gd name="T26" fmla="*/ 120205 w 578"/>
                <a:gd name="T27" fmla="*/ 26401 h 184"/>
                <a:gd name="T28" fmla="*/ 129752 w 578"/>
                <a:gd name="T29" fmla="*/ 20189 h 184"/>
                <a:gd name="T30" fmla="*/ 136261 w 578"/>
                <a:gd name="T31" fmla="*/ 17601 h 184"/>
                <a:gd name="T32" fmla="*/ 141903 w 578"/>
                <a:gd name="T33" fmla="*/ 18118 h 184"/>
                <a:gd name="T34" fmla="*/ 147110 w 578"/>
                <a:gd name="T35" fmla="*/ 16048 h 184"/>
                <a:gd name="T36" fmla="*/ 158827 w 578"/>
                <a:gd name="T37" fmla="*/ 17601 h 184"/>
                <a:gd name="T38" fmla="*/ 173147 w 578"/>
                <a:gd name="T39" fmla="*/ 30542 h 184"/>
                <a:gd name="T40" fmla="*/ 185732 w 578"/>
                <a:gd name="T41" fmla="*/ 46072 h 184"/>
                <a:gd name="T42" fmla="*/ 197883 w 578"/>
                <a:gd name="T43" fmla="*/ 54355 h 184"/>
                <a:gd name="T44" fmla="*/ 207864 w 578"/>
                <a:gd name="T45" fmla="*/ 55390 h 184"/>
                <a:gd name="T46" fmla="*/ 213939 w 578"/>
                <a:gd name="T47" fmla="*/ 55908 h 184"/>
                <a:gd name="T48" fmla="*/ 219146 w 578"/>
                <a:gd name="T49" fmla="*/ 64708 h 184"/>
                <a:gd name="T50" fmla="*/ 226524 w 578"/>
                <a:gd name="T51" fmla="*/ 72473 h 184"/>
                <a:gd name="T52" fmla="*/ 231731 w 578"/>
                <a:gd name="T53" fmla="*/ 71955 h 184"/>
                <a:gd name="T54" fmla="*/ 236938 w 578"/>
                <a:gd name="T55" fmla="*/ 66261 h 184"/>
                <a:gd name="T56" fmla="*/ 242146 w 578"/>
                <a:gd name="T57" fmla="*/ 69367 h 184"/>
                <a:gd name="T58" fmla="*/ 247787 w 578"/>
                <a:gd name="T59" fmla="*/ 75061 h 184"/>
                <a:gd name="T60" fmla="*/ 250825 w 578"/>
                <a:gd name="T61" fmla="*/ 82826 h 184"/>
                <a:gd name="T62" fmla="*/ 249523 w 578"/>
                <a:gd name="T63" fmla="*/ 89556 h 184"/>
                <a:gd name="T64" fmla="*/ 246052 w 578"/>
                <a:gd name="T65" fmla="*/ 94215 h 184"/>
                <a:gd name="T66" fmla="*/ 239108 w 578"/>
                <a:gd name="T67" fmla="*/ 92144 h 184"/>
                <a:gd name="T68" fmla="*/ 228259 w 578"/>
                <a:gd name="T69" fmla="*/ 88003 h 184"/>
                <a:gd name="T70" fmla="*/ 213071 w 578"/>
                <a:gd name="T71" fmla="*/ 89038 h 184"/>
                <a:gd name="T72" fmla="*/ 200486 w 578"/>
                <a:gd name="T73" fmla="*/ 88003 h 184"/>
                <a:gd name="T74" fmla="*/ 195713 w 578"/>
                <a:gd name="T75" fmla="*/ 82826 h 184"/>
                <a:gd name="T76" fmla="*/ 190072 w 578"/>
                <a:gd name="T77" fmla="*/ 79720 h 184"/>
                <a:gd name="T78" fmla="*/ 184864 w 578"/>
                <a:gd name="T79" fmla="*/ 82826 h 184"/>
                <a:gd name="T80" fmla="*/ 180525 w 578"/>
                <a:gd name="T81" fmla="*/ 88003 h 184"/>
                <a:gd name="T82" fmla="*/ 172713 w 578"/>
                <a:gd name="T83" fmla="*/ 88520 h 184"/>
                <a:gd name="T84" fmla="*/ 142337 w 578"/>
                <a:gd name="T85" fmla="*/ 79202 h 184"/>
                <a:gd name="T86" fmla="*/ 120205 w 578"/>
                <a:gd name="T87" fmla="*/ 68332 h 184"/>
                <a:gd name="T88" fmla="*/ 115432 w 578"/>
                <a:gd name="T89" fmla="*/ 63673 h 184"/>
                <a:gd name="T90" fmla="*/ 99809 w 578"/>
                <a:gd name="T91" fmla="*/ 61602 h 184"/>
                <a:gd name="T92" fmla="*/ 87225 w 578"/>
                <a:gd name="T93" fmla="*/ 58496 h 184"/>
                <a:gd name="T94" fmla="*/ 72904 w 578"/>
                <a:gd name="T95" fmla="*/ 57461 h 184"/>
                <a:gd name="T96" fmla="*/ 63357 w 578"/>
                <a:gd name="T97" fmla="*/ 57461 h 184"/>
                <a:gd name="T98" fmla="*/ 53810 w 578"/>
                <a:gd name="T99" fmla="*/ 54355 h 184"/>
                <a:gd name="T100" fmla="*/ 52074 w 578"/>
                <a:gd name="T101" fmla="*/ 51249 h 184"/>
                <a:gd name="T102" fmla="*/ 29943 w 578"/>
                <a:gd name="T103" fmla="*/ 50213 h 184"/>
                <a:gd name="T104" fmla="*/ 19962 w 578"/>
                <a:gd name="T105" fmla="*/ 45554 h 184"/>
                <a:gd name="T106" fmla="*/ 0 w 578"/>
                <a:gd name="T107" fmla="*/ 28471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5" name="Freeform 340">
              <a:extLst>
                <a:ext uri="{FF2B5EF4-FFF2-40B4-BE49-F238E27FC236}">
                  <a16:creationId xmlns:a16="http://schemas.microsoft.com/office/drawing/2014/main" id="{A2255E1E-EA44-49FD-9DB7-E1495E63EFD8}"/>
                </a:ext>
              </a:extLst>
            </p:cNvPr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7319954" y="3695671"/>
              <a:ext cx="214312" cy="252411"/>
            </a:xfrm>
            <a:custGeom>
              <a:avLst/>
              <a:gdLst>
                <a:gd name="T0" fmla="*/ 210384 w 491"/>
                <a:gd name="T1" fmla="*/ 251363 h 481"/>
                <a:gd name="T2" fmla="*/ 199472 w 491"/>
                <a:gd name="T3" fmla="*/ 244017 h 481"/>
                <a:gd name="T4" fmla="*/ 184195 w 491"/>
                <a:gd name="T5" fmla="*/ 227749 h 481"/>
                <a:gd name="T6" fmla="*/ 179830 w 491"/>
                <a:gd name="T7" fmla="*/ 218828 h 481"/>
                <a:gd name="T8" fmla="*/ 164117 w 491"/>
                <a:gd name="T9" fmla="*/ 215155 h 481"/>
                <a:gd name="T10" fmla="*/ 157133 w 491"/>
                <a:gd name="T11" fmla="*/ 213055 h 481"/>
                <a:gd name="T12" fmla="*/ 152768 w 491"/>
                <a:gd name="T13" fmla="*/ 207808 h 481"/>
                <a:gd name="T14" fmla="*/ 151022 w 491"/>
                <a:gd name="T15" fmla="*/ 196263 h 481"/>
                <a:gd name="T16" fmla="*/ 149276 w 491"/>
                <a:gd name="T17" fmla="*/ 174223 h 481"/>
                <a:gd name="T18" fmla="*/ 142729 w 491"/>
                <a:gd name="T19" fmla="*/ 159004 h 481"/>
                <a:gd name="T20" fmla="*/ 139237 w 491"/>
                <a:gd name="T21" fmla="*/ 145361 h 481"/>
                <a:gd name="T22" fmla="*/ 137055 w 491"/>
                <a:gd name="T23" fmla="*/ 128043 h 481"/>
                <a:gd name="T24" fmla="*/ 127452 w 491"/>
                <a:gd name="T25" fmla="*/ 117023 h 481"/>
                <a:gd name="T26" fmla="*/ 113485 w 491"/>
                <a:gd name="T27" fmla="*/ 107577 h 481"/>
                <a:gd name="T28" fmla="*/ 96462 w 491"/>
                <a:gd name="T29" fmla="*/ 99706 h 481"/>
                <a:gd name="T30" fmla="*/ 77694 w 491"/>
                <a:gd name="T31" fmla="*/ 94983 h 481"/>
                <a:gd name="T32" fmla="*/ 58052 w 491"/>
                <a:gd name="T33" fmla="*/ 93409 h 481"/>
                <a:gd name="T34" fmla="*/ 58052 w 491"/>
                <a:gd name="T35" fmla="*/ 81864 h 481"/>
                <a:gd name="T36" fmla="*/ 48013 w 491"/>
                <a:gd name="T37" fmla="*/ 76091 h 481"/>
                <a:gd name="T38" fmla="*/ 37101 w 491"/>
                <a:gd name="T39" fmla="*/ 68220 h 481"/>
                <a:gd name="T40" fmla="*/ 28808 w 491"/>
                <a:gd name="T41" fmla="*/ 58249 h 481"/>
                <a:gd name="T42" fmla="*/ 31863 w 491"/>
                <a:gd name="T43" fmla="*/ 69794 h 481"/>
                <a:gd name="T44" fmla="*/ 23570 w 491"/>
                <a:gd name="T45" fmla="*/ 77141 h 481"/>
                <a:gd name="T46" fmla="*/ 17459 w 491"/>
                <a:gd name="T47" fmla="*/ 93409 h 481"/>
                <a:gd name="T48" fmla="*/ 10476 w 491"/>
                <a:gd name="T49" fmla="*/ 115449 h 481"/>
                <a:gd name="T50" fmla="*/ 5674 w 491"/>
                <a:gd name="T51" fmla="*/ 139063 h 481"/>
                <a:gd name="T52" fmla="*/ 6111 w 491"/>
                <a:gd name="T53" fmla="*/ 124370 h 481"/>
                <a:gd name="T54" fmla="*/ 10039 w 491"/>
                <a:gd name="T55" fmla="*/ 109676 h 481"/>
                <a:gd name="T56" fmla="*/ 13967 w 491"/>
                <a:gd name="T57" fmla="*/ 94983 h 481"/>
                <a:gd name="T58" fmla="*/ 13094 w 491"/>
                <a:gd name="T59" fmla="*/ 75042 h 481"/>
                <a:gd name="T60" fmla="*/ 7420 w 491"/>
                <a:gd name="T61" fmla="*/ 58249 h 481"/>
                <a:gd name="T62" fmla="*/ 0 w 491"/>
                <a:gd name="T63" fmla="*/ 38308 h 481"/>
                <a:gd name="T64" fmla="*/ 14840 w 491"/>
                <a:gd name="T65" fmla="*/ 30961 h 481"/>
                <a:gd name="T66" fmla="*/ 25752 w 491"/>
                <a:gd name="T67" fmla="*/ 28862 h 481"/>
                <a:gd name="T68" fmla="*/ 36664 w 491"/>
                <a:gd name="T69" fmla="*/ 30436 h 481"/>
                <a:gd name="T70" fmla="*/ 44521 w 491"/>
                <a:gd name="T71" fmla="*/ 34635 h 481"/>
                <a:gd name="T72" fmla="*/ 52814 w 491"/>
                <a:gd name="T73" fmla="*/ 43031 h 481"/>
                <a:gd name="T74" fmla="*/ 61107 w 491"/>
                <a:gd name="T75" fmla="*/ 58249 h 481"/>
                <a:gd name="T76" fmla="*/ 79876 w 491"/>
                <a:gd name="T77" fmla="*/ 54051 h 481"/>
                <a:gd name="T78" fmla="*/ 85550 w 491"/>
                <a:gd name="T79" fmla="*/ 50378 h 481"/>
                <a:gd name="T80" fmla="*/ 87296 w 491"/>
                <a:gd name="T81" fmla="*/ 47229 h 481"/>
                <a:gd name="T82" fmla="*/ 90351 w 491"/>
                <a:gd name="T83" fmla="*/ 38308 h 481"/>
                <a:gd name="T84" fmla="*/ 101264 w 491"/>
                <a:gd name="T85" fmla="*/ 28337 h 481"/>
                <a:gd name="T86" fmla="*/ 110866 w 491"/>
                <a:gd name="T87" fmla="*/ 25714 h 481"/>
                <a:gd name="T88" fmla="*/ 114794 w 491"/>
                <a:gd name="T89" fmla="*/ 15743 h 481"/>
                <a:gd name="T90" fmla="*/ 122215 w 491"/>
                <a:gd name="T91" fmla="*/ 4723 h 481"/>
                <a:gd name="T92" fmla="*/ 130944 w 491"/>
                <a:gd name="T93" fmla="*/ 525 h 481"/>
                <a:gd name="T94" fmla="*/ 140983 w 491"/>
                <a:gd name="T95" fmla="*/ 0 h 481"/>
                <a:gd name="T96" fmla="*/ 153205 w 491"/>
                <a:gd name="T97" fmla="*/ 4198 h 481"/>
                <a:gd name="T98" fmla="*/ 174156 w 491"/>
                <a:gd name="T99" fmla="*/ 19941 h 481"/>
                <a:gd name="T100" fmla="*/ 186814 w 491"/>
                <a:gd name="T101" fmla="*/ 27813 h 481"/>
                <a:gd name="T102" fmla="*/ 200345 w 491"/>
                <a:gd name="T103" fmla="*/ 31486 h 481"/>
                <a:gd name="T104" fmla="*/ 214312 w 491"/>
                <a:gd name="T105" fmla="*/ 35159 h 481"/>
                <a:gd name="T106" fmla="*/ 214312 w 491"/>
                <a:gd name="T107" fmla="*/ 171074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6" name="Freeform 341">
              <a:extLst>
                <a:ext uri="{FF2B5EF4-FFF2-40B4-BE49-F238E27FC236}">
                  <a16:creationId xmlns:a16="http://schemas.microsoft.com/office/drawing/2014/main" id="{D7262538-4E58-4082-9020-F58FEFE93B6D}"/>
                </a:ext>
              </a:extLst>
            </p:cNvPr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5851518" y="2527280"/>
              <a:ext cx="53975" cy="60325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7" name="Freeform 342">
              <a:extLst>
                <a:ext uri="{FF2B5EF4-FFF2-40B4-BE49-F238E27FC236}">
                  <a16:creationId xmlns:a16="http://schemas.microsoft.com/office/drawing/2014/main" id="{0B934400-E36A-4E07-B8E3-55E9B102A324}"/>
                </a:ext>
              </a:extLst>
            </p:cNvPr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4308470" y="1931973"/>
              <a:ext cx="220663" cy="177799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FEA34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8" name="Freeform 343">
              <a:extLst>
                <a:ext uri="{FF2B5EF4-FFF2-40B4-BE49-F238E27FC236}">
                  <a16:creationId xmlns:a16="http://schemas.microsoft.com/office/drawing/2014/main" id="{16786102-90D1-4B15-A6DC-7E50A2A39D61}"/>
                </a:ext>
              </a:extLst>
            </p:cNvPr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4371970" y="2136758"/>
              <a:ext cx="146050" cy="71437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FEA34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9" name="Freeform 344">
              <a:extLst>
                <a:ext uri="{FF2B5EF4-FFF2-40B4-BE49-F238E27FC236}">
                  <a16:creationId xmlns:a16="http://schemas.microsoft.com/office/drawing/2014/main" id="{E7F5A8CB-F193-48AF-90DA-877B6E341BB6}"/>
                </a:ext>
              </a:extLst>
            </p:cNvPr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4471983" y="1792274"/>
              <a:ext cx="111125" cy="65087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0" name="Freeform 345">
              <a:extLst>
                <a:ext uri="{FF2B5EF4-FFF2-40B4-BE49-F238E27FC236}">
                  <a16:creationId xmlns:a16="http://schemas.microsoft.com/office/drawing/2014/main" id="{E6DD8BE8-2F08-4DBE-9304-2FDE1531797E}"/>
                </a:ext>
              </a:extLst>
            </p:cNvPr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4484682" y="2139933"/>
              <a:ext cx="179387" cy="142874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1" name="Freeform 346">
              <a:extLst>
                <a:ext uri="{FF2B5EF4-FFF2-40B4-BE49-F238E27FC236}">
                  <a16:creationId xmlns:a16="http://schemas.microsoft.com/office/drawing/2014/main" id="{96C4067C-A0CC-46CF-A3C9-388B2686B75D}"/>
                </a:ext>
              </a:extLst>
            </p:cNvPr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2484435" y="3178150"/>
              <a:ext cx="14287" cy="55562"/>
            </a:xfrm>
            <a:custGeom>
              <a:avLst/>
              <a:gdLst>
                <a:gd name="T0" fmla="*/ 5628 w 33"/>
                <a:gd name="T1" fmla="*/ 10754 h 31"/>
                <a:gd name="T2" fmla="*/ 0 w 33"/>
                <a:gd name="T3" fmla="*/ 34055 h 31"/>
                <a:gd name="T4" fmla="*/ 2165 w 33"/>
                <a:gd name="T5" fmla="*/ 37639 h 31"/>
                <a:gd name="T6" fmla="*/ 6061 w 33"/>
                <a:gd name="T7" fmla="*/ 44809 h 31"/>
                <a:gd name="T8" fmla="*/ 8226 w 33"/>
                <a:gd name="T9" fmla="*/ 48394 h 31"/>
                <a:gd name="T10" fmla="*/ 9958 w 33"/>
                <a:gd name="T11" fmla="*/ 51978 h 31"/>
                <a:gd name="T12" fmla="*/ 11689 w 33"/>
                <a:gd name="T13" fmla="*/ 53771 h 31"/>
                <a:gd name="T14" fmla="*/ 14287 w 33"/>
                <a:gd name="T15" fmla="*/ 55563 h 31"/>
                <a:gd name="T16" fmla="*/ 14287 w 33"/>
                <a:gd name="T17" fmla="*/ 0 h 31"/>
                <a:gd name="T18" fmla="*/ 8659 w 33"/>
                <a:gd name="T19" fmla="*/ 0 h 31"/>
                <a:gd name="T20" fmla="*/ 5628 w 33"/>
                <a:gd name="T21" fmla="*/ 1075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2" name="Freeform 347">
              <a:extLst>
                <a:ext uri="{FF2B5EF4-FFF2-40B4-BE49-F238E27FC236}">
                  <a16:creationId xmlns:a16="http://schemas.microsoft.com/office/drawing/2014/main" id="{76B4C934-971E-4944-A711-AF890D20E106}"/>
                </a:ext>
              </a:extLst>
            </p:cNvPr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4589457" y="2131997"/>
              <a:ext cx="85725" cy="79375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3" name="Freeform 348">
              <a:extLst>
                <a:ext uri="{FF2B5EF4-FFF2-40B4-BE49-F238E27FC236}">
                  <a16:creationId xmlns:a16="http://schemas.microsoft.com/office/drawing/2014/main" id="{786F4E78-E075-4443-A003-40DD5153C9E0}"/>
                </a:ext>
              </a:extLst>
            </p:cNvPr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4506907" y="2014522"/>
              <a:ext cx="381000" cy="247648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4" name="Freeform 349">
              <a:extLst>
                <a:ext uri="{FF2B5EF4-FFF2-40B4-BE49-F238E27FC236}">
                  <a16:creationId xmlns:a16="http://schemas.microsoft.com/office/drawing/2014/main" id="{42479A6F-E712-423C-A0D2-0DA7379A4D01}"/>
                </a:ext>
              </a:extLst>
            </p:cNvPr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5018082" y="2357419"/>
              <a:ext cx="47625" cy="63499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5" name="Freeform 350">
              <a:extLst>
                <a:ext uri="{FF2B5EF4-FFF2-40B4-BE49-F238E27FC236}">
                  <a16:creationId xmlns:a16="http://schemas.microsoft.com/office/drawing/2014/main" id="{E299BA37-F2AF-4574-8B19-C32F14044E3D}"/>
                </a:ext>
              </a:extLst>
            </p:cNvPr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5561006" y="2371706"/>
              <a:ext cx="207962" cy="122237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6" name="Freeform 351">
              <a:extLst>
                <a:ext uri="{FF2B5EF4-FFF2-40B4-BE49-F238E27FC236}">
                  <a16:creationId xmlns:a16="http://schemas.microsoft.com/office/drawing/2014/main" id="{CF795CF3-2EDD-44F7-8FBB-49B1881A4095}"/>
                </a:ext>
              </a:extLst>
            </p:cNvPr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5610218" y="2300270"/>
              <a:ext cx="225425" cy="125411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7" name="Freeform 352">
              <a:extLst>
                <a:ext uri="{FF2B5EF4-FFF2-40B4-BE49-F238E27FC236}">
                  <a16:creationId xmlns:a16="http://schemas.microsoft.com/office/drawing/2014/main" id="{574E3F78-BC97-489D-9219-14DFB1B85342}"/>
                </a:ext>
              </a:extLst>
            </p:cNvPr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5216519" y="2316145"/>
              <a:ext cx="342900" cy="227010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8" name="Freeform 353">
              <a:extLst>
                <a:ext uri="{FF2B5EF4-FFF2-40B4-BE49-F238E27FC236}">
                  <a16:creationId xmlns:a16="http://schemas.microsoft.com/office/drawing/2014/main" id="{041A0DE6-17EC-4353-AD65-3A328FA06637}"/>
                </a:ext>
              </a:extLst>
            </p:cNvPr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4425945" y="2203433"/>
              <a:ext cx="107950" cy="149224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59" name="Freeform 354">
              <a:extLst>
                <a:ext uri="{FF2B5EF4-FFF2-40B4-BE49-F238E27FC236}">
                  <a16:creationId xmlns:a16="http://schemas.microsoft.com/office/drawing/2014/main" id="{F10EACF6-6E45-447D-98F0-3B3379CB5EC4}"/>
                </a:ext>
              </a:extLst>
            </p:cNvPr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4473570" y="2311382"/>
              <a:ext cx="68263" cy="60325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0" name="Freeform 355">
              <a:extLst>
                <a:ext uri="{FF2B5EF4-FFF2-40B4-BE49-F238E27FC236}">
                  <a16:creationId xmlns:a16="http://schemas.microsoft.com/office/drawing/2014/main" id="{AEE2D7BD-E940-47B0-A596-940BC771DFD5}"/>
                </a:ext>
              </a:extLst>
            </p:cNvPr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4557708" y="2935265"/>
              <a:ext cx="411162" cy="611182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1" name="Freeform 356">
              <a:extLst>
                <a:ext uri="{FF2B5EF4-FFF2-40B4-BE49-F238E27FC236}">
                  <a16:creationId xmlns:a16="http://schemas.microsoft.com/office/drawing/2014/main" id="{19A18BB7-E49B-45B8-9EF7-E0778B25BB53}"/>
                </a:ext>
              </a:extLst>
            </p:cNvPr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5041894" y="3274987"/>
              <a:ext cx="244474" cy="431796"/>
            </a:xfrm>
            <a:custGeom>
              <a:avLst/>
              <a:gdLst>
                <a:gd name="T0" fmla="*/ 43091 w 556"/>
                <a:gd name="T1" fmla="*/ 32688 h 819"/>
                <a:gd name="T2" fmla="*/ 49247 w 556"/>
                <a:gd name="T3" fmla="*/ 29525 h 819"/>
                <a:gd name="T4" fmla="*/ 56722 w 556"/>
                <a:gd name="T5" fmla="*/ 36379 h 819"/>
                <a:gd name="T6" fmla="*/ 65516 w 556"/>
                <a:gd name="T7" fmla="*/ 44814 h 819"/>
                <a:gd name="T8" fmla="*/ 75189 w 556"/>
                <a:gd name="T9" fmla="*/ 48505 h 819"/>
                <a:gd name="T10" fmla="*/ 94536 w 556"/>
                <a:gd name="T11" fmla="*/ 46396 h 819"/>
                <a:gd name="T12" fmla="*/ 113004 w 556"/>
                <a:gd name="T13" fmla="*/ 43233 h 819"/>
                <a:gd name="T14" fmla="*/ 127954 w 556"/>
                <a:gd name="T15" fmla="*/ 41651 h 819"/>
                <a:gd name="T16" fmla="*/ 132351 w 556"/>
                <a:gd name="T17" fmla="*/ 39015 h 819"/>
                <a:gd name="T18" fmla="*/ 132351 w 556"/>
                <a:gd name="T19" fmla="*/ 35852 h 819"/>
                <a:gd name="T20" fmla="*/ 156095 w 556"/>
                <a:gd name="T21" fmla="*/ 33215 h 819"/>
                <a:gd name="T22" fmla="*/ 190831 w 556"/>
                <a:gd name="T23" fmla="*/ 23725 h 819"/>
                <a:gd name="T24" fmla="*/ 210618 w 556"/>
                <a:gd name="T25" fmla="*/ 14762 h 819"/>
                <a:gd name="T26" fmla="*/ 226007 w 556"/>
                <a:gd name="T27" fmla="*/ 4218 h 819"/>
                <a:gd name="T28" fmla="*/ 240518 w 556"/>
                <a:gd name="T29" fmla="*/ 16344 h 819"/>
                <a:gd name="T30" fmla="*/ 244035 w 556"/>
                <a:gd name="T31" fmla="*/ 30052 h 819"/>
                <a:gd name="T32" fmla="*/ 242716 w 556"/>
                <a:gd name="T33" fmla="*/ 59577 h 819"/>
                <a:gd name="T34" fmla="*/ 233922 w 556"/>
                <a:gd name="T35" fmla="*/ 91738 h 819"/>
                <a:gd name="T36" fmla="*/ 220731 w 556"/>
                <a:gd name="T37" fmla="*/ 121790 h 819"/>
                <a:gd name="T38" fmla="*/ 196547 w 556"/>
                <a:gd name="T39" fmla="*/ 169240 h 819"/>
                <a:gd name="T40" fmla="*/ 185994 w 556"/>
                <a:gd name="T41" fmla="*/ 197711 h 819"/>
                <a:gd name="T42" fmla="*/ 180278 w 556"/>
                <a:gd name="T43" fmla="*/ 218800 h 819"/>
                <a:gd name="T44" fmla="*/ 166648 w 556"/>
                <a:gd name="T45" fmla="*/ 249379 h 819"/>
                <a:gd name="T46" fmla="*/ 145102 w 556"/>
                <a:gd name="T47" fmla="*/ 279958 h 819"/>
                <a:gd name="T48" fmla="*/ 126635 w 556"/>
                <a:gd name="T49" fmla="*/ 298411 h 819"/>
                <a:gd name="T50" fmla="*/ 105089 w 556"/>
                <a:gd name="T51" fmla="*/ 316337 h 819"/>
                <a:gd name="T52" fmla="*/ 73870 w 556"/>
                <a:gd name="T53" fmla="*/ 343226 h 819"/>
                <a:gd name="T54" fmla="*/ 62878 w 556"/>
                <a:gd name="T55" fmla="*/ 358515 h 819"/>
                <a:gd name="T56" fmla="*/ 57601 w 556"/>
                <a:gd name="T57" fmla="*/ 369060 h 819"/>
                <a:gd name="T58" fmla="*/ 51006 w 556"/>
                <a:gd name="T59" fmla="*/ 378023 h 819"/>
                <a:gd name="T60" fmla="*/ 31219 w 556"/>
                <a:gd name="T61" fmla="*/ 392785 h 819"/>
                <a:gd name="T62" fmla="*/ 8354 w 556"/>
                <a:gd name="T63" fmla="*/ 422310 h 819"/>
                <a:gd name="T64" fmla="*/ 879 w 556"/>
                <a:gd name="T65" fmla="*/ 297357 h 819"/>
                <a:gd name="T66" fmla="*/ 1319 w 556"/>
                <a:gd name="T67" fmla="*/ 292084 h 819"/>
                <a:gd name="T68" fmla="*/ 11872 w 556"/>
                <a:gd name="T69" fmla="*/ 281013 h 819"/>
                <a:gd name="T70" fmla="*/ 18468 w 556"/>
                <a:gd name="T71" fmla="*/ 272050 h 819"/>
                <a:gd name="T72" fmla="*/ 26382 w 556"/>
                <a:gd name="T73" fmla="*/ 262032 h 819"/>
                <a:gd name="T74" fmla="*/ 48807 w 556"/>
                <a:gd name="T75" fmla="*/ 253070 h 819"/>
                <a:gd name="T76" fmla="*/ 52325 w 556"/>
                <a:gd name="T77" fmla="*/ 247797 h 819"/>
                <a:gd name="T78" fmla="*/ 56722 w 556"/>
                <a:gd name="T79" fmla="*/ 238307 h 819"/>
                <a:gd name="T80" fmla="*/ 66835 w 556"/>
                <a:gd name="T81" fmla="*/ 231980 h 819"/>
                <a:gd name="T82" fmla="*/ 76508 w 556"/>
                <a:gd name="T83" fmla="*/ 231453 h 819"/>
                <a:gd name="T84" fmla="*/ 86182 w 556"/>
                <a:gd name="T85" fmla="*/ 231453 h 819"/>
                <a:gd name="T86" fmla="*/ 100252 w 556"/>
                <a:gd name="T87" fmla="*/ 226181 h 819"/>
                <a:gd name="T88" fmla="*/ 110366 w 556"/>
                <a:gd name="T89" fmla="*/ 213527 h 819"/>
                <a:gd name="T90" fmla="*/ 116521 w 556"/>
                <a:gd name="T91" fmla="*/ 199820 h 819"/>
                <a:gd name="T92" fmla="*/ 130152 w 556"/>
                <a:gd name="T93" fmla="*/ 182948 h 819"/>
                <a:gd name="T94" fmla="*/ 155655 w 556"/>
                <a:gd name="T95" fmla="*/ 154478 h 819"/>
                <a:gd name="T96" fmla="*/ 165768 w 556"/>
                <a:gd name="T97" fmla="*/ 140243 h 819"/>
                <a:gd name="T98" fmla="*/ 142464 w 556"/>
                <a:gd name="T99" fmla="*/ 129698 h 819"/>
                <a:gd name="T100" fmla="*/ 113004 w 556"/>
                <a:gd name="T101" fmla="*/ 120208 h 819"/>
                <a:gd name="T102" fmla="*/ 80905 w 556"/>
                <a:gd name="T103" fmla="*/ 110191 h 819"/>
                <a:gd name="T104" fmla="*/ 65516 w 556"/>
                <a:gd name="T105" fmla="*/ 98592 h 819"/>
                <a:gd name="T106" fmla="*/ 49247 w 556"/>
                <a:gd name="T107" fmla="*/ 81193 h 819"/>
                <a:gd name="T108" fmla="*/ 39134 w 556"/>
                <a:gd name="T109" fmla="*/ 63795 h 819"/>
                <a:gd name="T110" fmla="*/ 33857 w 556"/>
                <a:gd name="T111" fmla="*/ 42178 h 819"/>
                <a:gd name="T112" fmla="*/ 28581 w 556"/>
                <a:gd name="T113" fmla="*/ 45869 h 819"/>
                <a:gd name="T114" fmla="*/ 36935 w 556"/>
                <a:gd name="T115" fmla="*/ 35852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2" name="Freeform 357">
              <a:extLst>
                <a:ext uri="{FF2B5EF4-FFF2-40B4-BE49-F238E27FC236}">
                  <a16:creationId xmlns:a16="http://schemas.microsoft.com/office/drawing/2014/main" id="{40E86276-BD75-4A0E-A0DC-5202CD9FCF80}"/>
                </a:ext>
              </a:extLst>
            </p:cNvPr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5049832" y="3262287"/>
              <a:ext cx="38100" cy="58737"/>
            </a:xfrm>
            <a:custGeom>
              <a:avLst/>
              <a:gdLst>
                <a:gd name="T0" fmla="*/ 26138 w 86"/>
                <a:gd name="T1" fmla="*/ 0 h 97"/>
                <a:gd name="T2" fmla="*/ 24809 w 86"/>
                <a:gd name="T3" fmla="*/ 1211 h 97"/>
                <a:gd name="T4" fmla="*/ 23037 w 86"/>
                <a:gd name="T5" fmla="*/ 1817 h 97"/>
                <a:gd name="T6" fmla="*/ 20379 w 86"/>
                <a:gd name="T7" fmla="*/ 1817 h 97"/>
                <a:gd name="T8" fmla="*/ 17721 w 86"/>
                <a:gd name="T9" fmla="*/ 1817 h 97"/>
                <a:gd name="T10" fmla="*/ 14620 w 86"/>
                <a:gd name="T11" fmla="*/ 1817 h 97"/>
                <a:gd name="T12" fmla="*/ 11962 w 86"/>
                <a:gd name="T13" fmla="*/ 1817 h 97"/>
                <a:gd name="T14" fmla="*/ 10190 w 86"/>
                <a:gd name="T15" fmla="*/ 2422 h 97"/>
                <a:gd name="T16" fmla="*/ 8860 w 86"/>
                <a:gd name="T17" fmla="*/ 3633 h 97"/>
                <a:gd name="T18" fmla="*/ 7088 w 86"/>
                <a:gd name="T19" fmla="*/ 5450 h 97"/>
                <a:gd name="T20" fmla="*/ 5759 w 86"/>
                <a:gd name="T21" fmla="*/ 7266 h 97"/>
                <a:gd name="T22" fmla="*/ 4873 w 86"/>
                <a:gd name="T23" fmla="*/ 9083 h 97"/>
                <a:gd name="T24" fmla="*/ 3544 w 86"/>
                <a:gd name="T25" fmla="*/ 12111 h 97"/>
                <a:gd name="T26" fmla="*/ 1772 w 86"/>
                <a:gd name="T27" fmla="*/ 17561 h 97"/>
                <a:gd name="T28" fmla="*/ 886 w 86"/>
                <a:gd name="T29" fmla="*/ 23010 h 97"/>
                <a:gd name="T30" fmla="*/ 0 w 86"/>
                <a:gd name="T31" fmla="*/ 34516 h 97"/>
                <a:gd name="T32" fmla="*/ 0 w 86"/>
                <a:gd name="T33" fmla="*/ 45415 h 97"/>
                <a:gd name="T34" fmla="*/ 0 w 86"/>
                <a:gd name="T35" fmla="*/ 49048 h 97"/>
                <a:gd name="T36" fmla="*/ 443 w 86"/>
                <a:gd name="T37" fmla="*/ 52076 h 97"/>
                <a:gd name="T38" fmla="*/ 1329 w 86"/>
                <a:gd name="T39" fmla="*/ 54498 h 97"/>
                <a:gd name="T40" fmla="*/ 3101 w 86"/>
                <a:gd name="T41" fmla="*/ 56315 h 97"/>
                <a:gd name="T42" fmla="*/ 4430 w 86"/>
                <a:gd name="T43" fmla="*/ 57526 h 97"/>
                <a:gd name="T44" fmla="*/ 5759 w 86"/>
                <a:gd name="T45" fmla="*/ 58131 h 97"/>
                <a:gd name="T46" fmla="*/ 7974 w 86"/>
                <a:gd name="T47" fmla="*/ 58737 h 97"/>
                <a:gd name="T48" fmla="*/ 9303 w 86"/>
                <a:gd name="T49" fmla="*/ 58737 h 97"/>
                <a:gd name="T50" fmla="*/ 17721 w 86"/>
                <a:gd name="T51" fmla="*/ 57526 h 97"/>
                <a:gd name="T52" fmla="*/ 23480 w 86"/>
                <a:gd name="T53" fmla="*/ 56315 h 97"/>
                <a:gd name="T54" fmla="*/ 38100 w 86"/>
                <a:gd name="T55" fmla="*/ 41176 h 97"/>
                <a:gd name="T56" fmla="*/ 26138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3" name="Freeform 358">
              <a:extLst>
                <a:ext uri="{FF2B5EF4-FFF2-40B4-BE49-F238E27FC236}">
                  <a16:creationId xmlns:a16="http://schemas.microsoft.com/office/drawing/2014/main" id="{B9275381-85C1-488F-8239-C38399F231D0}"/>
                </a:ext>
              </a:extLst>
            </p:cNvPr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4848219" y="3173388"/>
              <a:ext cx="363537" cy="376234"/>
            </a:xfrm>
            <a:custGeom>
              <a:avLst/>
              <a:gdLst>
                <a:gd name="T0" fmla="*/ 78300 w 845"/>
                <a:gd name="T1" fmla="*/ 18812 h 720"/>
                <a:gd name="T2" fmla="*/ 88196 w 845"/>
                <a:gd name="T3" fmla="*/ 14631 h 720"/>
                <a:gd name="T4" fmla="*/ 106265 w 845"/>
                <a:gd name="T5" fmla="*/ 0 h 720"/>
                <a:gd name="T6" fmla="*/ 117451 w 845"/>
                <a:gd name="T7" fmla="*/ 6271 h 720"/>
                <a:gd name="T8" fmla="*/ 140683 w 845"/>
                <a:gd name="T9" fmla="*/ 19334 h 720"/>
                <a:gd name="T10" fmla="*/ 163485 w 845"/>
                <a:gd name="T11" fmla="*/ 35011 h 720"/>
                <a:gd name="T12" fmla="*/ 183275 w 845"/>
                <a:gd name="T13" fmla="*/ 51210 h 720"/>
                <a:gd name="T14" fmla="*/ 190158 w 845"/>
                <a:gd name="T15" fmla="*/ 65319 h 720"/>
                <a:gd name="T16" fmla="*/ 190589 w 845"/>
                <a:gd name="T17" fmla="*/ 73157 h 720"/>
                <a:gd name="T18" fmla="*/ 197042 w 845"/>
                <a:gd name="T19" fmla="*/ 76815 h 720"/>
                <a:gd name="T20" fmla="*/ 214681 w 845"/>
                <a:gd name="T21" fmla="*/ 93014 h 720"/>
                <a:gd name="T22" fmla="*/ 217693 w 845"/>
                <a:gd name="T23" fmla="*/ 89879 h 720"/>
                <a:gd name="T24" fmla="*/ 209949 w 845"/>
                <a:gd name="T25" fmla="*/ 96149 h 720"/>
                <a:gd name="T26" fmla="*/ 206937 w 845"/>
                <a:gd name="T27" fmla="*/ 105555 h 720"/>
                <a:gd name="T28" fmla="*/ 206937 w 845"/>
                <a:gd name="T29" fmla="*/ 131683 h 720"/>
                <a:gd name="T30" fmla="*/ 212100 w 845"/>
                <a:gd name="T31" fmla="*/ 137954 h 720"/>
                <a:gd name="T32" fmla="*/ 226297 w 845"/>
                <a:gd name="T33" fmla="*/ 138476 h 720"/>
                <a:gd name="T34" fmla="*/ 234471 w 845"/>
                <a:gd name="T35" fmla="*/ 166694 h 720"/>
                <a:gd name="T36" fmla="*/ 250820 w 845"/>
                <a:gd name="T37" fmla="*/ 188641 h 720"/>
                <a:gd name="T38" fmla="*/ 277494 w 845"/>
                <a:gd name="T39" fmla="*/ 209021 h 720"/>
                <a:gd name="T40" fmla="*/ 317504 w 845"/>
                <a:gd name="T41" fmla="*/ 224697 h 720"/>
                <a:gd name="T42" fmla="*/ 363538 w 845"/>
                <a:gd name="T43" fmla="*/ 234626 h 720"/>
                <a:gd name="T44" fmla="*/ 348910 w 845"/>
                <a:gd name="T45" fmla="*/ 251870 h 720"/>
                <a:gd name="T46" fmla="*/ 314493 w 845"/>
                <a:gd name="T47" fmla="*/ 285836 h 720"/>
                <a:gd name="T48" fmla="*/ 306318 w 845"/>
                <a:gd name="T49" fmla="*/ 302557 h 720"/>
                <a:gd name="T50" fmla="*/ 299865 w 845"/>
                <a:gd name="T51" fmla="*/ 322414 h 720"/>
                <a:gd name="T52" fmla="*/ 289970 w 845"/>
                <a:gd name="T53" fmla="*/ 328685 h 720"/>
                <a:gd name="T54" fmla="*/ 249529 w 845"/>
                <a:gd name="T55" fmla="*/ 342271 h 720"/>
                <a:gd name="T56" fmla="*/ 240494 w 845"/>
                <a:gd name="T57" fmla="*/ 350632 h 720"/>
                <a:gd name="T58" fmla="*/ 225867 w 845"/>
                <a:gd name="T59" fmla="*/ 355857 h 720"/>
                <a:gd name="T60" fmla="*/ 207367 w 845"/>
                <a:gd name="T61" fmla="*/ 362128 h 720"/>
                <a:gd name="T62" fmla="*/ 198333 w 845"/>
                <a:gd name="T63" fmla="*/ 355335 h 720"/>
                <a:gd name="T64" fmla="*/ 183705 w 845"/>
                <a:gd name="T65" fmla="*/ 354812 h 720"/>
                <a:gd name="T66" fmla="*/ 174240 w 845"/>
                <a:gd name="T67" fmla="*/ 365263 h 720"/>
                <a:gd name="T68" fmla="*/ 167787 w 845"/>
                <a:gd name="T69" fmla="*/ 373102 h 720"/>
                <a:gd name="T70" fmla="*/ 154880 w 845"/>
                <a:gd name="T71" fmla="*/ 376237 h 720"/>
                <a:gd name="T72" fmla="*/ 136811 w 845"/>
                <a:gd name="T73" fmla="*/ 373102 h 720"/>
                <a:gd name="T74" fmla="*/ 124334 w 845"/>
                <a:gd name="T75" fmla="*/ 364741 h 720"/>
                <a:gd name="T76" fmla="*/ 105835 w 845"/>
                <a:gd name="T77" fmla="*/ 350632 h 720"/>
                <a:gd name="T78" fmla="*/ 77870 w 845"/>
                <a:gd name="T79" fmla="*/ 345406 h 720"/>
                <a:gd name="T80" fmla="*/ 60231 w 845"/>
                <a:gd name="T81" fmla="*/ 341226 h 720"/>
                <a:gd name="T82" fmla="*/ 64964 w 845"/>
                <a:gd name="T83" fmla="*/ 320847 h 720"/>
                <a:gd name="T84" fmla="*/ 54638 w 845"/>
                <a:gd name="T85" fmla="*/ 311441 h 720"/>
                <a:gd name="T86" fmla="*/ 46464 w 845"/>
                <a:gd name="T87" fmla="*/ 304647 h 720"/>
                <a:gd name="T88" fmla="*/ 40011 w 845"/>
                <a:gd name="T89" fmla="*/ 287926 h 720"/>
                <a:gd name="T90" fmla="*/ 33127 w 845"/>
                <a:gd name="T91" fmla="*/ 267024 h 720"/>
                <a:gd name="T92" fmla="*/ 21081 w 845"/>
                <a:gd name="T93" fmla="*/ 255528 h 720"/>
                <a:gd name="T94" fmla="*/ 6884 w 845"/>
                <a:gd name="T95" fmla="*/ 249257 h 720"/>
                <a:gd name="T96" fmla="*/ 2151 w 845"/>
                <a:gd name="T97" fmla="*/ 246644 h 720"/>
                <a:gd name="T98" fmla="*/ 860 w 845"/>
                <a:gd name="T99" fmla="*/ 234103 h 720"/>
                <a:gd name="T100" fmla="*/ 9035 w 845"/>
                <a:gd name="T101" fmla="*/ 220517 h 720"/>
                <a:gd name="T102" fmla="*/ 23662 w 845"/>
                <a:gd name="T103" fmla="*/ 215814 h 720"/>
                <a:gd name="T104" fmla="*/ 28825 w 845"/>
                <a:gd name="T105" fmla="*/ 167739 h 720"/>
                <a:gd name="T106" fmla="*/ 35278 w 845"/>
                <a:gd name="T107" fmla="*/ 143702 h 720"/>
                <a:gd name="T108" fmla="*/ 40871 w 845"/>
                <a:gd name="T109" fmla="*/ 135863 h 720"/>
                <a:gd name="T110" fmla="*/ 44313 w 845"/>
                <a:gd name="T111" fmla="*/ 123322 h 720"/>
                <a:gd name="T112" fmla="*/ 49906 w 845"/>
                <a:gd name="T113" fmla="*/ 107646 h 720"/>
                <a:gd name="T114" fmla="*/ 63673 w 845"/>
                <a:gd name="T115" fmla="*/ 93014 h 720"/>
                <a:gd name="T116" fmla="*/ 71847 w 845"/>
                <a:gd name="T117" fmla="*/ 83608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4" name="Line 359">
              <a:extLst>
                <a:ext uri="{FF2B5EF4-FFF2-40B4-BE49-F238E27FC236}">
                  <a16:creationId xmlns:a16="http://schemas.microsoft.com/office/drawing/2014/main" id="{04D511AF-E06D-40F5-9E49-54D106B5C7FD}"/>
                </a:ext>
              </a:extLst>
            </p:cNvPr>
            <p:cNvSpPr>
              <a:spLocks noChangeShapeType="1"/>
            </p:cNvSpPr>
            <p:nvPr>
              <p:custDataLst>
                <p:tags r:id="rId234"/>
              </p:custDataLst>
            </p:nvPr>
          </p:nvSpPr>
          <p:spPr bwMode="auto">
            <a:xfrm flipH="1">
              <a:off x="1708148" y="3692496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5" name="Freeform 360">
              <a:extLst>
                <a:ext uri="{FF2B5EF4-FFF2-40B4-BE49-F238E27FC236}">
                  <a16:creationId xmlns:a16="http://schemas.microsoft.com/office/drawing/2014/main" id="{4E4B81EB-2FE4-4234-B03E-428B958EC746}"/>
                </a:ext>
              </a:extLst>
            </p:cNvPr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1708148" y="3700434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2694 w 33"/>
                <a:gd name="T3" fmla="*/ 9790 h 6"/>
                <a:gd name="T4" fmla="*/ 5773 w 33"/>
                <a:gd name="T5" fmla="*/ 29369 h 6"/>
                <a:gd name="T6" fmla="*/ 8852 w 33"/>
                <a:gd name="T7" fmla="*/ 48948 h 6"/>
                <a:gd name="T8" fmla="*/ 12700 w 33"/>
                <a:gd name="T9" fmla="*/ 5873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6" name="Freeform 361">
              <a:extLst>
                <a:ext uri="{FF2B5EF4-FFF2-40B4-BE49-F238E27FC236}">
                  <a16:creationId xmlns:a16="http://schemas.microsoft.com/office/drawing/2014/main" id="{67F825D5-47E9-47F7-89BC-4E2008583A61}"/>
                </a:ext>
              </a:extLst>
            </p:cNvPr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1716086" y="3687734"/>
              <a:ext cx="4762" cy="57150"/>
            </a:xfrm>
            <a:custGeom>
              <a:avLst/>
              <a:gdLst>
                <a:gd name="T0" fmla="*/ 4762 w 13"/>
                <a:gd name="T1" fmla="*/ 57150 h 30"/>
                <a:gd name="T2" fmla="*/ 476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267" name="Group 362">
              <a:extLst>
                <a:ext uri="{FF2B5EF4-FFF2-40B4-BE49-F238E27FC236}">
                  <a16:creationId xmlns:a16="http://schemas.microsoft.com/office/drawing/2014/main" id="{9E7E2929-CBB8-45FE-9676-D94B05BC5B2F}"/>
                </a:ext>
              </a:extLst>
            </p:cNvPr>
            <p:cNvGrpSpPr>
              <a:grpSpLocks/>
            </p:cNvGrpSpPr>
            <p:nvPr>
              <p:custDataLst>
                <p:tags r:id="rId237"/>
              </p:custDataLst>
            </p:nvPr>
          </p:nvGrpSpPr>
          <p:grpSpPr bwMode="auto">
            <a:xfrm>
              <a:off x="1708148" y="3622646"/>
              <a:ext cx="417512" cy="201612"/>
              <a:chOff x="912" y="2626"/>
              <a:chExt cx="311" cy="127"/>
            </a:xfrm>
          </p:grpSpPr>
          <p:sp>
            <p:nvSpPr>
              <p:cNvPr id="453" name="Freeform 363">
                <a:extLst>
                  <a:ext uri="{FF2B5EF4-FFF2-40B4-BE49-F238E27FC236}">
                    <a16:creationId xmlns:a16="http://schemas.microsoft.com/office/drawing/2014/main" id="{7BC1DE29-6B28-4AC7-B118-1030B82109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54" name="Freeform 364">
                <a:extLst>
                  <a:ext uri="{FF2B5EF4-FFF2-40B4-BE49-F238E27FC236}">
                    <a16:creationId xmlns:a16="http://schemas.microsoft.com/office/drawing/2014/main" id="{2C8D6D39-141A-464D-8BE0-E9FEF11894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55" name="Freeform 365">
                <a:extLst>
                  <a:ext uri="{FF2B5EF4-FFF2-40B4-BE49-F238E27FC236}">
                    <a16:creationId xmlns:a16="http://schemas.microsoft.com/office/drawing/2014/main" id="{22CDC804-EA22-4528-BC98-F0D06DE95C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268" name="Freeform 366">
              <a:extLst>
                <a:ext uri="{FF2B5EF4-FFF2-40B4-BE49-F238E27FC236}">
                  <a16:creationId xmlns:a16="http://schemas.microsoft.com/office/drawing/2014/main" id="{FB171278-444A-4C7B-A1C5-C7F5E3A6B467}"/>
                </a:ext>
              </a:extLst>
            </p:cNvPr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5356218" y="4340190"/>
              <a:ext cx="19050" cy="58738"/>
            </a:xfrm>
            <a:custGeom>
              <a:avLst/>
              <a:gdLst>
                <a:gd name="T0" fmla="*/ 5269 w 47"/>
                <a:gd name="T1" fmla="*/ 0 h 28"/>
                <a:gd name="T2" fmla="*/ 10133 w 47"/>
                <a:gd name="T3" fmla="*/ 0 h 28"/>
                <a:gd name="T4" fmla="*/ 12565 w 47"/>
                <a:gd name="T5" fmla="*/ 4196 h 28"/>
                <a:gd name="T6" fmla="*/ 13376 w 47"/>
                <a:gd name="T7" fmla="*/ 8391 h 28"/>
                <a:gd name="T8" fmla="*/ 13376 w 47"/>
                <a:gd name="T9" fmla="*/ 12587 h 28"/>
                <a:gd name="T10" fmla="*/ 12970 w 47"/>
                <a:gd name="T11" fmla="*/ 16782 h 28"/>
                <a:gd name="T12" fmla="*/ 13376 w 47"/>
                <a:gd name="T13" fmla="*/ 20978 h 28"/>
                <a:gd name="T14" fmla="*/ 14997 w 47"/>
                <a:gd name="T15" fmla="*/ 25173 h 28"/>
                <a:gd name="T16" fmla="*/ 19050 w 47"/>
                <a:gd name="T17" fmla="*/ 25173 h 28"/>
                <a:gd name="T18" fmla="*/ 17023 w 47"/>
                <a:gd name="T19" fmla="*/ 39858 h 28"/>
                <a:gd name="T20" fmla="*/ 14997 w 47"/>
                <a:gd name="T21" fmla="*/ 52445 h 28"/>
                <a:gd name="T22" fmla="*/ 13376 w 47"/>
                <a:gd name="T23" fmla="*/ 56640 h 28"/>
                <a:gd name="T24" fmla="*/ 11349 w 47"/>
                <a:gd name="T25" fmla="*/ 58738 h 28"/>
                <a:gd name="T26" fmla="*/ 6485 w 47"/>
                <a:gd name="T27" fmla="*/ 56640 h 28"/>
                <a:gd name="T28" fmla="*/ 0 w 47"/>
                <a:gd name="T29" fmla="*/ 52445 h 28"/>
                <a:gd name="T30" fmla="*/ 405 w 47"/>
                <a:gd name="T31" fmla="*/ 39858 h 28"/>
                <a:gd name="T32" fmla="*/ 811 w 47"/>
                <a:gd name="T33" fmla="*/ 31467 h 28"/>
                <a:gd name="T34" fmla="*/ 1621 w 47"/>
                <a:gd name="T35" fmla="*/ 27271 h 28"/>
                <a:gd name="T36" fmla="*/ 2432 w 47"/>
                <a:gd name="T37" fmla="*/ 25173 h 28"/>
                <a:gd name="T38" fmla="*/ 3648 w 47"/>
                <a:gd name="T39" fmla="*/ 23076 h 28"/>
                <a:gd name="T40" fmla="*/ 4459 w 47"/>
                <a:gd name="T41" fmla="*/ 18880 h 28"/>
                <a:gd name="T42" fmla="*/ 5269 w 47"/>
                <a:gd name="T43" fmla="*/ 10489 h 28"/>
                <a:gd name="T44" fmla="*/ 5269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69" name="Freeform 367">
              <a:extLst>
                <a:ext uri="{FF2B5EF4-FFF2-40B4-BE49-F238E27FC236}">
                  <a16:creationId xmlns:a16="http://schemas.microsoft.com/office/drawing/2014/main" id="{9573E844-6BAF-44C5-B67F-9FEB9F3FFDD8}"/>
                </a:ext>
              </a:extLst>
            </p:cNvPr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5327643" y="4367178"/>
              <a:ext cx="23813" cy="57150"/>
            </a:xfrm>
            <a:custGeom>
              <a:avLst/>
              <a:gdLst>
                <a:gd name="T0" fmla="*/ 5841 w 53"/>
                <a:gd name="T1" fmla="*/ 0 h 33"/>
                <a:gd name="T2" fmla="*/ 11682 w 53"/>
                <a:gd name="T3" fmla="*/ 1732 h 33"/>
                <a:gd name="T4" fmla="*/ 15276 w 53"/>
                <a:gd name="T5" fmla="*/ 1732 h 33"/>
                <a:gd name="T6" fmla="*/ 16624 w 53"/>
                <a:gd name="T7" fmla="*/ 5195 h 33"/>
                <a:gd name="T8" fmla="*/ 16624 w 53"/>
                <a:gd name="T9" fmla="*/ 6927 h 33"/>
                <a:gd name="T10" fmla="*/ 16624 w 53"/>
                <a:gd name="T11" fmla="*/ 10391 h 33"/>
                <a:gd name="T12" fmla="*/ 17523 w 53"/>
                <a:gd name="T13" fmla="*/ 13855 h 33"/>
                <a:gd name="T14" fmla="*/ 19769 w 53"/>
                <a:gd name="T15" fmla="*/ 17318 h 33"/>
                <a:gd name="T16" fmla="*/ 23813 w 53"/>
                <a:gd name="T17" fmla="*/ 20782 h 33"/>
                <a:gd name="T18" fmla="*/ 21566 w 53"/>
                <a:gd name="T19" fmla="*/ 38100 h 33"/>
                <a:gd name="T20" fmla="*/ 19769 w 53"/>
                <a:gd name="T21" fmla="*/ 48491 h 33"/>
                <a:gd name="T22" fmla="*/ 18871 w 53"/>
                <a:gd name="T23" fmla="*/ 53686 h 33"/>
                <a:gd name="T24" fmla="*/ 17073 w 53"/>
                <a:gd name="T25" fmla="*/ 55418 h 33"/>
                <a:gd name="T26" fmla="*/ 16175 w 53"/>
                <a:gd name="T27" fmla="*/ 57150 h 33"/>
                <a:gd name="T28" fmla="*/ 15276 w 53"/>
                <a:gd name="T29" fmla="*/ 57150 h 33"/>
                <a:gd name="T30" fmla="*/ 8986 w 53"/>
                <a:gd name="T31" fmla="*/ 51955 h 33"/>
                <a:gd name="T32" fmla="*/ 0 w 53"/>
                <a:gd name="T33" fmla="*/ 41564 h 33"/>
                <a:gd name="T34" fmla="*/ 0 w 53"/>
                <a:gd name="T35" fmla="*/ 32905 h 33"/>
                <a:gd name="T36" fmla="*/ 899 w 53"/>
                <a:gd name="T37" fmla="*/ 27709 h 33"/>
                <a:gd name="T38" fmla="*/ 1797 w 53"/>
                <a:gd name="T39" fmla="*/ 24245 h 33"/>
                <a:gd name="T40" fmla="*/ 3145 w 53"/>
                <a:gd name="T41" fmla="*/ 20782 h 33"/>
                <a:gd name="T42" fmla="*/ 4044 w 53"/>
                <a:gd name="T43" fmla="*/ 19050 h 33"/>
                <a:gd name="T44" fmla="*/ 4942 w 53"/>
                <a:gd name="T45" fmla="*/ 15586 h 33"/>
                <a:gd name="T46" fmla="*/ 5392 w 53"/>
                <a:gd name="T47" fmla="*/ 10391 h 33"/>
                <a:gd name="T48" fmla="*/ 5841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270" name="Group 368">
              <a:extLst>
                <a:ext uri="{FF2B5EF4-FFF2-40B4-BE49-F238E27FC236}">
                  <a16:creationId xmlns:a16="http://schemas.microsoft.com/office/drawing/2014/main" id="{43E9490B-92B2-42A3-96F9-AB60C975A43C}"/>
                </a:ext>
              </a:extLst>
            </p:cNvPr>
            <p:cNvGrpSpPr>
              <a:grpSpLocks/>
            </p:cNvGrpSpPr>
            <p:nvPr>
              <p:custDataLst>
                <p:tags r:id="rId240"/>
              </p:custDataLst>
            </p:nvPr>
          </p:nvGrpSpPr>
          <p:grpSpPr bwMode="auto">
            <a:xfrm>
              <a:off x="5168894" y="3859182"/>
              <a:ext cx="168275" cy="103186"/>
              <a:chOff x="3481" y="2773"/>
              <a:chExt cx="125" cy="65"/>
            </a:xfrm>
          </p:grpSpPr>
          <p:sp>
            <p:nvSpPr>
              <p:cNvPr id="442" name="Freeform 369">
                <a:extLst>
                  <a:ext uri="{FF2B5EF4-FFF2-40B4-BE49-F238E27FC236}">
                    <a16:creationId xmlns:a16="http://schemas.microsoft.com/office/drawing/2014/main" id="{1FE10B43-1A7D-413F-A4F1-B7D8B488DC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43" name="Line 370">
                <a:extLst>
                  <a:ext uri="{FF2B5EF4-FFF2-40B4-BE49-F238E27FC236}">
                    <a16:creationId xmlns:a16="http://schemas.microsoft.com/office/drawing/2014/main" id="{998FE5DD-C91B-4C02-9285-F8CD42CE9F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44" name="Freeform 371">
                <a:extLst>
                  <a:ext uri="{FF2B5EF4-FFF2-40B4-BE49-F238E27FC236}">
                    <a16:creationId xmlns:a16="http://schemas.microsoft.com/office/drawing/2014/main" id="{A4D314E9-70AB-44D5-BDB2-A614CB778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45" name="Freeform 372">
                <a:extLst>
                  <a:ext uri="{FF2B5EF4-FFF2-40B4-BE49-F238E27FC236}">
                    <a16:creationId xmlns:a16="http://schemas.microsoft.com/office/drawing/2014/main" id="{EFF5CC53-036C-4B98-AE1C-636EE98D4A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46" name="Freeform 373">
                <a:extLst>
                  <a:ext uri="{FF2B5EF4-FFF2-40B4-BE49-F238E27FC236}">
                    <a16:creationId xmlns:a16="http://schemas.microsoft.com/office/drawing/2014/main" id="{DB447C11-11B5-440F-BE14-A81F9EB6E3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47" name="Line 374">
                <a:extLst>
                  <a:ext uri="{FF2B5EF4-FFF2-40B4-BE49-F238E27FC236}">
                    <a16:creationId xmlns:a16="http://schemas.microsoft.com/office/drawing/2014/main" id="{6F25B57C-E827-4626-BEEC-931112A57DC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48" name="Freeform 375">
                <a:extLst>
                  <a:ext uri="{FF2B5EF4-FFF2-40B4-BE49-F238E27FC236}">
                    <a16:creationId xmlns:a16="http://schemas.microsoft.com/office/drawing/2014/main" id="{284182FC-124E-4E0E-BF9D-1F2287A73C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49" name="Freeform 376">
                <a:extLst>
                  <a:ext uri="{FF2B5EF4-FFF2-40B4-BE49-F238E27FC236}">
                    <a16:creationId xmlns:a16="http://schemas.microsoft.com/office/drawing/2014/main" id="{FB0C1B4B-DD7B-407A-9C3B-3C70E25169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50" name="Freeform 377">
                <a:extLst>
                  <a:ext uri="{FF2B5EF4-FFF2-40B4-BE49-F238E27FC236}">
                    <a16:creationId xmlns:a16="http://schemas.microsoft.com/office/drawing/2014/main" id="{72D022B1-5738-4A31-9892-3E30D23B13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51" name="Freeform 378">
                <a:extLst>
                  <a:ext uri="{FF2B5EF4-FFF2-40B4-BE49-F238E27FC236}">
                    <a16:creationId xmlns:a16="http://schemas.microsoft.com/office/drawing/2014/main" id="{B71564F2-36F8-4B50-B0D9-F79AA10331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52" name="Freeform 379">
                <a:extLst>
                  <a:ext uri="{FF2B5EF4-FFF2-40B4-BE49-F238E27FC236}">
                    <a16:creationId xmlns:a16="http://schemas.microsoft.com/office/drawing/2014/main" id="{3C04584F-FFF2-48FF-BE8B-63E5313C99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271" name="Freeform 380">
              <a:extLst>
                <a:ext uri="{FF2B5EF4-FFF2-40B4-BE49-F238E27FC236}">
                  <a16:creationId xmlns:a16="http://schemas.microsoft.com/office/drawing/2014/main" id="{A81EF84C-F493-445C-BCFB-1774AA26E25E}"/>
                </a:ext>
              </a:extLst>
            </p:cNvPr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4297358" y="3851244"/>
              <a:ext cx="319087" cy="379410"/>
            </a:xfrm>
            <a:custGeom>
              <a:avLst/>
              <a:gdLst>
                <a:gd name="T0" fmla="*/ 26013 w 736"/>
                <a:gd name="T1" fmla="*/ 360469 h 721"/>
                <a:gd name="T2" fmla="*/ 39452 w 736"/>
                <a:gd name="T3" fmla="*/ 351523 h 721"/>
                <a:gd name="T4" fmla="*/ 54626 w 736"/>
                <a:gd name="T5" fmla="*/ 351523 h 721"/>
                <a:gd name="T6" fmla="*/ 84974 w 736"/>
                <a:gd name="T7" fmla="*/ 364152 h 721"/>
                <a:gd name="T8" fmla="*/ 106218 w 736"/>
                <a:gd name="T9" fmla="*/ 370993 h 721"/>
                <a:gd name="T10" fmla="*/ 126594 w 736"/>
                <a:gd name="T11" fmla="*/ 369941 h 721"/>
                <a:gd name="T12" fmla="*/ 264894 w 736"/>
                <a:gd name="T13" fmla="*/ 377308 h 721"/>
                <a:gd name="T14" fmla="*/ 282236 w 736"/>
                <a:gd name="T15" fmla="*/ 372046 h 721"/>
                <a:gd name="T16" fmla="*/ 271831 w 736"/>
                <a:gd name="T17" fmla="*/ 345734 h 721"/>
                <a:gd name="T18" fmla="*/ 287872 w 736"/>
                <a:gd name="T19" fmla="*/ 227858 h 721"/>
                <a:gd name="T20" fmla="*/ 307381 w 736"/>
                <a:gd name="T21" fmla="*/ 225753 h 721"/>
                <a:gd name="T22" fmla="*/ 313451 w 736"/>
                <a:gd name="T23" fmla="*/ 218912 h 721"/>
                <a:gd name="T24" fmla="*/ 318220 w 736"/>
                <a:gd name="T25" fmla="*/ 189443 h 721"/>
                <a:gd name="T26" fmla="*/ 313017 w 736"/>
                <a:gd name="T27" fmla="*/ 158922 h 721"/>
                <a:gd name="T28" fmla="*/ 306948 w 736"/>
                <a:gd name="T29" fmla="*/ 159974 h 721"/>
                <a:gd name="T30" fmla="*/ 293074 w 736"/>
                <a:gd name="T31" fmla="*/ 157869 h 721"/>
                <a:gd name="T32" fmla="*/ 274866 w 736"/>
                <a:gd name="T33" fmla="*/ 157343 h 721"/>
                <a:gd name="T34" fmla="*/ 270097 w 736"/>
                <a:gd name="T35" fmla="*/ 152607 h 721"/>
                <a:gd name="T36" fmla="*/ 267495 w 736"/>
                <a:gd name="T37" fmla="*/ 133137 h 721"/>
                <a:gd name="T38" fmla="*/ 263160 w 736"/>
                <a:gd name="T39" fmla="*/ 115245 h 721"/>
                <a:gd name="T40" fmla="*/ 258825 w 736"/>
                <a:gd name="T41" fmla="*/ 97879 h 721"/>
                <a:gd name="T42" fmla="*/ 263160 w 736"/>
                <a:gd name="T43" fmla="*/ 87881 h 721"/>
                <a:gd name="T44" fmla="*/ 267495 w 736"/>
                <a:gd name="T45" fmla="*/ 77882 h 721"/>
                <a:gd name="T46" fmla="*/ 264894 w 736"/>
                <a:gd name="T47" fmla="*/ 52623 h 721"/>
                <a:gd name="T48" fmla="*/ 235847 w 736"/>
                <a:gd name="T49" fmla="*/ 36836 h 721"/>
                <a:gd name="T50" fmla="*/ 206800 w 736"/>
                <a:gd name="T51" fmla="*/ 34731 h 721"/>
                <a:gd name="T52" fmla="*/ 204198 w 736"/>
                <a:gd name="T53" fmla="*/ 42625 h 721"/>
                <a:gd name="T54" fmla="*/ 200730 w 736"/>
                <a:gd name="T55" fmla="*/ 53149 h 721"/>
                <a:gd name="T56" fmla="*/ 190759 w 736"/>
                <a:gd name="T57" fmla="*/ 64200 h 721"/>
                <a:gd name="T58" fmla="*/ 169949 w 736"/>
                <a:gd name="T59" fmla="*/ 68410 h 721"/>
                <a:gd name="T60" fmla="*/ 157809 w 736"/>
                <a:gd name="T61" fmla="*/ 60517 h 721"/>
                <a:gd name="T62" fmla="*/ 146971 w 736"/>
                <a:gd name="T63" fmla="*/ 43151 h 721"/>
                <a:gd name="T64" fmla="*/ 138300 w 736"/>
                <a:gd name="T65" fmla="*/ 20523 h 721"/>
                <a:gd name="T66" fmla="*/ 135265 w 736"/>
                <a:gd name="T67" fmla="*/ 0 h 721"/>
                <a:gd name="T68" fmla="*/ 13006 w 736"/>
                <a:gd name="T69" fmla="*/ 7893 h 721"/>
                <a:gd name="T70" fmla="*/ 20376 w 736"/>
                <a:gd name="T71" fmla="*/ 15261 h 721"/>
                <a:gd name="T72" fmla="*/ 32516 w 736"/>
                <a:gd name="T73" fmla="*/ 39467 h 721"/>
                <a:gd name="T74" fmla="*/ 44221 w 736"/>
                <a:gd name="T75" fmla="*/ 68410 h 721"/>
                <a:gd name="T76" fmla="*/ 44655 w 736"/>
                <a:gd name="T77" fmla="*/ 89986 h 721"/>
                <a:gd name="T78" fmla="*/ 40319 w 736"/>
                <a:gd name="T79" fmla="*/ 106825 h 721"/>
                <a:gd name="T80" fmla="*/ 41620 w 736"/>
                <a:gd name="T81" fmla="*/ 120507 h 721"/>
                <a:gd name="T82" fmla="*/ 51592 w 736"/>
                <a:gd name="T83" fmla="*/ 143135 h 721"/>
                <a:gd name="T84" fmla="*/ 56794 w 736"/>
                <a:gd name="T85" fmla="*/ 161553 h 721"/>
                <a:gd name="T86" fmla="*/ 55060 w 736"/>
                <a:gd name="T87" fmla="*/ 185234 h 721"/>
                <a:gd name="T88" fmla="*/ 45955 w 736"/>
                <a:gd name="T89" fmla="*/ 212071 h 721"/>
                <a:gd name="T90" fmla="*/ 33383 w 736"/>
                <a:gd name="T91" fmla="*/ 234699 h 721"/>
                <a:gd name="T92" fmla="*/ 17775 w 736"/>
                <a:gd name="T93" fmla="*/ 251012 h 721"/>
                <a:gd name="T94" fmla="*/ 10839 w 736"/>
                <a:gd name="T95" fmla="*/ 311003 h 721"/>
                <a:gd name="T96" fmla="*/ 4769 w 736"/>
                <a:gd name="T97" fmla="*/ 3299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72" name="Freeform 381">
              <a:extLst>
                <a:ext uri="{FF2B5EF4-FFF2-40B4-BE49-F238E27FC236}">
                  <a16:creationId xmlns:a16="http://schemas.microsoft.com/office/drawing/2014/main" id="{33E58CA0-5EE0-4029-8007-ADE40B34CF85}"/>
                </a:ext>
              </a:extLst>
            </p:cNvPr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4308470" y="3824258"/>
              <a:ext cx="15875" cy="60325"/>
            </a:xfrm>
            <a:custGeom>
              <a:avLst/>
              <a:gdLst>
                <a:gd name="T0" fmla="*/ 0 w 39"/>
                <a:gd name="T1" fmla="*/ 60325 h 31"/>
                <a:gd name="T2" fmla="*/ 4885 w 39"/>
                <a:gd name="T3" fmla="*/ 54487 h 31"/>
                <a:gd name="T4" fmla="*/ 8955 w 39"/>
                <a:gd name="T5" fmla="*/ 54487 h 31"/>
                <a:gd name="T6" fmla="*/ 10583 w 39"/>
                <a:gd name="T7" fmla="*/ 54487 h 31"/>
                <a:gd name="T8" fmla="*/ 12212 w 39"/>
                <a:gd name="T9" fmla="*/ 54487 h 31"/>
                <a:gd name="T10" fmla="*/ 14247 w 39"/>
                <a:gd name="T11" fmla="*/ 52541 h 31"/>
                <a:gd name="T12" fmla="*/ 15875 w 39"/>
                <a:gd name="T13" fmla="*/ 48649 h 31"/>
                <a:gd name="T14" fmla="*/ 15875 w 39"/>
                <a:gd name="T15" fmla="*/ 0 h 31"/>
                <a:gd name="T16" fmla="*/ 10583 w 39"/>
                <a:gd name="T17" fmla="*/ 0 h 31"/>
                <a:gd name="T18" fmla="*/ 6920 w 39"/>
                <a:gd name="T19" fmla="*/ 0 h 31"/>
                <a:gd name="T20" fmla="*/ 3256 w 39"/>
                <a:gd name="T21" fmla="*/ 0 h 31"/>
                <a:gd name="T22" fmla="*/ 0 w 39"/>
                <a:gd name="T23" fmla="*/ 0 h 31"/>
                <a:gd name="T24" fmla="*/ 0 w 39"/>
                <a:gd name="T25" fmla="*/ 60325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73" name="Freeform 382">
              <a:extLst>
                <a:ext uri="{FF2B5EF4-FFF2-40B4-BE49-F238E27FC236}">
                  <a16:creationId xmlns:a16="http://schemas.microsoft.com/office/drawing/2014/main" id="{2B8F8533-6BF4-4FB7-A369-5D7273C3B136}"/>
                </a:ext>
              </a:extLst>
            </p:cNvPr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4410070" y="4367178"/>
              <a:ext cx="396875" cy="398459"/>
            </a:xfrm>
            <a:custGeom>
              <a:avLst/>
              <a:gdLst>
                <a:gd name="T0" fmla="*/ 395117 w 903"/>
                <a:gd name="T1" fmla="*/ 152770 h 759"/>
                <a:gd name="T2" fmla="*/ 379295 w 903"/>
                <a:gd name="T3" fmla="*/ 203693 h 759"/>
                <a:gd name="T4" fmla="*/ 365670 w 903"/>
                <a:gd name="T5" fmla="*/ 217343 h 759"/>
                <a:gd name="T6" fmla="*/ 334465 w 903"/>
                <a:gd name="T7" fmla="*/ 266166 h 759"/>
                <a:gd name="T8" fmla="*/ 316445 w 903"/>
                <a:gd name="T9" fmla="*/ 294515 h 759"/>
                <a:gd name="T10" fmla="*/ 284361 w 903"/>
                <a:gd name="T11" fmla="*/ 321815 h 759"/>
                <a:gd name="T12" fmla="*/ 256233 w 903"/>
                <a:gd name="T13" fmla="*/ 349639 h 759"/>
                <a:gd name="T14" fmla="*/ 244806 w 903"/>
                <a:gd name="T15" fmla="*/ 366438 h 759"/>
                <a:gd name="T16" fmla="*/ 228544 w 903"/>
                <a:gd name="T17" fmla="*/ 370113 h 759"/>
                <a:gd name="T18" fmla="*/ 217996 w 903"/>
                <a:gd name="T19" fmla="*/ 372738 h 759"/>
                <a:gd name="T20" fmla="*/ 213161 w 903"/>
                <a:gd name="T21" fmla="*/ 381663 h 759"/>
                <a:gd name="T22" fmla="*/ 163497 w 903"/>
                <a:gd name="T23" fmla="*/ 381663 h 759"/>
                <a:gd name="T24" fmla="*/ 148993 w 903"/>
                <a:gd name="T25" fmla="*/ 384287 h 759"/>
                <a:gd name="T26" fmla="*/ 138884 w 903"/>
                <a:gd name="T27" fmla="*/ 384287 h 759"/>
                <a:gd name="T28" fmla="*/ 125699 w 903"/>
                <a:gd name="T29" fmla="*/ 381663 h 759"/>
                <a:gd name="T30" fmla="*/ 115590 w 903"/>
                <a:gd name="T31" fmla="*/ 386912 h 759"/>
                <a:gd name="T32" fmla="*/ 64168 w 903"/>
                <a:gd name="T33" fmla="*/ 398462 h 759"/>
                <a:gd name="T34" fmla="*/ 50983 w 903"/>
                <a:gd name="T35" fmla="*/ 395312 h 759"/>
                <a:gd name="T36" fmla="*/ 39556 w 903"/>
                <a:gd name="T37" fmla="*/ 387962 h 759"/>
                <a:gd name="T38" fmla="*/ 33403 w 903"/>
                <a:gd name="T39" fmla="*/ 377463 h 759"/>
                <a:gd name="T40" fmla="*/ 34721 w 903"/>
                <a:gd name="T41" fmla="*/ 365913 h 759"/>
                <a:gd name="T42" fmla="*/ 32963 w 903"/>
                <a:gd name="T43" fmla="*/ 329689 h 759"/>
                <a:gd name="T44" fmla="*/ 34721 w 903"/>
                <a:gd name="T45" fmla="*/ 319190 h 759"/>
                <a:gd name="T46" fmla="*/ 29886 w 903"/>
                <a:gd name="T47" fmla="*/ 300290 h 759"/>
                <a:gd name="T48" fmla="*/ 9669 w 903"/>
                <a:gd name="T49" fmla="*/ 270891 h 759"/>
                <a:gd name="T50" fmla="*/ 5274 w 903"/>
                <a:gd name="T51" fmla="*/ 254092 h 759"/>
                <a:gd name="T52" fmla="*/ 4395 w 903"/>
                <a:gd name="T53" fmla="*/ 230467 h 759"/>
                <a:gd name="T54" fmla="*/ 0 w 903"/>
                <a:gd name="T55" fmla="*/ 197919 h 759"/>
                <a:gd name="T56" fmla="*/ 17141 w 903"/>
                <a:gd name="T57" fmla="*/ 197919 h 759"/>
                <a:gd name="T58" fmla="*/ 25052 w 903"/>
                <a:gd name="T59" fmla="*/ 207893 h 759"/>
                <a:gd name="T60" fmla="*/ 41314 w 903"/>
                <a:gd name="T61" fmla="*/ 215243 h 759"/>
                <a:gd name="T62" fmla="*/ 59333 w 903"/>
                <a:gd name="T63" fmla="*/ 215768 h 759"/>
                <a:gd name="T64" fmla="*/ 70321 w 903"/>
                <a:gd name="T65" fmla="*/ 209993 h 759"/>
                <a:gd name="T66" fmla="*/ 79990 w 903"/>
                <a:gd name="T67" fmla="*/ 195294 h 759"/>
                <a:gd name="T68" fmla="*/ 86583 w 903"/>
                <a:gd name="T69" fmla="*/ 120221 h 759"/>
                <a:gd name="T70" fmla="*/ 89659 w 903"/>
                <a:gd name="T71" fmla="*/ 96597 h 759"/>
                <a:gd name="T72" fmla="*/ 92297 w 903"/>
                <a:gd name="T73" fmla="*/ 88197 h 759"/>
                <a:gd name="T74" fmla="*/ 105042 w 903"/>
                <a:gd name="T75" fmla="*/ 93447 h 759"/>
                <a:gd name="T76" fmla="*/ 107679 w 903"/>
                <a:gd name="T77" fmla="*/ 124946 h 759"/>
                <a:gd name="T78" fmla="*/ 108558 w 903"/>
                <a:gd name="T79" fmla="*/ 143845 h 759"/>
                <a:gd name="T80" fmla="*/ 112514 w 903"/>
                <a:gd name="T81" fmla="*/ 150670 h 759"/>
                <a:gd name="T82" fmla="*/ 126139 w 903"/>
                <a:gd name="T83" fmla="*/ 154870 h 759"/>
                <a:gd name="T84" fmla="*/ 137126 w 903"/>
                <a:gd name="T85" fmla="*/ 153820 h 759"/>
                <a:gd name="T86" fmla="*/ 146356 w 903"/>
                <a:gd name="T87" fmla="*/ 142795 h 759"/>
                <a:gd name="T88" fmla="*/ 153828 w 903"/>
                <a:gd name="T89" fmla="*/ 122846 h 759"/>
                <a:gd name="T90" fmla="*/ 161739 w 903"/>
                <a:gd name="T91" fmla="*/ 105522 h 759"/>
                <a:gd name="T92" fmla="*/ 170089 w 903"/>
                <a:gd name="T93" fmla="*/ 100272 h 759"/>
                <a:gd name="T94" fmla="*/ 181956 w 903"/>
                <a:gd name="T95" fmla="*/ 101322 h 759"/>
                <a:gd name="T96" fmla="*/ 198218 w 903"/>
                <a:gd name="T97" fmla="*/ 109196 h 759"/>
                <a:gd name="T98" fmla="*/ 210084 w 903"/>
                <a:gd name="T99" fmla="*/ 113396 h 759"/>
                <a:gd name="T100" fmla="*/ 225028 w 903"/>
                <a:gd name="T101" fmla="*/ 111821 h 759"/>
                <a:gd name="T102" fmla="*/ 233378 w 903"/>
                <a:gd name="T103" fmla="*/ 104997 h 759"/>
                <a:gd name="T104" fmla="*/ 247882 w 903"/>
                <a:gd name="T105" fmla="*/ 66673 h 759"/>
                <a:gd name="T106" fmla="*/ 272494 w 903"/>
                <a:gd name="T107" fmla="*/ 41999 h 759"/>
                <a:gd name="T108" fmla="*/ 321719 w 903"/>
                <a:gd name="T109" fmla="*/ 5775 h 759"/>
                <a:gd name="T110" fmla="*/ 354243 w 903"/>
                <a:gd name="T111" fmla="*/ 1575 h 759"/>
                <a:gd name="T112" fmla="*/ 364791 w 903"/>
                <a:gd name="T113" fmla="*/ 3150 h 759"/>
                <a:gd name="T114" fmla="*/ 375339 w 903"/>
                <a:gd name="T115" fmla="*/ 18374 h 759"/>
                <a:gd name="T116" fmla="*/ 383690 w 903"/>
                <a:gd name="T117" fmla="*/ 37274 h 759"/>
                <a:gd name="T118" fmla="*/ 388085 w 903"/>
                <a:gd name="T119" fmla="*/ 56173 h 759"/>
                <a:gd name="T120" fmla="*/ 381492 w 903"/>
                <a:gd name="T121" fmla="*/ 108671 h 759"/>
                <a:gd name="T122" fmla="*/ 364791 w 903"/>
                <a:gd name="T123" fmla="*/ 107097 h 759"/>
                <a:gd name="T124" fmla="*/ 363033 w 903"/>
                <a:gd name="T125" fmla="*/ 14752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74" name="Freeform 383">
              <a:extLst>
                <a:ext uri="{FF2B5EF4-FFF2-40B4-BE49-F238E27FC236}">
                  <a16:creationId xmlns:a16="http://schemas.microsoft.com/office/drawing/2014/main" id="{5EE9B235-FC42-446D-8F5C-2EA4C174767C}"/>
                </a:ext>
              </a:extLst>
            </p:cNvPr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4557708" y="2935265"/>
              <a:ext cx="411162" cy="611182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275" name="Group 384">
              <a:extLst>
                <a:ext uri="{FF2B5EF4-FFF2-40B4-BE49-F238E27FC236}">
                  <a16:creationId xmlns:a16="http://schemas.microsoft.com/office/drawing/2014/main" id="{93C755A5-262F-49E1-896F-0CD89CBF1906}"/>
                </a:ext>
              </a:extLst>
            </p:cNvPr>
            <p:cNvGrpSpPr>
              <a:grpSpLocks/>
            </p:cNvGrpSpPr>
            <p:nvPr>
              <p:custDataLst>
                <p:tags r:id="rId245"/>
              </p:custDataLst>
            </p:nvPr>
          </p:nvGrpSpPr>
          <p:grpSpPr bwMode="auto">
            <a:xfrm>
              <a:off x="3341684" y="3136875"/>
              <a:ext cx="80962" cy="82549"/>
              <a:chOff x="2352" y="2343"/>
              <a:chExt cx="65" cy="53"/>
            </a:xfrm>
          </p:grpSpPr>
          <p:sp>
            <p:nvSpPr>
              <p:cNvPr id="436" name="Freeform 385">
                <a:extLst>
                  <a:ext uri="{FF2B5EF4-FFF2-40B4-BE49-F238E27FC236}">
                    <a16:creationId xmlns:a16="http://schemas.microsoft.com/office/drawing/2014/main" id="{A2CE10CB-472D-4970-9B00-F0E5CAFAF4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4 w 51"/>
                  <a:gd name="T1" fmla="*/ 0 h 33"/>
                  <a:gd name="T2" fmla="*/ 0 w 51"/>
                  <a:gd name="T3" fmla="*/ 2 h 33"/>
                  <a:gd name="T4" fmla="*/ 1 w 51"/>
                  <a:gd name="T5" fmla="*/ 9 h 33"/>
                  <a:gd name="T6" fmla="*/ 3 w 51"/>
                  <a:gd name="T7" fmla="*/ 11 h 33"/>
                  <a:gd name="T8" fmla="*/ 11 w 51"/>
                  <a:gd name="T9" fmla="*/ 8 h 33"/>
                  <a:gd name="T10" fmla="*/ 15 w 51"/>
                  <a:gd name="T11" fmla="*/ 5 h 33"/>
                  <a:gd name="T12" fmla="*/ 16 w 51"/>
                  <a:gd name="T13" fmla="*/ 3 h 33"/>
                  <a:gd name="T14" fmla="*/ 1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37" name="Freeform 386">
                <a:extLst>
                  <a:ext uri="{FF2B5EF4-FFF2-40B4-BE49-F238E27FC236}">
                    <a16:creationId xmlns:a16="http://schemas.microsoft.com/office/drawing/2014/main" id="{DC92D758-4001-49EF-A664-24CAB5D2A2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0 w 61"/>
                  <a:gd name="T1" fmla="*/ 2 h 20"/>
                  <a:gd name="T2" fmla="*/ 17 w 61"/>
                  <a:gd name="T3" fmla="*/ 1 h 20"/>
                  <a:gd name="T4" fmla="*/ 0 w 61"/>
                  <a:gd name="T5" fmla="*/ 0 h 20"/>
                  <a:gd name="T6" fmla="*/ 1 w 61"/>
                  <a:gd name="T7" fmla="*/ 5 h 20"/>
                  <a:gd name="T8" fmla="*/ 2 w 61"/>
                  <a:gd name="T9" fmla="*/ 7 h 20"/>
                  <a:gd name="T10" fmla="*/ 6 w 61"/>
                  <a:gd name="T11" fmla="*/ 5 h 20"/>
                  <a:gd name="T12" fmla="*/ 20 w 61"/>
                  <a:gd name="T13" fmla="*/ 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38" name="Freeform 387">
                <a:extLst>
                  <a:ext uri="{FF2B5EF4-FFF2-40B4-BE49-F238E27FC236}">
                    <a16:creationId xmlns:a16="http://schemas.microsoft.com/office/drawing/2014/main" id="{361A1375-D719-4380-AB71-EC7A6927C7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1 w 15"/>
                  <a:gd name="T1" fmla="*/ 0 h 36"/>
                  <a:gd name="T2" fmla="*/ 0 w 15"/>
                  <a:gd name="T3" fmla="*/ 7 h 36"/>
                  <a:gd name="T4" fmla="*/ 0 w 15"/>
                  <a:gd name="T5" fmla="*/ 12 h 36"/>
                  <a:gd name="T6" fmla="*/ 4 w 15"/>
                  <a:gd name="T7" fmla="*/ 12 h 36"/>
                  <a:gd name="T8" fmla="*/ 5 w 15"/>
                  <a:gd name="T9" fmla="*/ 5 h 36"/>
                  <a:gd name="T10" fmla="*/ 1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39" name="Freeform 388">
                <a:extLst>
                  <a:ext uri="{FF2B5EF4-FFF2-40B4-BE49-F238E27FC236}">
                    <a16:creationId xmlns:a16="http://schemas.microsoft.com/office/drawing/2014/main" id="{A9B31CF0-DC83-4886-B9B9-280A454939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1 w 37"/>
                  <a:gd name="T1" fmla="*/ 1 h 33"/>
                  <a:gd name="T2" fmla="*/ 7 w 37"/>
                  <a:gd name="T3" fmla="*/ 0 h 33"/>
                  <a:gd name="T4" fmla="*/ 10 w 37"/>
                  <a:gd name="T5" fmla="*/ 2 h 33"/>
                  <a:gd name="T6" fmla="*/ 11 w 37"/>
                  <a:gd name="T7" fmla="*/ 7 h 33"/>
                  <a:gd name="T8" fmla="*/ 7 w 37"/>
                  <a:gd name="T9" fmla="*/ 11 h 33"/>
                  <a:gd name="T10" fmla="*/ 3 w 37"/>
                  <a:gd name="T11" fmla="*/ 11 h 33"/>
                  <a:gd name="T12" fmla="*/ 1 w 37"/>
                  <a:gd name="T13" fmla="*/ 8 h 33"/>
                  <a:gd name="T14" fmla="*/ 0 w 37"/>
                  <a:gd name="T15" fmla="*/ 5 h 33"/>
                  <a:gd name="T16" fmla="*/ 1 w 37"/>
                  <a:gd name="T17" fmla="*/ 1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40" name="Freeform 389">
                <a:extLst>
                  <a:ext uri="{FF2B5EF4-FFF2-40B4-BE49-F238E27FC236}">
                    <a16:creationId xmlns:a16="http://schemas.microsoft.com/office/drawing/2014/main" id="{F2574B82-6803-4760-9D91-C34D6A92FD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1 w 49"/>
                  <a:gd name="T1" fmla="*/ 0 h 54"/>
                  <a:gd name="T2" fmla="*/ 0 w 49"/>
                  <a:gd name="T3" fmla="*/ 0 h 54"/>
                  <a:gd name="T4" fmla="*/ 1 w 49"/>
                  <a:gd name="T5" fmla="*/ 17 h 54"/>
                  <a:gd name="T6" fmla="*/ 6 w 49"/>
                  <a:gd name="T7" fmla="*/ 18 h 54"/>
                  <a:gd name="T8" fmla="*/ 14 w 49"/>
                  <a:gd name="T9" fmla="*/ 15 h 54"/>
                  <a:gd name="T10" fmla="*/ 16 w 49"/>
                  <a:gd name="T11" fmla="*/ 10 h 54"/>
                  <a:gd name="T12" fmla="*/ 13 w 49"/>
                  <a:gd name="T13" fmla="*/ 7 h 54"/>
                  <a:gd name="T14" fmla="*/ 6 w 49"/>
                  <a:gd name="T15" fmla="*/ 3 h 54"/>
                  <a:gd name="T16" fmla="*/ 1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41" name="Freeform 390">
                <a:extLst>
                  <a:ext uri="{FF2B5EF4-FFF2-40B4-BE49-F238E27FC236}">
                    <a16:creationId xmlns:a16="http://schemas.microsoft.com/office/drawing/2014/main" id="{D12241C2-0452-48C5-818A-E5FC168421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6 w 26"/>
                  <a:gd name="T1" fmla="*/ 0 h 22"/>
                  <a:gd name="T2" fmla="*/ 1 w 26"/>
                  <a:gd name="T3" fmla="*/ 1 h 22"/>
                  <a:gd name="T4" fmla="*/ 0 w 26"/>
                  <a:gd name="T5" fmla="*/ 5 h 22"/>
                  <a:gd name="T6" fmla="*/ 2 w 26"/>
                  <a:gd name="T7" fmla="*/ 7 h 22"/>
                  <a:gd name="T8" fmla="*/ 7 w 26"/>
                  <a:gd name="T9" fmla="*/ 7 h 22"/>
                  <a:gd name="T10" fmla="*/ 9 w 26"/>
                  <a:gd name="T11" fmla="*/ 4 h 22"/>
                  <a:gd name="T12" fmla="*/ 6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grpSp>
          <p:nvGrpSpPr>
            <p:cNvPr id="276" name="Group 391">
              <a:extLst>
                <a:ext uri="{FF2B5EF4-FFF2-40B4-BE49-F238E27FC236}">
                  <a16:creationId xmlns:a16="http://schemas.microsoft.com/office/drawing/2014/main" id="{96E618AB-FC3F-414E-A019-85B0D93AA1C9}"/>
                </a:ext>
              </a:extLst>
            </p:cNvPr>
            <p:cNvGrpSpPr>
              <a:grpSpLocks/>
            </p:cNvGrpSpPr>
            <p:nvPr>
              <p:custDataLst>
                <p:tags r:id="rId246"/>
              </p:custDataLst>
            </p:nvPr>
          </p:nvGrpSpPr>
          <p:grpSpPr bwMode="auto">
            <a:xfrm>
              <a:off x="1187449" y="1321663"/>
              <a:ext cx="1681792" cy="1008769"/>
              <a:chOff x="527" y="1188"/>
              <a:chExt cx="1250" cy="631"/>
            </a:xfrm>
          </p:grpSpPr>
          <p:sp>
            <p:nvSpPr>
              <p:cNvPr id="395" name="Freeform 393">
                <a:extLst>
                  <a:ext uri="{FF2B5EF4-FFF2-40B4-BE49-F238E27FC236}">
                    <a16:creationId xmlns:a16="http://schemas.microsoft.com/office/drawing/2014/main" id="{C82931CB-CE71-425F-95AA-C160A7EC3F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96" name="Freeform 394">
                <a:extLst>
                  <a:ext uri="{FF2B5EF4-FFF2-40B4-BE49-F238E27FC236}">
                    <a16:creationId xmlns:a16="http://schemas.microsoft.com/office/drawing/2014/main" id="{7BBB9AB9-6B5C-4EDE-BC94-4592046035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98" name="Freeform 396">
                <a:extLst>
                  <a:ext uri="{FF2B5EF4-FFF2-40B4-BE49-F238E27FC236}">
                    <a16:creationId xmlns:a16="http://schemas.microsoft.com/office/drawing/2014/main" id="{DB92FBB4-ECDA-45E9-B09E-8D58562451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99" name="Freeform 397">
                <a:extLst>
                  <a:ext uri="{FF2B5EF4-FFF2-40B4-BE49-F238E27FC236}">
                    <a16:creationId xmlns:a16="http://schemas.microsoft.com/office/drawing/2014/main" id="{D33B9399-9E44-48A5-8219-2DF540E901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00" name="Freeform 398">
                <a:extLst>
                  <a:ext uri="{FF2B5EF4-FFF2-40B4-BE49-F238E27FC236}">
                    <a16:creationId xmlns:a16="http://schemas.microsoft.com/office/drawing/2014/main" id="{5D8FF8C3-B638-4CB6-9B9A-EC2FB90F8E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01" name="Freeform 399">
                <a:extLst>
                  <a:ext uri="{FF2B5EF4-FFF2-40B4-BE49-F238E27FC236}">
                    <a16:creationId xmlns:a16="http://schemas.microsoft.com/office/drawing/2014/main" id="{C2C3843A-F5E3-4FBD-9BE6-92EA742C16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02" name="Freeform 400">
                <a:extLst>
                  <a:ext uri="{FF2B5EF4-FFF2-40B4-BE49-F238E27FC236}">
                    <a16:creationId xmlns:a16="http://schemas.microsoft.com/office/drawing/2014/main" id="{0430F29D-09FF-46F7-88B4-6F17E29279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03" name="Freeform 401">
                <a:extLst>
                  <a:ext uri="{FF2B5EF4-FFF2-40B4-BE49-F238E27FC236}">
                    <a16:creationId xmlns:a16="http://schemas.microsoft.com/office/drawing/2014/main" id="{F9F94DF2-48D0-4F90-8218-F771BD5296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05" name="Freeform 403">
                <a:extLst>
                  <a:ext uri="{FF2B5EF4-FFF2-40B4-BE49-F238E27FC236}">
                    <a16:creationId xmlns:a16="http://schemas.microsoft.com/office/drawing/2014/main" id="{44D38304-69E4-4472-990D-C2F4FDDAB4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14" name="Freeform 412">
                <a:extLst>
                  <a:ext uri="{FF2B5EF4-FFF2-40B4-BE49-F238E27FC236}">
                    <a16:creationId xmlns:a16="http://schemas.microsoft.com/office/drawing/2014/main" id="{96BC8432-E41F-4723-BF1D-4526549191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15" name="Freeform 413">
                <a:extLst>
                  <a:ext uri="{FF2B5EF4-FFF2-40B4-BE49-F238E27FC236}">
                    <a16:creationId xmlns:a16="http://schemas.microsoft.com/office/drawing/2014/main" id="{D7FED295-52A1-47D0-8264-FD06D2F2D1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16" name="Freeform 414">
                <a:extLst>
                  <a:ext uri="{FF2B5EF4-FFF2-40B4-BE49-F238E27FC236}">
                    <a16:creationId xmlns:a16="http://schemas.microsoft.com/office/drawing/2014/main" id="{95C297C8-2CA6-4944-B685-ADC6F6032D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17" name="Freeform 415">
                <a:extLst>
                  <a:ext uri="{FF2B5EF4-FFF2-40B4-BE49-F238E27FC236}">
                    <a16:creationId xmlns:a16="http://schemas.microsoft.com/office/drawing/2014/main" id="{112AC1F0-C047-435A-832E-185D01A509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18" name="Freeform 416">
                <a:extLst>
                  <a:ext uri="{FF2B5EF4-FFF2-40B4-BE49-F238E27FC236}">
                    <a16:creationId xmlns:a16="http://schemas.microsoft.com/office/drawing/2014/main" id="{39199EBA-AB02-4415-9705-D0FD734B92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016AA3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20" name="Freeform 418">
                <a:extLst>
                  <a:ext uri="{FF2B5EF4-FFF2-40B4-BE49-F238E27FC236}">
                    <a16:creationId xmlns:a16="http://schemas.microsoft.com/office/drawing/2014/main" id="{3D80DECD-C9DB-4757-B6B1-E513F2C997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3282BE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21" name="Freeform 419">
                <a:extLst>
                  <a:ext uri="{FF2B5EF4-FFF2-40B4-BE49-F238E27FC236}">
                    <a16:creationId xmlns:a16="http://schemas.microsoft.com/office/drawing/2014/main" id="{46B19A79-8C69-4F8F-B7C4-0C2F8FDBC4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3282BE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24" name="Freeform 422">
                <a:extLst>
                  <a:ext uri="{FF2B5EF4-FFF2-40B4-BE49-F238E27FC236}">
                    <a16:creationId xmlns:a16="http://schemas.microsoft.com/office/drawing/2014/main" id="{9E9D8E1E-D0A4-4442-9AF6-EEDE742825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27" name="Freeform 425">
                <a:extLst>
                  <a:ext uri="{FF2B5EF4-FFF2-40B4-BE49-F238E27FC236}">
                    <a16:creationId xmlns:a16="http://schemas.microsoft.com/office/drawing/2014/main" id="{531EFC1F-41EA-45DE-BCD0-2DE5EBF076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016AA3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28" name="Freeform 426">
                <a:extLst>
                  <a:ext uri="{FF2B5EF4-FFF2-40B4-BE49-F238E27FC236}">
                    <a16:creationId xmlns:a16="http://schemas.microsoft.com/office/drawing/2014/main" id="{27F9D7E3-7445-4DAA-9632-33F6DDD938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016AA3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29" name="Freeform 427">
                <a:extLst>
                  <a:ext uri="{FF2B5EF4-FFF2-40B4-BE49-F238E27FC236}">
                    <a16:creationId xmlns:a16="http://schemas.microsoft.com/office/drawing/2014/main" id="{2D5C3B9D-6CA9-4B2E-9A97-4AF2E4D35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016AA3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35" name="Freeform 433">
                <a:extLst>
                  <a:ext uri="{FF2B5EF4-FFF2-40B4-BE49-F238E27FC236}">
                    <a16:creationId xmlns:a16="http://schemas.microsoft.com/office/drawing/2014/main" id="{057B2452-D678-4579-BAEC-7CCB3F1D38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016AA3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277" name="Freeform 434">
              <a:extLst>
                <a:ext uri="{FF2B5EF4-FFF2-40B4-BE49-F238E27FC236}">
                  <a16:creationId xmlns:a16="http://schemas.microsoft.com/office/drawing/2014/main" id="{859E0DC6-6DA9-4396-B100-D04D4578C91F}"/>
                </a:ext>
              </a:extLst>
            </p:cNvPr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757733" y="3541685"/>
              <a:ext cx="127000" cy="158749"/>
            </a:xfrm>
            <a:custGeom>
              <a:avLst/>
              <a:gdLst>
                <a:gd name="T0" fmla="*/ 115257 w 292"/>
                <a:gd name="T1" fmla="*/ 5154 h 308"/>
                <a:gd name="T2" fmla="*/ 120041 w 292"/>
                <a:gd name="T3" fmla="*/ 19071 h 308"/>
                <a:gd name="T4" fmla="*/ 124390 w 292"/>
                <a:gd name="T5" fmla="*/ 46903 h 308"/>
                <a:gd name="T6" fmla="*/ 127000 w 292"/>
                <a:gd name="T7" fmla="*/ 74221 h 308"/>
                <a:gd name="T8" fmla="*/ 126565 w 292"/>
                <a:gd name="T9" fmla="*/ 82983 h 308"/>
                <a:gd name="T10" fmla="*/ 124390 w 292"/>
                <a:gd name="T11" fmla="*/ 92261 h 308"/>
                <a:gd name="T12" fmla="*/ 116997 w 292"/>
                <a:gd name="T13" fmla="*/ 106177 h 308"/>
                <a:gd name="T14" fmla="*/ 100469 w 292"/>
                <a:gd name="T15" fmla="*/ 95353 h 308"/>
                <a:gd name="T16" fmla="*/ 71764 w 292"/>
                <a:gd name="T17" fmla="*/ 132979 h 308"/>
                <a:gd name="T18" fmla="*/ 57411 w 292"/>
                <a:gd name="T19" fmla="*/ 143287 h 308"/>
                <a:gd name="T20" fmla="*/ 25661 w 292"/>
                <a:gd name="T21" fmla="*/ 152565 h 308"/>
                <a:gd name="T22" fmla="*/ 13918 w 292"/>
                <a:gd name="T23" fmla="*/ 158750 h 308"/>
                <a:gd name="T24" fmla="*/ 2610 w 292"/>
                <a:gd name="T25" fmla="*/ 158750 h 308"/>
                <a:gd name="T26" fmla="*/ 3914 w 292"/>
                <a:gd name="T27" fmla="*/ 153080 h 308"/>
                <a:gd name="T28" fmla="*/ 4784 w 292"/>
                <a:gd name="T29" fmla="*/ 147411 h 308"/>
                <a:gd name="T30" fmla="*/ 3045 w 292"/>
                <a:gd name="T31" fmla="*/ 136587 h 308"/>
                <a:gd name="T32" fmla="*/ 870 w 292"/>
                <a:gd name="T33" fmla="*/ 126794 h 308"/>
                <a:gd name="T34" fmla="*/ 0 w 292"/>
                <a:gd name="T35" fmla="*/ 117516 h 308"/>
                <a:gd name="T36" fmla="*/ 1305 w 292"/>
                <a:gd name="T37" fmla="*/ 105662 h 308"/>
                <a:gd name="T38" fmla="*/ 5219 w 292"/>
                <a:gd name="T39" fmla="*/ 96899 h 308"/>
                <a:gd name="T40" fmla="*/ 11308 w 292"/>
                <a:gd name="T41" fmla="*/ 89683 h 308"/>
                <a:gd name="T42" fmla="*/ 18267 w 292"/>
                <a:gd name="T43" fmla="*/ 82983 h 308"/>
                <a:gd name="T44" fmla="*/ 33490 w 292"/>
                <a:gd name="T45" fmla="*/ 69582 h 308"/>
                <a:gd name="T46" fmla="*/ 40449 w 292"/>
                <a:gd name="T47" fmla="*/ 61335 h 308"/>
                <a:gd name="T48" fmla="*/ 45668 w 292"/>
                <a:gd name="T49" fmla="*/ 50511 h 308"/>
                <a:gd name="T50" fmla="*/ 42623 w 292"/>
                <a:gd name="T51" fmla="*/ 49481 h 308"/>
                <a:gd name="T52" fmla="*/ 40014 w 292"/>
                <a:gd name="T53" fmla="*/ 46903 h 308"/>
                <a:gd name="T54" fmla="*/ 35664 w 292"/>
                <a:gd name="T55" fmla="*/ 37626 h 308"/>
                <a:gd name="T56" fmla="*/ 32185 w 292"/>
                <a:gd name="T57" fmla="*/ 25771 h 308"/>
                <a:gd name="T58" fmla="*/ 31315 w 292"/>
                <a:gd name="T59" fmla="*/ 12370 h 308"/>
                <a:gd name="T60" fmla="*/ 39144 w 292"/>
                <a:gd name="T61" fmla="*/ 9793 h 308"/>
                <a:gd name="T62" fmla="*/ 45668 w 292"/>
                <a:gd name="T63" fmla="*/ 10308 h 308"/>
                <a:gd name="T64" fmla="*/ 57411 w 292"/>
                <a:gd name="T65" fmla="*/ 12370 h 308"/>
                <a:gd name="T66" fmla="*/ 73503 w 292"/>
                <a:gd name="T67" fmla="*/ 10824 h 308"/>
                <a:gd name="T68" fmla="*/ 91336 w 292"/>
                <a:gd name="T69" fmla="*/ 6185 h 308"/>
                <a:gd name="T70" fmla="*/ 112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78" name="Freeform 435">
              <a:extLst>
                <a:ext uri="{FF2B5EF4-FFF2-40B4-BE49-F238E27FC236}">
                  <a16:creationId xmlns:a16="http://schemas.microsoft.com/office/drawing/2014/main" id="{A7EC1DD9-BD1D-4D1A-96A9-5CF76CED01E8}"/>
                </a:ext>
              </a:extLst>
            </p:cNvPr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4864094" y="3692496"/>
              <a:ext cx="6350" cy="57150"/>
            </a:xfrm>
            <a:custGeom>
              <a:avLst/>
              <a:gdLst>
                <a:gd name="T0" fmla="*/ 4989 w 14"/>
                <a:gd name="T1" fmla="*/ 0 h 7"/>
                <a:gd name="T2" fmla="*/ 5896 w 14"/>
                <a:gd name="T3" fmla="*/ 24493 h 7"/>
                <a:gd name="T4" fmla="*/ 6350 w 14"/>
                <a:gd name="T5" fmla="*/ 57150 h 7"/>
                <a:gd name="T6" fmla="*/ 0 w 14"/>
                <a:gd name="T7" fmla="*/ 57150 h 7"/>
                <a:gd name="T8" fmla="*/ 4989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79" name="Freeform 436">
              <a:extLst>
                <a:ext uri="{FF2B5EF4-FFF2-40B4-BE49-F238E27FC236}">
                  <a16:creationId xmlns:a16="http://schemas.microsoft.com/office/drawing/2014/main" id="{DADE3CBA-CDAE-493E-8F38-AA9F9287E55E}"/>
                </a:ext>
              </a:extLst>
            </p:cNvPr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354508" y="2928915"/>
              <a:ext cx="249237" cy="500058"/>
            </a:xfrm>
            <a:custGeom>
              <a:avLst/>
              <a:gdLst>
                <a:gd name="T0" fmla="*/ 34747 w 581"/>
                <a:gd name="T1" fmla="*/ 60217 h 955"/>
                <a:gd name="T2" fmla="*/ 44614 w 581"/>
                <a:gd name="T3" fmla="*/ 79591 h 955"/>
                <a:gd name="T4" fmla="*/ 47617 w 581"/>
                <a:gd name="T5" fmla="*/ 94253 h 955"/>
                <a:gd name="T6" fmla="*/ 40753 w 581"/>
                <a:gd name="T7" fmla="*/ 122528 h 955"/>
                <a:gd name="T8" fmla="*/ 41182 w 581"/>
                <a:gd name="T9" fmla="*/ 170178 h 955"/>
                <a:gd name="T10" fmla="*/ 39895 w 581"/>
                <a:gd name="T11" fmla="*/ 190076 h 955"/>
                <a:gd name="T12" fmla="*/ 35176 w 581"/>
                <a:gd name="T13" fmla="*/ 207356 h 955"/>
                <a:gd name="T14" fmla="*/ 25310 w 581"/>
                <a:gd name="T15" fmla="*/ 224635 h 955"/>
                <a:gd name="T16" fmla="*/ 13298 w 581"/>
                <a:gd name="T17" fmla="*/ 241391 h 955"/>
                <a:gd name="T18" fmla="*/ 7293 w 581"/>
                <a:gd name="T19" fmla="*/ 251864 h 955"/>
                <a:gd name="T20" fmla="*/ 858 w 581"/>
                <a:gd name="T21" fmla="*/ 283805 h 955"/>
                <a:gd name="T22" fmla="*/ 29600 w 581"/>
                <a:gd name="T23" fmla="*/ 322553 h 955"/>
                <a:gd name="T24" fmla="*/ 29600 w 581"/>
                <a:gd name="T25" fmla="*/ 331978 h 955"/>
                <a:gd name="T26" fmla="*/ 31744 w 581"/>
                <a:gd name="T27" fmla="*/ 348211 h 955"/>
                <a:gd name="T28" fmla="*/ 31744 w 581"/>
                <a:gd name="T29" fmla="*/ 364443 h 955"/>
                <a:gd name="T30" fmla="*/ 33460 w 581"/>
                <a:gd name="T31" fmla="*/ 383817 h 955"/>
                <a:gd name="T32" fmla="*/ 40324 w 581"/>
                <a:gd name="T33" fmla="*/ 407380 h 955"/>
                <a:gd name="T34" fmla="*/ 45043 w 581"/>
                <a:gd name="T35" fmla="*/ 414711 h 955"/>
                <a:gd name="T36" fmla="*/ 29171 w 581"/>
                <a:gd name="T37" fmla="*/ 415758 h 955"/>
                <a:gd name="T38" fmla="*/ 18017 w 581"/>
                <a:gd name="T39" fmla="*/ 419947 h 955"/>
                <a:gd name="T40" fmla="*/ 15443 w 581"/>
                <a:gd name="T41" fmla="*/ 425184 h 955"/>
                <a:gd name="T42" fmla="*/ 18017 w 581"/>
                <a:gd name="T43" fmla="*/ 440892 h 955"/>
                <a:gd name="T44" fmla="*/ 29600 w 581"/>
                <a:gd name="T45" fmla="*/ 458696 h 955"/>
                <a:gd name="T46" fmla="*/ 37321 w 581"/>
                <a:gd name="T47" fmla="*/ 470739 h 955"/>
                <a:gd name="T48" fmla="*/ 42898 w 581"/>
                <a:gd name="T49" fmla="*/ 485400 h 955"/>
                <a:gd name="T50" fmla="*/ 66921 w 581"/>
                <a:gd name="T51" fmla="*/ 500062 h 955"/>
                <a:gd name="T52" fmla="*/ 81077 w 581"/>
                <a:gd name="T53" fmla="*/ 493255 h 955"/>
                <a:gd name="T54" fmla="*/ 106387 w 581"/>
                <a:gd name="T55" fmla="*/ 486448 h 955"/>
                <a:gd name="T56" fmla="*/ 119685 w 581"/>
                <a:gd name="T57" fmla="*/ 482259 h 955"/>
                <a:gd name="T58" fmla="*/ 127407 w 581"/>
                <a:gd name="T59" fmla="*/ 473357 h 955"/>
                <a:gd name="T60" fmla="*/ 129552 w 581"/>
                <a:gd name="T61" fmla="*/ 467074 h 955"/>
                <a:gd name="T62" fmla="*/ 129552 w 581"/>
                <a:gd name="T63" fmla="*/ 454507 h 955"/>
                <a:gd name="T64" fmla="*/ 144995 w 581"/>
                <a:gd name="T65" fmla="*/ 456077 h 955"/>
                <a:gd name="T66" fmla="*/ 157435 w 581"/>
                <a:gd name="T67" fmla="*/ 453459 h 955"/>
                <a:gd name="T68" fmla="*/ 166873 w 581"/>
                <a:gd name="T69" fmla="*/ 448223 h 955"/>
                <a:gd name="T70" fmla="*/ 173737 w 581"/>
                <a:gd name="T71" fmla="*/ 440892 h 955"/>
                <a:gd name="T72" fmla="*/ 185319 w 581"/>
                <a:gd name="T73" fmla="*/ 422565 h 955"/>
                <a:gd name="T74" fmla="*/ 197330 w 581"/>
                <a:gd name="T75" fmla="*/ 404762 h 955"/>
                <a:gd name="T76" fmla="*/ 204623 w 581"/>
                <a:gd name="T77" fmla="*/ 397955 h 955"/>
                <a:gd name="T78" fmla="*/ 215348 w 581"/>
                <a:gd name="T79" fmla="*/ 393766 h 955"/>
                <a:gd name="T80" fmla="*/ 223498 w 581"/>
                <a:gd name="T81" fmla="*/ 390101 h 955"/>
                <a:gd name="T82" fmla="*/ 214061 w 581"/>
                <a:gd name="T83" fmla="*/ 364967 h 955"/>
                <a:gd name="T84" fmla="*/ 207626 w 581"/>
                <a:gd name="T85" fmla="*/ 341927 h 955"/>
                <a:gd name="T86" fmla="*/ 202478 w 581"/>
                <a:gd name="T87" fmla="*/ 326218 h 955"/>
                <a:gd name="T88" fmla="*/ 206339 w 581"/>
                <a:gd name="T89" fmla="*/ 319411 h 955"/>
                <a:gd name="T90" fmla="*/ 208913 w 581"/>
                <a:gd name="T91" fmla="*/ 303179 h 955"/>
                <a:gd name="T92" fmla="*/ 211916 w 581"/>
                <a:gd name="T93" fmla="*/ 283281 h 955"/>
                <a:gd name="T94" fmla="*/ 216635 w 581"/>
                <a:gd name="T95" fmla="*/ 271761 h 955"/>
                <a:gd name="T96" fmla="*/ 228217 w 581"/>
                <a:gd name="T97" fmla="*/ 254482 h 955"/>
                <a:gd name="T98" fmla="*/ 244518 w 581"/>
                <a:gd name="T99" fmla="*/ 241391 h 955"/>
                <a:gd name="T100" fmla="*/ 55338 w 581"/>
                <a:gd name="T101" fmla="*/ 0 h 955"/>
                <a:gd name="T102" fmla="*/ 42040 w 581"/>
                <a:gd name="T103" fmla="*/ 2618 h 955"/>
                <a:gd name="T104" fmla="*/ 29600 w 581"/>
                <a:gd name="T105" fmla="*/ 1256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80" name="Freeform 437">
              <a:extLst>
                <a:ext uri="{FF2B5EF4-FFF2-40B4-BE49-F238E27FC236}">
                  <a16:creationId xmlns:a16="http://schemas.microsoft.com/office/drawing/2014/main" id="{E6D1460B-0A6F-43BD-A120-4A265D7ECA47}"/>
                </a:ext>
              </a:extLst>
            </p:cNvPr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4030658" y="2311382"/>
              <a:ext cx="15875" cy="57150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281" name="Group 438">
              <a:extLst>
                <a:ext uri="{FF2B5EF4-FFF2-40B4-BE49-F238E27FC236}">
                  <a16:creationId xmlns:a16="http://schemas.microsoft.com/office/drawing/2014/main" id="{8E429CE0-9531-4900-B914-78772F53AF9E}"/>
                </a:ext>
              </a:extLst>
            </p:cNvPr>
            <p:cNvGrpSpPr>
              <a:grpSpLocks/>
            </p:cNvGrpSpPr>
            <p:nvPr>
              <p:custDataLst>
                <p:tags r:id="rId251"/>
              </p:custDataLst>
            </p:nvPr>
          </p:nvGrpSpPr>
          <p:grpSpPr bwMode="auto">
            <a:xfrm>
              <a:off x="2330448" y="4371941"/>
              <a:ext cx="384174" cy="951768"/>
              <a:chOff x="1589" y="3126"/>
              <a:chExt cx="290" cy="606"/>
            </a:xfrm>
          </p:grpSpPr>
          <p:sp>
            <p:nvSpPr>
              <p:cNvPr id="391" name="Freeform 439">
                <a:extLst>
                  <a:ext uri="{FF2B5EF4-FFF2-40B4-BE49-F238E27FC236}">
                    <a16:creationId xmlns:a16="http://schemas.microsoft.com/office/drawing/2014/main" id="{D74E64A2-62E5-4D3A-B66F-BE7E0F4993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93" name="Freeform 441">
                <a:extLst>
                  <a:ext uri="{FF2B5EF4-FFF2-40B4-BE49-F238E27FC236}">
                    <a16:creationId xmlns:a16="http://schemas.microsoft.com/office/drawing/2014/main" id="{75A25634-BB2B-4C87-8694-6CE248FFDB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D73B01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282" name="Freeform 442">
              <a:extLst>
                <a:ext uri="{FF2B5EF4-FFF2-40B4-BE49-F238E27FC236}">
                  <a16:creationId xmlns:a16="http://schemas.microsoft.com/office/drawing/2014/main" id="{9A5A5EF3-D5BA-4585-8AA2-F10875562C70}"/>
                </a:ext>
              </a:extLst>
            </p:cNvPr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5040307" y="2324082"/>
              <a:ext cx="123825" cy="109537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83" name="Freeform 443">
              <a:extLst>
                <a:ext uri="{FF2B5EF4-FFF2-40B4-BE49-F238E27FC236}">
                  <a16:creationId xmlns:a16="http://schemas.microsoft.com/office/drawing/2014/main" id="{C5312347-44DE-457B-A881-D565983FCB00}"/>
                </a:ext>
              </a:extLst>
            </p:cNvPr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4506908" y="1897048"/>
              <a:ext cx="209550" cy="150811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84" name="Freeform 444">
              <a:extLst>
                <a:ext uri="{FF2B5EF4-FFF2-40B4-BE49-F238E27FC236}">
                  <a16:creationId xmlns:a16="http://schemas.microsoft.com/office/drawing/2014/main" id="{526BFDC1-01AC-4BEF-AC03-967EC87378DF}"/>
                </a:ext>
              </a:extLst>
            </p:cNvPr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4364033" y="2228833"/>
              <a:ext cx="82550" cy="87312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85" name="Freeform 445">
              <a:extLst>
                <a:ext uri="{FF2B5EF4-FFF2-40B4-BE49-F238E27FC236}">
                  <a16:creationId xmlns:a16="http://schemas.microsoft.com/office/drawing/2014/main" id="{05A9B67B-4552-41BC-802C-8312A097ADA2}"/>
                </a:ext>
              </a:extLst>
            </p:cNvPr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2728910" y="3665509"/>
              <a:ext cx="82550" cy="57150"/>
            </a:xfrm>
            <a:custGeom>
              <a:avLst/>
              <a:gdLst>
                <a:gd name="T0" fmla="*/ 67904 w 186"/>
                <a:gd name="T1" fmla="*/ 11540 h 104"/>
                <a:gd name="T2" fmla="*/ 64797 w 186"/>
                <a:gd name="T3" fmla="*/ 11540 h 104"/>
                <a:gd name="T4" fmla="*/ 62578 w 186"/>
                <a:gd name="T5" fmla="*/ 10990 h 104"/>
                <a:gd name="T6" fmla="*/ 60359 w 186"/>
                <a:gd name="T7" fmla="*/ 9891 h 104"/>
                <a:gd name="T8" fmla="*/ 59028 w 186"/>
                <a:gd name="T9" fmla="*/ 8243 h 104"/>
                <a:gd name="T10" fmla="*/ 57696 w 186"/>
                <a:gd name="T11" fmla="*/ 7144 h 104"/>
                <a:gd name="T12" fmla="*/ 55477 w 186"/>
                <a:gd name="T13" fmla="*/ 6045 h 104"/>
                <a:gd name="T14" fmla="*/ 53258 w 186"/>
                <a:gd name="T15" fmla="*/ 5495 h 104"/>
                <a:gd name="T16" fmla="*/ 50151 w 186"/>
                <a:gd name="T17" fmla="*/ 4946 h 104"/>
                <a:gd name="T18" fmla="*/ 44382 w 186"/>
                <a:gd name="T19" fmla="*/ 4396 h 104"/>
                <a:gd name="T20" fmla="*/ 39056 w 186"/>
                <a:gd name="T21" fmla="*/ 3297 h 104"/>
                <a:gd name="T22" fmla="*/ 33286 w 186"/>
                <a:gd name="T23" fmla="*/ 1649 h 104"/>
                <a:gd name="T24" fmla="*/ 28404 w 186"/>
                <a:gd name="T25" fmla="*/ 550 h 104"/>
                <a:gd name="T26" fmla="*/ 26629 w 186"/>
                <a:gd name="T27" fmla="*/ 0 h 104"/>
                <a:gd name="T28" fmla="*/ 23966 w 186"/>
                <a:gd name="T29" fmla="*/ 0 h 104"/>
                <a:gd name="T30" fmla="*/ 22635 w 186"/>
                <a:gd name="T31" fmla="*/ 550 h 104"/>
                <a:gd name="T32" fmla="*/ 20416 w 186"/>
                <a:gd name="T33" fmla="*/ 1099 h 104"/>
                <a:gd name="T34" fmla="*/ 19528 w 186"/>
                <a:gd name="T35" fmla="*/ 2198 h 104"/>
                <a:gd name="T36" fmla="*/ 18640 w 186"/>
                <a:gd name="T37" fmla="*/ 3297 h 104"/>
                <a:gd name="T38" fmla="*/ 18197 w 186"/>
                <a:gd name="T39" fmla="*/ 5495 h 104"/>
                <a:gd name="T40" fmla="*/ 17753 w 186"/>
                <a:gd name="T41" fmla="*/ 8243 h 104"/>
                <a:gd name="T42" fmla="*/ 15090 w 186"/>
                <a:gd name="T43" fmla="*/ 14837 h 104"/>
                <a:gd name="T44" fmla="*/ 8876 w 186"/>
                <a:gd name="T45" fmla="*/ 25827 h 104"/>
                <a:gd name="T46" fmla="*/ 3107 w 186"/>
                <a:gd name="T47" fmla="*/ 36268 h 104"/>
                <a:gd name="T48" fmla="*/ 0 w 186"/>
                <a:gd name="T49" fmla="*/ 42313 h 104"/>
                <a:gd name="T50" fmla="*/ 3551 w 186"/>
                <a:gd name="T51" fmla="*/ 42313 h 104"/>
                <a:gd name="T52" fmla="*/ 7101 w 186"/>
                <a:gd name="T53" fmla="*/ 42862 h 104"/>
                <a:gd name="T54" fmla="*/ 9320 w 186"/>
                <a:gd name="T55" fmla="*/ 43412 h 104"/>
                <a:gd name="T56" fmla="*/ 11095 w 186"/>
                <a:gd name="T57" fmla="*/ 44511 h 104"/>
                <a:gd name="T58" fmla="*/ 14646 w 186"/>
                <a:gd name="T59" fmla="*/ 46709 h 104"/>
                <a:gd name="T60" fmla="*/ 17753 w 186"/>
                <a:gd name="T61" fmla="*/ 48907 h 104"/>
                <a:gd name="T62" fmla="*/ 19972 w 186"/>
                <a:gd name="T63" fmla="*/ 51655 h 104"/>
                <a:gd name="T64" fmla="*/ 23078 w 186"/>
                <a:gd name="T65" fmla="*/ 53853 h 104"/>
                <a:gd name="T66" fmla="*/ 24854 w 186"/>
                <a:gd name="T67" fmla="*/ 54952 h 104"/>
                <a:gd name="T68" fmla="*/ 27073 w 186"/>
                <a:gd name="T69" fmla="*/ 55501 h 104"/>
                <a:gd name="T70" fmla="*/ 29292 w 186"/>
                <a:gd name="T71" fmla="*/ 56051 h 104"/>
                <a:gd name="T72" fmla="*/ 32842 w 186"/>
                <a:gd name="T73" fmla="*/ 56051 h 104"/>
                <a:gd name="T74" fmla="*/ 47488 w 186"/>
                <a:gd name="T75" fmla="*/ 56600 h 104"/>
                <a:gd name="T76" fmla="*/ 58140 w 186"/>
                <a:gd name="T77" fmla="*/ 57150 h 104"/>
                <a:gd name="T78" fmla="*/ 59915 w 186"/>
                <a:gd name="T79" fmla="*/ 56600 h 104"/>
                <a:gd name="T80" fmla="*/ 61691 w 186"/>
                <a:gd name="T81" fmla="*/ 56051 h 104"/>
                <a:gd name="T82" fmla="*/ 63022 w 186"/>
                <a:gd name="T83" fmla="*/ 54952 h 104"/>
                <a:gd name="T84" fmla="*/ 64353 w 186"/>
                <a:gd name="T85" fmla="*/ 53303 h 104"/>
                <a:gd name="T86" fmla="*/ 65241 w 186"/>
                <a:gd name="T87" fmla="*/ 51655 h 104"/>
                <a:gd name="T88" fmla="*/ 66573 w 186"/>
                <a:gd name="T89" fmla="*/ 48358 h 104"/>
                <a:gd name="T90" fmla="*/ 67460 w 186"/>
                <a:gd name="T91" fmla="*/ 45610 h 104"/>
                <a:gd name="T92" fmla="*/ 67904 w 186"/>
                <a:gd name="T93" fmla="*/ 42313 h 104"/>
                <a:gd name="T94" fmla="*/ 82550 w 186"/>
                <a:gd name="T95" fmla="*/ 14837 h 104"/>
                <a:gd name="T96" fmla="*/ 67904 w 186"/>
                <a:gd name="T97" fmla="*/ 1154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86" name="Freeform 446">
              <a:extLst>
                <a:ext uri="{FF2B5EF4-FFF2-40B4-BE49-F238E27FC236}">
                  <a16:creationId xmlns:a16="http://schemas.microsoft.com/office/drawing/2014/main" id="{C2EBB17E-994F-4777-A2A8-72F3AFD9D2B2}"/>
                </a:ext>
              </a:extLst>
            </p:cNvPr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522782" y="2263757"/>
              <a:ext cx="133350" cy="96837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87" name="Freeform 447">
              <a:extLst>
                <a:ext uri="{FF2B5EF4-FFF2-40B4-BE49-F238E27FC236}">
                  <a16:creationId xmlns:a16="http://schemas.microsoft.com/office/drawing/2014/main" id="{EFE3C053-37D8-48EB-9329-770733FB4B1F}"/>
                </a:ext>
              </a:extLst>
            </p:cNvPr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3878259" y="3190850"/>
              <a:ext cx="177800" cy="165099"/>
            </a:xfrm>
            <a:custGeom>
              <a:avLst/>
              <a:gdLst>
                <a:gd name="T0" fmla="*/ 2634 w 405"/>
                <a:gd name="T1" fmla="*/ 136707 h 314"/>
                <a:gd name="T2" fmla="*/ 5707 w 405"/>
                <a:gd name="T3" fmla="*/ 124614 h 314"/>
                <a:gd name="T4" fmla="*/ 7463 w 405"/>
                <a:gd name="T5" fmla="*/ 106211 h 314"/>
                <a:gd name="T6" fmla="*/ 10097 w 405"/>
                <a:gd name="T7" fmla="*/ 90963 h 314"/>
                <a:gd name="T8" fmla="*/ 14048 w 405"/>
                <a:gd name="T9" fmla="*/ 85179 h 314"/>
                <a:gd name="T10" fmla="*/ 21073 w 405"/>
                <a:gd name="T11" fmla="*/ 78869 h 314"/>
                <a:gd name="T12" fmla="*/ 31609 w 405"/>
                <a:gd name="T13" fmla="*/ 74137 h 314"/>
                <a:gd name="T14" fmla="*/ 40828 w 405"/>
                <a:gd name="T15" fmla="*/ 70457 h 314"/>
                <a:gd name="T16" fmla="*/ 45657 w 405"/>
                <a:gd name="T17" fmla="*/ 65725 h 314"/>
                <a:gd name="T18" fmla="*/ 49608 w 405"/>
                <a:gd name="T19" fmla="*/ 59941 h 314"/>
                <a:gd name="T20" fmla="*/ 53999 w 405"/>
                <a:gd name="T21" fmla="*/ 48899 h 314"/>
                <a:gd name="T22" fmla="*/ 59706 w 405"/>
                <a:gd name="T23" fmla="*/ 36280 h 314"/>
                <a:gd name="T24" fmla="*/ 64535 w 405"/>
                <a:gd name="T25" fmla="*/ 28919 h 314"/>
                <a:gd name="T26" fmla="*/ 68047 w 405"/>
                <a:gd name="T27" fmla="*/ 26816 h 314"/>
                <a:gd name="T28" fmla="*/ 74632 w 405"/>
                <a:gd name="T29" fmla="*/ 26816 h 314"/>
                <a:gd name="T30" fmla="*/ 82973 w 405"/>
                <a:gd name="T31" fmla="*/ 25238 h 314"/>
                <a:gd name="T32" fmla="*/ 93510 w 405"/>
                <a:gd name="T33" fmla="*/ 18403 h 314"/>
                <a:gd name="T34" fmla="*/ 104046 w 405"/>
                <a:gd name="T35" fmla="*/ 10516 h 314"/>
                <a:gd name="T36" fmla="*/ 112826 w 405"/>
                <a:gd name="T37" fmla="*/ 5784 h 314"/>
                <a:gd name="T38" fmla="*/ 123801 w 405"/>
                <a:gd name="T39" fmla="*/ 2103 h 314"/>
                <a:gd name="T40" fmla="*/ 137850 w 405"/>
                <a:gd name="T41" fmla="*/ 0 h 314"/>
                <a:gd name="T42" fmla="*/ 145752 w 405"/>
                <a:gd name="T43" fmla="*/ 7361 h 314"/>
                <a:gd name="T44" fmla="*/ 147947 w 405"/>
                <a:gd name="T45" fmla="*/ 17877 h 314"/>
                <a:gd name="T46" fmla="*/ 150581 w 405"/>
                <a:gd name="T47" fmla="*/ 26290 h 314"/>
                <a:gd name="T48" fmla="*/ 154532 w 405"/>
                <a:gd name="T49" fmla="*/ 32599 h 314"/>
                <a:gd name="T50" fmla="*/ 161557 w 405"/>
                <a:gd name="T51" fmla="*/ 38909 h 314"/>
                <a:gd name="T52" fmla="*/ 167703 w 405"/>
                <a:gd name="T53" fmla="*/ 44693 h 314"/>
                <a:gd name="T54" fmla="*/ 171215 w 405"/>
                <a:gd name="T55" fmla="*/ 48899 h 314"/>
                <a:gd name="T56" fmla="*/ 173849 w 405"/>
                <a:gd name="T57" fmla="*/ 60467 h 314"/>
                <a:gd name="T58" fmla="*/ 174727 w 405"/>
                <a:gd name="T59" fmla="*/ 75189 h 314"/>
                <a:gd name="T60" fmla="*/ 174727 w 405"/>
                <a:gd name="T61" fmla="*/ 89385 h 314"/>
                <a:gd name="T62" fmla="*/ 176483 w 405"/>
                <a:gd name="T63" fmla="*/ 103056 h 314"/>
                <a:gd name="T64" fmla="*/ 174727 w 405"/>
                <a:gd name="T65" fmla="*/ 114098 h 314"/>
                <a:gd name="T66" fmla="*/ 167703 w 405"/>
                <a:gd name="T67" fmla="*/ 118830 h 314"/>
                <a:gd name="T68" fmla="*/ 160240 w 405"/>
                <a:gd name="T69" fmla="*/ 126717 h 314"/>
                <a:gd name="T70" fmla="*/ 159361 w 405"/>
                <a:gd name="T71" fmla="*/ 124614 h 314"/>
                <a:gd name="T72" fmla="*/ 157166 w 405"/>
                <a:gd name="T73" fmla="*/ 122511 h 314"/>
                <a:gd name="T74" fmla="*/ 150142 w 405"/>
                <a:gd name="T75" fmla="*/ 119356 h 314"/>
                <a:gd name="T76" fmla="*/ 140045 w 405"/>
                <a:gd name="T77" fmla="*/ 117253 h 314"/>
                <a:gd name="T78" fmla="*/ 66730 w 405"/>
                <a:gd name="T79" fmla="*/ 126717 h 314"/>
                <a:gd name="T80" fmla="*/ 65852 w 405"/>
                <a:gd name="T81" fmla="*/ 135130 h 314"/>
                <a:gd name="T82" fmla="*/ 65852 w 405"/>
                <a:gd name="T83" fmla="*/ 144068 h 314"/>
                <a:gd name="T84" fmla="*/ 66730 w 405"/>
                <a:gd name="T85" fmla="*/ 165100 h 314"/>
                <a:gd name="T86" fmla="*/ 61023 w 405"/>
                <a:gd name="T87" fmla="*/ 164048 h 314"/>
                <a:gd name="T88" fmla="*/ 55316 w 405"/>
                <a:gd name="T89" fmla="*/ 160368 h 314"/>
                <a:gd name="T90" fmla="*/ 43901 w 405"/>
                <a:gd name="T91" fmla="*/ 152481 h 314"/>
                <a:gd name="T92" fmla="*/ 39072 w 405"/>
                <a:gd name="T93" fmla="*/ 161419 h 314"/>
                <a:gd name="T94" fmla="*/ 35999 w 405"/>
                <a:gd name="T95" fmla="*/ 164048 h 314"/>
                <a:gd name="T96" fmla="*/ 32048 w 405"/>
                <a:gd name="T97" fmla="*/ 165100 h 314"/>
                <a:gd name="T98" fmla="*/ 26341 w 405"/>
                <a:gd name="T99" fmla="*/ 163523 h 314"/>
                <a:gd name="T100" fmla="*/ 20634 w 405"/>
                <a:gd name="T101" fmla="*/ 158790 h 314"/>
                <a:gd name="T102" fmla="*/ 12292 w 405"/>
                <a:gd name="T103" fmla="*/ 153007 h 314"/>
                <a:gd name="T104" fmla="*/ 0 w 405"/>
                <a:gd name="T105" fmla="*/ 149326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88" name="Freeform 448">
              <a:extLst>
                <a:ext uri="{FF2B5EF4-FFF2-40B4-BE49-F238E27FC236}">
                  <a16:creationId xmlns:a16="http://schemas.microsoft.com/office/drawing/2014/main" id="{B5DD2076-A38F-4E38-A66E-7B19A87D0BF0}"/>
                </a:ext>
              </a:extLst>
            </p:cNvPr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225920" y="3259113"/>
              <a:ext cx="193675" cy="349247"/>
            </a:xfrm>
            <a:custGeom>
              <a:avLst/>
              <a:gdLst>
                <a:gd name="T0" fmla="*/ 143225 w 453"/>
                <a:gd name="T1" fmla="*/ 19021 h 661"/>
                <a:gd name="T2" fmla="*/ 137240 w 453"/>
                <a:gd name="T3" fmla="*/ 51780 h 661"/>
                <a:gd name="T4" fmla="*/ 118428 w 453"/>
                <a:gd name="T5" fmla="*/ 85595 h 661"/>
                <a:gd name="T6" fmla="*/ 108167 w 453"/>
                <a:gd name="T7" fmla="*/ 115712 h 661"/>
                <a:gd name="T8" fmla="*/ 99189 w 453"/>
                <a:gd name="T9" fmla="*/ 143716 h 661"/>
                <a:gd name="T10" fmla="*/ 89356 w 453"/>
                <a:gd name="T11" fmla="*/ 173832 h 661"/>
                <a:gd name="T12" fmla="*/ 83798 w 453"/>
                <a:gd name="T13" fmla="*/ 191269 h 661"/>
                <a:gd name="T14" fmla="*/ 76957 w 453"/>
                <a:gd name="T15" fmla="*/ 200779 h 661"/>
                <a:gd name="T16" fmla="*/ 71399 w 453"/>
                <a:gd name="T17" fmla="*/ 206063 h 661"/>
                <a:gd name="T18" fmla="*/ 60283 w 453"/>
                <a:gd name="T19" fmla="*/ 201836 h 661"/>
                <a:gd name="T20" fmla="*/ 51732 w 453"/>
                <a:gd name="T21" fmla="*/ 195495 h 661"/>
                <a:gd name="T22" fmla="*/ 40189 w 453"/>
                <a:gd name="T23" fmla="*/ 193910 h 661"/>
                <a:gd name="T24" fmla="*/ 27362 w 453"/>
                <a:gd name="T25" fmla="*/ 200779 h 661"/>
                <a:gd name="T26" fmla="*/ 18812 w 453"/>
                <a:gd name="T27" fmla="*/ 212932 h 661"/>
                <a:gd name="T28" fmla="*/ 8978 w 453"/>
                <a:gd name="T29" fmla="*/ 239878 h 661"/>
                <a:gd name="T30" fmla="*/ 2993 w 453"/>
                <a:gd name="T31" fmla="*/ 254672 h 661"/>
                <a:gd name="T32" fmla="*/ 428 w 453"/>
                <a:gd name="T33" fmla="*/ 264183 h 661"/>
                <a:gd name="T34" fmla="*/ 3420 w 453"/>
                <a:gd name="T35" fmla="*/ 273165 h 661"/>
                <a:gd name="T36" fmla="*/ 8551 w 453"/>
                <a:gd name="T37" fmla="*/ 277921 h 661"/>
                <a:gd name="T38" fmla="*/ 23515 w 453"/>
                <a:gd name="T39" fmla="*/ 277921 h 661"/>
                <a:gd name="T40" fmla="*/ 30355 w 453"/>
                <a:gd name="T41" fmla="*/ 289545 h 661"/>
                <a:gd name="T42" fmla="*/ 31210 w 453"/>
                <a:gd name="T43" fmla="*/ 311736 h 661"/>
                <a:gd name="T44" fmla="*/ 28645 w 453"/>
                <a:gd name="T45" fmla="*/ 332871 h 661"/>
                <a:gd name="T46" fmla="*/ 185124 w 453"/>
                <a:gd name="T47" fmla="*/ 349250 h 661"/>
                <a:gd name="T48" fmla="*/ 188972 w 453"/>
                <a:gd name="T49" fmla="*/ 307509 h 661"/>
                <a:gd name="T50" fmla="*/ 177429 w 453"/>
                <a:gd name="T51" fmla="*/ 300112 h 661"/>
                <a:gd name="T52" fmla="*/ 159472 w 453"/>
                <a:gd name="T53" fmla="*/ 294300 h 661"/>
                <a:gd name="T54" fmla="*/ 150921 w 453"/>
                <a:gd name="T55" fmla="*/ 290073 h 661"/>
                <a:gd name="T56" fmla="*/ 145363 w 453"/>
                <a:gd name="T57" fmla="*/ 283733 h 661"/>
                <a:gd name="T58" fmla="*/ 142370 w 453"/>
                <a:gd name="T59" fmla="*/ 272109 h 661"/>
                <a:gd name="T60" fmla="*/ 142370 w 453"/>
                <a:gd name="T61" fmla="*/ 245162 h 661"/>
                <a:gd name="T62" fmla="*/ 144081 w 453"/>
                <a:gd name="T63" fmla="*/ 226141 h 661"/>
                <a:gd name="T64" fmla="*/ 150066 w 453"/>
                <a:gd name="T65" fmla="*/ 209761 h 661"/>
                <a:gd name="T66" fmla="*/ 159472 w 453"/>
                <a:gd name="T67" fmla="*/ 192325 h 661"/>
                <a:gd name="T68" fmla="*/ 167595 w 453"/>
                <a:gd name="T69" fmla="*/ 174361 h 661"/>
                <a:gd name="T70" fmla="*/ 170588 w 453"/>
                <a:gd name="T71" fmla="*/ 156925 h 661"/>
                <a:gd name="T72" fmla="*/ 166313 w 453"/>
                <a:gd name="T73" fmla="*/ 141074 h 661"/>
                <a:gd name="T74" fmla="*/ 159472 w 453"/>
                <a:gd name="T75" fmla="*/ 129978 h 661"/>
                <a:gd name="T76" fmla="*/ 146646 w 453"/>
                <a:gd name="T77" fmla="*/ 114655 h 661"/>
                <a:gd name="T78" fmla="*/ 142370 w 453"/>
                <a:gd name="T79" fmla="*/ 101446 h 661"/>
                <a:gd name="T80" fmla="*/ 143225 w 453"/>
                <a:gd name="T81" fmla="*/ 91407 h 661"/>
                <a:gd name="T82" fmla="*/ 150921 w 453"/>
                <a:gd name="T83" fmla="*/ 86652 h 661"/>
                <a:gd name="T84" fmla="*/ 173581 w 453"/>
                <a:gd name="T85" fmla="*/ 85595 h 661"/>
                <a:gd name="T86" fmla="*/ 168878 w 453"/>
                <a:gd name="T87" fmla="*/ 79783 h 661"/>
                <a:gd name="T88" fmla="*/ 162037 w 453"/>
                <a:gd name="T89" fmla="*/ 61819 h 661"/>
                <a:gd name="T90" fmla="*/ 158617 w 453"/>
                <a:gd name="T91" fmla="*/ 38571 h 661"/>
                <a:gd name="T92" fmla="*/ 159472 w 453"/>
                <a:gd name="T93" fmla="*/ 23776 h 661"/>
                <a:gd name="T94" fmla="*/ 156907 w 453"/>
                <a:gd name="T95" fmla="*/ 5812 h 661"/>
                <a:gd name="T96" fmla="*/ 148356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0" name="Freeform 450">
              <a:extLst>
                <a:ext uri="{FF2B5EF4-FFF2-40B4-BE49-F238E27FC236}">
                  <a16:creationId xmlns:a16="http://schemas.microsoft.com/office/drawing/2014/main" id="{90F94B2C-DC09-4A44-A8FB-EEAE9AD0CAE4}"/>
                </a:ext>
              </a:extLst>
            </p:cNvPr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2031998" y="3281337"/>
              <a:ext cx="298450" cy="523871"/>
            </a:xfrm>
            <a:custGeom>
              <a:avLst/>
              <a:gdLst>
                <a:gd name="T0" fmla="*/ 292778 w 684"/>
                <a:gd name="T1" fmla="*/ 300782 h 998"/>
                <a:gd name="T2" fmla="*/ 296705 w 684"/>
                <a:gd name="T3" fmla="*/ 288709 h 998"/>
                <a:gd name="T4" fmla="*/ 292778 w 684"/>
                <a:gd name="T5" fmla="*/ 257738 h 998"/>
                <a:gd name="T6" fmla="*/ 287542 w 684"/>
                <a:gd name="T7" fmla="*/ 222043 h 998"/>
                <a:gd name="T8" fmla="*/ 295832 w 684"/>
                <a:gd name="T9" fmla="*/ 204196 h 998"/>
                <a:gd name="T10" fmla="*/ 243036 w 684"/>
                <a:gd name="T11" fmla="*/ 189498 h 998"/>
                <a:gd name="T12" fmla="*/ 232564 w 684"/>
                <a:gd name="T13" fmla="*/ 171126 h 998"/>
                <a:gd name="T14" fmla="*/ 201585 w 684"/>
                <a:gd name="T15" fmla="*/ 162727 h 998"/>
                <a:gd name="T16" fmla="*/ 175405 w 684"/>
                <a:gd name="T17" fmla="*/ 141730 h 998"/>
                <a:gd name="T18" fmla="*/ 163624 w 684"/>
                <a:gd name="T19" fmla="*/ 105510 h 998"/>
                <a:gd name="T20" fmla="*/ 163624 w 684"/>
                <a:gd name="T21" fmla="*/ 69815 h 998"/>
                <a:gd name="T22" fmla="*/ 172351 w 684"/>
                <a:gd name="T23" fmla="*/ 44094 h 998"/>
                <a:gd name="T24" fmla="*/ 189804 w 684"/>
                <a:gd name="T25" fmla="*/ 25196 h 998"/>
                <a:gd name="T26" fmla="*/ 202021 w 684"/>
                <a:gd name="T27" fmla="*/ 5774 h 998"/>
                <a:gd name="T28" fmla="*/ 169733 w 684"/>
                <a:gd name="T29" fmla="*/ 20472 h 998"/>
                <a:gd name="T30" fmla="*/ 146171 w 684"/>
                <a:gd name="T31" fmla="*/ 35695 h 998"/>
                <a:gd name="T32" fmla="*/ 132644 w 684"/>
                <a:gd name="T33" fmla="*/ 40944 h 998"/>
                <a:gd name="T34" fmla="*/ 121300 w 684"/>
                <a:gd name="T35" fmla="*/ 44094 h 998"/>
                <a:gd name="T36" fmla="*/ 105156 w 684"/>
                <a:gd name="T37" fmla="*/ 42519 h 998"/>
                <a:gd name="T38" fmla="*/ 94684 w 684"/>
                <a:gd name="T39" fmla="*/ 56692 h 998"/>
                <a:gd name="T40" fmla="*/ 85521 w 684"/>
                <a:gd name="T41" fmla="*/ 91862 h 998"/>
                <a:gd name="T42" fmla="*/ 68504 w 684"/>
                <a:gd name="T43" fmla="*/ 119158 h 998"/>
                <a:gd name="T44" fmla="*/ 46687 w 684"/>
                <a:gd name="T45" fmla="*/ 149079 h 998"/>
                <a:gd name="T46" fmla="*/ 39270 w 684"/>
                <a:gd name="T47" fmla="*/ 166401 h 998"/>
                <a:gd name="T48" fmla="*/ 37524 w 684"/>
                <a:gd name="T49" fmla="*/ 186873 h 998"/>
                <a:gd name="T50" fmla="*/ 42324 w 684"/>
                <a:gd name="T51" fmla="*/ 200521 h 998"/>
                <a:gd name="T52" fmla="*/ 42324 w 684"/>
                <a:gd name="T53" fmla="*/ 236741 h 998"/>
                <a:gd name="T54" fmla="*/ 41451 w 684"/>
                <a:gd name="T55" fmla="*/ 275586 h 998"/>
                <a:gd name="T56" fmla="*/ 31416 w 684"/>
                <a:gd name="T57" fmla="*/ 295533 h 998"/>
                <a:gd name="T58" fmla="*/ 16144 w 684"/>
                <a:gd name="T59" fmla="*/ 310756 h 998"/>
                <a:gd name="T60" fmla="*/ 4800 w 684"/>
                <a:gd name="T61" fmla="*/ 321254 h 998"/>
                <a:gd name="T62" fmla="*/ 13090 w 684"/>
                <a:gd name="T63" fmla="*/ 350650 h 998"/>
                <a:gd name="T64" fmla="*/ 53669 w 684"/>
                <a:gd name="T65" fmla="*/ 380571 h 998"/>
                <a:gd name="T66" fmla="*/ 76358 w 684"/>
                <a:gd name="T67" fmla="*/ 382145 h 998"/>
                <a:gd name="T68" fmla="*/ 102101 w 684"/>
                <a:gd name="T69" fmla="*/ 391594 h 998"/>
                <a:gd name="T70" fmla="*/ 130463 w 684"/>
                <a:gd name="T71" fmla="*/ 417315 h 998"/>
                <a:gd name="T72" fmla="*/ 147043 w 684"/>
                <a:gd name="T73" fmla="*/ 446186 h 998"/>
                <a:gd name="T74" fmla="*/ 160133 w 684"/>
                <a:gd name="T75" fmla="*/ 462459 h 998"/>
                <a:gd name="T76" fmla="*/ 179768 w 684"/>
                <a:gd name="T77" fmla="*/ 465083 h 998"/>
                <a:gd name="T78" fmla="*/ 201585 w 684"/>
                <a:gd name="T79" fmla="*/ 459834 h 998"/>
                <a:gd name="T80" fmla="*/ 214675 w 684"/>
                <a:gd name="T81" fmla="*/ 460884 h 998"/>
                <a:gd name="T82" fmla="*/ 224710 w 684"/>
                <a:gd name="T83" fmla="*/ 474532 h 998"/>
                <a:gd name="T84" fmla="*/ 223838 w 684"/>
                <a:gd name="T85" fmla="*/ 483981 h 998"/>
                <a:gd name="T86" fmla="*/ 212929 w 684"/>
                <a:gd name="T87" fmla="*/ 491855 h 998"/>
                <a:gd name="T88" fmla="*/ 212929 w 684"/>
                <a:gd name="T89" fmla="*/ 505503 h 998"/>
                <a:gd name="T90" fmla="*/ 222965 w 684"/>
                <a:gd name="T91" fmla="*/ 521775 h 998"/>
                <a:gd name="T92" fmla="*/ 236491 w 684"/>
                <a:gd name="T93" fmla="*/ 504978 h 998"/>
                <a:gd name="T94" fmla="*/ 246963 w 684"/>
                <a:gd name="T95" fmla="*/ 451960 h 998"/>
                <a:gd name="T96" fmla="*/ 249145 w 684"/>
                <a:gd name="T97" fmla="*/ 421515 h 998"/>
                <a:gd name="T98" fmla="*/ 242163 w 684"/>
                <a:gd name="T99" fmla="*/ 404717 h 998"/>
                <a:gd name="T100" fmla="*/ 228201 w 684"/>
                <a:gd name="T101" fmla="*/ 393169 h 998"/>
                <a:gd name="T102" fmla="*/ 227328 w 684"/>
                <a:gd name="T103" fmla="*/ 379521 h 998"/>
                <a:gd name="T104" fmla="*/ 246963 w 684"/>
                <a:gd name="T105" fmla="*/ 367447 h 998"/>
                <a:gd name="T106" fmla="*/ 242600 w 684"/>
                <a:gd name="T107" fmla="*/ 349075 h 998"/>
                <a:gd name="T108" fmla="*/ 242600 w 684"/>
                <a:gd name="T109" fmla="*/ 340676 h 998"/>
                <a:gd name="T110" fmla="*/ 285796 w 684"/>
                <a:gd name="T111" fmla="*/ 329653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D73B0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1" name="Freeform 451">
              <a:extLst>
                <a:ext uri="{FF2B5EF4-FFF2-40B4-BE49-F238E27FC236}">
                  <a16:creationId xmlns:a16="http://schemas.microsoft.com/office/drawing/2014/main" id="{7066EC91-7885-4F71-82F0-DEBE75C030F4}"/>
                </a:ext>
              </a:extLst>
            </p:cNvPr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4284658" y="3549622"/>
              <a:ext cx="187325" cy="274636"/>
            </a:xfrm>
            <a:custGeom>
              <a:avLst/>
              <a:gdLst>
                <a:gd name="T0" fmla="*/ 187325 w 429"/>
                <a:gd name="T1" fmla="*/ 11531 h 524"/>
                <a:gd name="T2" fmla="*/ 186888 w 429"/>
                <a:gd name="T3" fmla="*/ 22537 h 524"/>
                <a:gd name="T4" fmla="*/ 185142 w 429"/>
                <a:gd name="T5" fmla="*/ 28302 h 524"/>
                <a:gd name="T6" fmla="*/ 181212 w 429"/>
                <a:gd name="T7" fmla="*/ 35116 h 524"/>
                <a:gd name="T8" fmla="*/ 180339 w 429"/>
                <a:gd name="T9" fmla="*/ 42454 h 524"/>
                <a:gd name="T10" fmla="*/ 180775 w 429"/>
                <a:gd name="T11" fmla="*/ 83859 h 524"/>
                <a:gd name="T12" fmla="*/ 178155 w 429"/>
                <a:gd name="T13" fmla="*/ 108492 h 524"/>
                <a:gd name="T14" fmla="*/ 172915 w 429"/>
                <a:gd name="T15" fmla="*/ 126313 h 524"/>
                <a:gd name="T16" fmla="*/ 162436 w 429"/>
                <a:gd name="T17" fmla="*/ 145705 h 524"/>
                <a:gd name="T18" fmla="*/ 147589 w 429"/>
                <a:gd name="T19" fmla="*/ 161953 h 524"/>
                <a:gd name="T20" fmla="*/ 139293 w 429"/>
                <a:gd name="T21" fmla="*/ 174531 h 524"/>
                <a:gd name="T22" fmla="*/ 136236 w 429"/>
                <a:gd name="T23" fmla="*/ 215937 h 524"/>
                <a:gd name="T24" fmla="*/ 132743 w 429"/>
                <a:gd name="T25" fmla="*/ 230088 h 524"/>
                <a:gd name="T26" fmla="*/ 126630 w 429"/>
                <a:gd name="T27" fmla="*/ 234805 h 524"/>
                <a:gd name="T28" fmla="*/ 117460 w 429"/>
                <a:gd name="T29" fmla="*/ 238474 h 524"/>
                <a:gd name="T30" fmla="*/ 110474 w 429"/>
                <a:gd name="T31" fmla="*/ 247384 h 524"/>
                <a:gd name="T32" fmla="*/ 102177 w 429"/>
                <a:gd name="T33" fmla="*/ 262059 h 524"/>
                <a:gd name="T34" fmla="*/ 97374 w 429"/>
                <a:gd name="T35" fmla="*/ 264680 h 524"/>
                <a:gd name="T36" fmla="*/ 87768 w 429"/>
                <a:gd name="T37" fmla="*/ 264156 h 524"/>
                <a:gd name="T38" fmla="*/ 82528 w 429"/>
                <a:gd name="T39" fmla="*/ 261011 h 524"/>
                <a:gd name="T40" fmla="*/ 63315 w 429"/>
                <a:gd name="T41" fmla="*/ 262059 h 524"/>
                <a:gd name="T42" fmla="*/ 53709 w 429"/>
                <a:gd name="T43" fmla="*/ 262059 h 524"/>
                <a:gd name="T44" fmla="*/ 49342 w 429"/>
                <a:gd name="T45" fmla="*/ 258914 h 524"/>
                <a:gd name="T46" fmla="*/ 41482 w 429"/>
                <a:gd name="T47" fmla="*/ 258390 h 524"/>
                <a:gd name="T48" fmla="*/ 34059 w 429"/>
                <a:gd name="T49" fmla="*/ 263107 h 524"/>
                <a:gd name="T50" fmla="*/ 27073 w 429"/>
                <a:gd name="T51" fmla="*/ 272017 h 524"/>
                <a:gd name="T52" fmla="*/ 11790 w 429"/>
                <a:gd name="T53" fmla="*/ 257342 h 524"/>
                <a:gd name="T54" fmla="*/ 2620 w 429"/>
                <a:gd name="T55" fmla="*/ 234281 h 524"/>
                <a:gd name="T56" fmla="*/ 10916 w 429"/>
                <a:gd name="T57" fmla="*/ 225371 h 524"/>
                <a:gd name="T58" fmla="*/ 18340 w 429"/>
                <a:gd name="T59" fmla="*/ 222226 h 524"/>
                <a:gd name="T60" fmla="*/ 26636 w 429"/>
                <a:gd name="T61" fmla="*/ 224323 h 524"/>
                <a:gd name="T62" fmla="*/ 25326 w 429"/>
                <a:gd name="T63" fmla="*/ 219081 h 524"/>
                <a:gd name="T64" fmla="*/ 19649 w 429"/>
                <a:gd name="T65" fmla="*/ 202310 h 524"/>
                <a:gd name="T66" fmla="*/ 20523 w 429"/>
                <a:gd name="T67" fmla="*/ 191827 h 524"/>
                <a:gd name="T68" fmla="*/ 24889 w 429"/>
                <a:gd name="T69" fmla="*/ 186586 h 524"/>
                <a:gd name="T70" fmla="*/ 31003 w 429"/>
                <a:gd name="T71" fmla="*/ 184490 h 524"/>
                <a:gd name="T72" fmla="*/ 38862 w 429"/>
                <a:gd name="T73" fmla="*/ 176628 h 524"/>
                <a:gd name="T74" fmla="*/ 45412 w 429"/>
                <a:gd name="T75" fmla="*/ 174531 h 524"/>
                <a:gd name="T76" fmla="*/ 50215 w 429"/>
                <a:gd name="T77" fmla="*/ 179248 h 524"/>
                <a:gd name="T78" fmla="*/ 58948 w 429"/>
                <a:gd name="T79" fmla="*/ 188158 h 524"/>
                <a:gd name="T80" fmla="*/ 67245 w 429"/>
                <a:gd name="T81" fmla="*/ 183966 h 524"/>
                <a:gd name="T82" fmla="*/ 79035 w 429"/>
                <a:gd name="T83" fmla="*/ 185014 h 524"/>
                <a:gd name="T84" fmla="*/ 86894 w 429"/>
                <a:gd name="T85" fmla="*/ 178200 h 524"/>
                <a:gd name="T86" fmla="*/ 91698 w 429"/>
                <a:gd name="T87" fmla="*/ 165097 h 524"/>
                <a:gd name="T88" fmla="*/ 93008 w 429"/>
                <a:gd name="T89" fmla="*/ 151994 h 524"/>
                <a:gd name="T90" fmla="*/ 93881 w 429"/>
                <a:gd name="T91" fmla="*/ 140988 h 524"/>
                <a:gd name="T92" fmla="*/ 87768 w 429"/>
                <a:gd name="T93" fmla="*/ 123692 h 524"/>
                <a:gd name="T94" fmla="*/ 82091 w 429"/>
                <a:gd name="T95" fmla="*/ 106396 h 524"/>
                <a:gd name="T96" fmla="*/ 90388 w 429"/>
                <a:gd name="T97" fmla="*/ 92769 h 524"/>
                <a:gd name="T98" fmla="*/ 91698 w 429"/>
                <a:gd name="T99" fmla="*/ 85955 h 524"/>
                <a:gd name="T100" fmla="*/ 87331 w 429"/>
                <a:gd name="T101" fmla="*/ 81238 h 524"/>
                <a:gd name="T102" fmla="*/ 86021 w 429"/>
                <a:gd name="T103" fmla="*/ 71804 h 524"/>
                <a:gd name="T104" fmla="*/ 82091 w 429"/>
                <a:gd name="T105" fmla="*/ 67611 h 524"/>
                <a:gd name="T106" fmla="*/ 70301 w 429"/>
                <a:gd name="T107" fmla="*/ 69184 h 524"/>
                <a:gd name="T108" fmla="*/ 59822 w 429"/>
                <a:gd name="T109" fmla="*/ 68660 h 524"/>
                <a:gd name="T110" fmla="*/ 54582 w 429"/>
                <a:gd name="T111" fmla="*/ 62370 h 524"/>
                <a:gd name="T112" fmla="*/ 53709 w 429"/>
                <a:gd name="T113" fmla="*/ 53984 h 524"/>
                <a:gd name="T114" fmla="*/ 57638 w 429"/>
                <a:gd name="T115" fmla="*/ 39833 h 524"/>
                <a:gd name="T116" fmla="*/ 133616 w 429"/>
                <a:gd name="T117" fmla="*/ 19916 h 524"/>
                <a:gd name="T118" fmla="*/ 141040 w 429"/>
                <a:gd name="T119" fmla="*/ 8910 h 524"/>
                <a:gd name="T120" fmla="*/ 149773 w 429"/>
                <a:gd name="T121" fmla="*/ 3669 h 524"/>
                <a:gd name="T122" fmla="*/ 163309 w 429"/>
                <a:gd name="T123" fmla="*/ 2621 h 524"/>
                <a:gd name="T124" fmla="*/ 178155 w 429"/>
                <a:gd name="T125" fmla="*/ 2096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2" name="Freeform 452">
              <a:extLst>
                <a:ext uri="{FF2B5EF4-FFF2-40B4-BE49-F238E27FC236}">
                  <a16:creationId xmlns:a16="http://schemas.microsoft.com/office/drawing/2014/main" id="{799E75BC-4AF5-47E7-91C9-92619BB51DA0}"/>
                </a:ext>
              </a:extLst>
            </p:cNvPr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4316408" y="2192321"/>
              <a:ext cx="127000" cy="114299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3" name="Freeform 453">
              <a:extLst>
                <a:ext uri="{FF2B5EF4-FFF2-40B4-BE49-F238E27FC236}">
                  <a16:creationId xmlns:a16="http://schemas.microsoft.com/office/drawing/2014/main" id="{F6541038-A3F5-47D0-8A6D-8BE609DE3964}"/>
                </a:ext>
              </a:extLst>
            </p:cNvPr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4267195" y="2051034"/>
              <a:ext cx="168275" cy="77787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4" name="Freeform 454">
              <a:extLst>
                <a:ext uri="{FF2B5EF4-FFF2-40B4-BE49-F238E27FC236}">
                  <a16:creationId xmlns:a16="http://schemas.microsoft.com/office/drawing/2014/main" id="{343DFB46-2D96-4E05-9E7B-73DB5CBB607A}"/>
                </a:ext>
              </a:extLst>
            </p:cNvPr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4230683" y="1906574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5" name="Freeform 455">
              <a:extLst>
                <a:ext uri="{FF2B5EF4-FFF2-40B4-BE49-F238E27FC236}">
                  <a16:creationId xmlns:a16="http://schemas.microsoft.com/office/drawing/2014/main" id="{9308F71C-CB36-4686-A326-48B2F48B632D}"/>
                </a:ext>
              </a:extLst>
            </p:cNvPr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4202108" y="1911336"/>
              <a:ext cx="25400" cy="58738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6" name="Freeform 456">
              <a:extLst>
                <a:ext uri="{FF2B5EF4-FFF2-40B4-BE49-F238E27FC236}">
                  <a16:creationId xmlns:a16="http://schemas.microsoft.com/office/drawing/2014/main" id="{55957E5F-4BD9-4B3A-BA24-BE30710A15AB}"/>
                </a:ext>
              </a:extLst>
            </p:cNvPr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4171945" y="1857361"/>
              <a:ext cx="52388" cy="77787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7" name="Freeform 457">
              <a:extLst>
                <a:ext uri="{FF2B5EF4-FFF2-40B4-BE49-F238E27FC236}">
                  <a16:creationId xmlns:a16="http://schemas.microsoft.com/office/drawing/2014/main" id="{A5CAF09B-E567-47F9-B0BF-588D234C688D}"/>
                </a:ext>
              </a:extLst>
            </p:cNvPr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4603744" y="2662217"/>
              <a:ext cx="273049" cy="307973"/>
            </a:xfrm>
            <a:custGeom>
              <a:avLst/>
              <a:gdLst>
                <a:gd name="T0" fmla="*/ 9087 w 631"/>
                <a:gd name="T1" fmla="*/ 1040 h 592"/>
                <a:gd name="T2" fmla="*/ 13847 w 631"/>
                <a:gd name="T3" fmla="*/ 2081 h 592"/>
                <a:gd name="T4" fmla="*/ 23367 w 631"/>
                <a:gd name="T5" fmla="*/ 4162 h 592"/>
                <a:gd name="T6" fmla="*/ 33753 w 631"/>
                <a:gd name="T7" fmla="*/ 5723 h 592"/>
                <a:gd name="T8" fmla="*/ 45003 w 631"/>
                <a:gd name="T9" fmla="*/ 9884 h 592"/>
                <a:gd name="T10" fmla="*/ 56254 w 631"/>
                <a:gd name="T11" fmla="*/ 16647 h 592"/>
                <a:gd name="T12" fmla="*/ 63178 w 631"/>
                <a:gd name="T13" fmla="*/ 20809 h 592"/>
                <a:gd name="T14" fmla="*/ 68803 w 631"/>
                <a:gd name="T15" fmla="*/ 22370 h 592"/>
                <a:gd name="T16" fmla="*/ 81785 w 631"/>
                <a:gd name="T17" fmla="*/ 22370 h 592"/>
                <a:gd name="T18" fmla="*/ 98229 w 631"/>
                <a:gd name="T19" fmla="*/ 19248 h 592"/>
                <a:gd name="T20" fmla="*/ 119865 w 631"/>
                <a:gd name="T21" fmla="*/ 11965 h 592"/>
                <a:gd name="T22" fmla="*/ 172658 w 631"/>
                <a:gd name="T23" fmla="*/ 19769 h 592"/>
                <a:gd name="T24" fmla="*/ 174389 w 631"/>
                <a:gd name="T25" fmla="*/ 35896 h 592"/>
                <a:gd name="T26" fmla="*/ 177418 w 631"/>
                <a:gd name="T27" fmla="*/ 49422 h 592"/>
                <a:gd name="T28" fmla="*/ 180447 w 631"/>
                <a:gd name="T29" fmla="*/ 61907 h 592"/>
                <a:gd name="T30" fmla="*/ 184774 w 631"/>
                <a:gd name="T31" fmla="*/ 72832 h 592"/>
                <a:gd name="T32" fmla="*/ 194727 w 631"/>
                <a:gd name="T33" fmla="*/ 91040 h 592"/>
                <a:gd name="T34" fmla="*/ 204247 w 631"/>
                <a:gd name="T35" fmla="*/ 106127 h 592"/>
                <a:gd name="T36" fmla="*/ 208574 w 631"/>
                <a:gd name="T37" fmla="*/ 115491 h 592"/>
                <a:gd name="T38" fmla="*/ 209872 w 631"/>
                <a:gd name="T39" fmla="*/ 124855 h 592"/>
                <a:gd name="T40" fmla="*/ 212468 w 631"/>
                <a:gd name="T41" fmla="*/ 132658 h 592"/>
                <a:gd name="T42" fmla="*/ 214632 w 631"/>
                <a:gd name="T43" fmla="*/ 135780 h 592"/>
                <a:gd name="T44" fmla="*/ 218527 w 631"/>
                <a:gd name="T45" fmla="*/ 138381 h 592"/>
                <a:gd name="T46" fmla="*/ 221988 w 631"/>
                <a:gd name="T47" fmla="*/ 140462 h 592"/>
                <a:gd name="T48" fmla="*/ 224585 w 631"/>
                <a:gd name="T49" fmla="*/ 144623 h 592"/>
                <a:gd name="T50" fmla="*/ 230643 w 631"/>
                <a:gd name="T51" fmla="*/ 157629 h 592"/>
                <a:gd name="T52" fmla="*/ 234105 w 631"/>
                <a:gd name="T53" fmla="*/ 172195 h 592"/>
                <a:gd name="T54" fmla="*/ 235836 w 631"/>
                <a:gd name="T55" fmla="*/ 186242 h 592"/>
                <a:gd name="T56" fmla="*/ 237134 w 631"/>
                <a:gd name="T57" fmla="*/ 191444 h 592"/>
                <a:gd name="T58" fmla="*/ 241028 w 631"/>
                <a:gd name="T59" fmla="*/ 198207 h 592"/>
                <a:gd name="T60" fmla="*/ 252279 w 631"/>
                <a:gd name="T61" fmla="*/ 215895 h 592"/>
                <a:gd name="T62" fmla="*/ 264828 w 631"/>
                <a:gd name="T63" fmla="*/ 232542 h 592"/>
                <a:gd name="T64" fmla="*/ 273050 w 631"/>
                <a:gd name="T65" fmla="*/ 240866 h 592"/>
                <a:gd name="T66" fmla="*/ 264828 w 631"/>
                <a:gd name="T67" fmla="*/ 250230 h 592"/>
                <a:gd name="T68" fmla="*/ 270021 w 631"/>
                <a:gd name="T69" fmla="*/ 258033 h 592"/>
                <a:gd name="T70" fmla="*/ 270886 w 631"/>
                <a:gd name="T71" fmla="*/ 263756 h 592"/>
                <a:gd name="T72" fmla="*/ 270886 w 631"/>
                <a:gd name="T73" fmla="*/ 268438 h 592"/>
                <a:gd name="T74" fmla="*/ 273050 w 631"/>
                <a:gd name="T75" fmla="*/ 276241 h 592"/>
                <a:gd name="T76" fmla="*/ 270886 w 631"/>
                <a:gd name="T77" fmla="*/ 280403 h 592"/>
                <a:gd name="T78" fmla="*/ 266992 w 631"/>
                <a:gd name="T79" fmla="*/ 285085 h 592"/>
                <a:gd name="T80" fmla="*/ 256174 w 631"/>
                <a:gd name="T81" fmla="*/ 296010 h 592"/>
                <a:gd name="T82" fmla="*/ 241461 w 631"/>
                <a:gd name="T83" fmla="*/ 307975 h 592"/>
                <a:gd name="T84" fmla="*/ 19905 w 631"/>
                <a:gd name="T85" fmla="*/ 90520 h 592"/>
                <a:gd name="T86" fmla="*/ 10818 w 631"/>
                <a:gd name="T87" fmla="*/ 81676 h 592"/>
                <a:gd name="T88" fmla="*/ 4760 w 631"/>
                <a:gd name="T89" fmla="*/ 71791 h 592"/>
                <a:gd name="T90" fmla="*/ 865 w 631"/>
                <a:gd name="T91" fmla="*/ 60867 h 592"/>
                <a:gd name="T92" fmla="*/ 0 w 631"/>
                <a:gd name="T93" fmla="*/ 48381 h 592"/>
                <a:gd name="T94" fmla="*/ 1298 w 631"/>
                <a:gd name="T95" fmla="*/ 46300 h 592"/>
                <a:gd name="T96" fmla="*/ 4327 w 631"/>
                <a:gd name="T97" fmla="*/ 43179 h 592"/>
                <a:gd name="T98" fmla="*/ 7356 w 631"/>
                <a:gd name="T99" fmla="*/ 40058 h 592"/>
                <a:gd name="T100" fmla="*/ 8655 w 631"/>
                <a:gd name="T101" fmla="*/ 35896 h 592"/>
                <a:gd name="T102" fmla="*/ 7789 w 631"/>
                <a:gd name="T103" fmla="*/ 27572 h 592"/>
                <a:gd name="T104" fmla="*/ 5625 w 631"/>
                <a:gd name="T105" fmla="*/ 21850 h 592"/>
                <a:gd name="T106" fmla="*/ 3895 w 631"/>
                <a:gd name="T107" fmla="*/ 17688 h 592"/>
                <a:gd name="T108" fmla="*/ 3029 w 631"/>
                <a:gd name="T109" fmla="*/ 13526 h 592"/>
                <a:gd name="T110" fmla="*/ 5625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8" name="Freeform 458">
              <a:extLst>
                <a:ext uri="{FF2B5EF4-FFF2-40B4-BE49-F238E27FC236}">
                  <a16:creationId xmlns:a16="http://schemas.microsoft.com/office/drawing/2014/main" id="{3EB9B315-928E-4367-B4A0-6E118BCAA9B3}"/>
                </a:ext>
              </a:extLst>
            </p:cNvPr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4198933" y="2297095"/>
              <a:ext cx="17462" cy="57150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99" name="Freeform 459">
              <a:extLst>
                <a:ext uri="{FF2B5EF4-FFF2-40B4-BE49-F238E27FC236}">
                  <a16:creationId xmlns:a16="http://schemas.microsoft.com/office/drawing/2014/main" id="{3DD7998B-B130-4732-A445-06C62488EB40}"/>
                </a:ext>
              </a:extLst>
            </p:cNvPr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3838571" y="2047860"/>
              <a:ext cx="295274" cy="273048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46B688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0" name="Freeform 460">
              <a:extLst>
                <a:ext uri="{FF2B5EF4-FFF2-40B4-BE49-F238E27FC236}">
                  <a16:creationId xmlns:a16="http://schemas.microsoft.com/office/drawing/2014/main" id="{E17D1776-640C-479E-8875-E67B4DEECE9C}"/>
                </a:ext>
              </a:extLst>
            </p:cNvPr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4919657" y="2282808"/>
              <a:ext cx="150812" cy="82549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1" name="Freeform 461">
              <a:extLst>
                <a:ext uri="{FF2B5EF4-FFF2-40B4-BE49-F238E27FC236}">
                  <a16:creationId xmlns:a16="http://schemas.microsoft.com/office/drawing/2014/main" id="{A4C562CD-2BE0-4047-AFD8-8B9AB9FD8EF9}"/>
                </a:ext>
              </a:extLst>
            </p:cNvPr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4468808" y="2343132"/>
              <a:ext cx="147637" cy="173037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2" name="Freeform 462">
              <a:extLst>
                <a:ext uri="{FF2B5EF4-FFF2-40B4-BE49-F238E27FC236}">
                  <a16:creationId xmlns:a16="http://schemas.microsoft.com/office/drawing/2014/main" id="{75544009-695A-4622-9322-C9443488A30F}"/>
                </a:ext>
              </a:extLst>
            </p:cNvPr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552945" y="253521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3" name="Freeform 463">
              <a:extLst>
                <a:ext uri="{FF2B5EF4-FFF2-40B4-BE49-F238E27FC236}">
                  <a16:creationId xmlns:a16="http://schemas.microsoft.com/office/drawing/2014/main" id="{EBB0F3DA-2E20-4398-999D-A653F3FE5D21}"/>
                </a:ext>
              </a:extLst>
            </p:cNvPr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3632196" y="3267049"/>
              <a:ext cx="187325" cy="158749"/>
            </a:xfrm>
            <a:custGeom>
              <a:avLst/>
              <a:gdLst>
                <a:gd name="T0" fmla="*/ 85308 w 426"/>
                <a:gd name="T1" fmla="*/ 8495 h 299"/>
                <a:gd name="T2" fmla="*/ 94982 w 426"/>
                <a:gd name="T3" fmla="*/ 11681 h 299"/>
                <a:gd name="T4" fmla="*/ 101138 w 426"/>
                <a:gd name="T5" fmla="*/ 15397 h 299"/>
                <a:gd name="T6" fmla="*/ 111252 w 426"/>
                <a:gd name="T7" fmla="*/ 18583 h 299"/>
                <a:gd name="T8" fmla="*/ 122685 w 426"/>
                <a:gd name="T9" fmla="*/ 19645 h 299"/>
                <a:gd name="T10" fmla="*/ 131919 w 426"/>
                <a:gd name="T11" fmla="*/ 19645 h 299"/>
                <a:gd name="T12" fmla="*/ 140274 w 426"/>
                <a:gd name="T13" fmla="*/ 18052 h 299"/>
                <a:gd name="T14" fmla="*/ 144671 w 426"/>
                <a:gd name="T15" fmla="*/ 15397 h 299"/>
                <a:gd name="T16" fmla="*/ 160501 w 426"/>
                <a:gd name="T17" fmla="*/ 13273 h 299"/>
                <a:gd name="T18" fmla="*/ 163580 w 426"/>
                <a:gd name="T19" fmla="*/ 26016 h 299"/>
                <a:gd name="T20" fmla="*/ 168417 w 426"/>
                <a:gd name="T21" fmla="*/ 39289 h 299"/>
                <a:gd name="T22" fmla="*/ 171934 w 426"/>
                <a:gd name="T23" fmla="*/ 44599 h 299"/>
                <a:gd name="T24" fmla="*/ 175892 w 426"/>
                <a:gd name="T25" fmla="*/ 48846 h 299"/>
                <a:gd name="T26" fmla="*/ 181169 w 426"/>
                <a:gd name="T27" fmla="*/ 51501 h 299"/>
                <a:gd name="T28" fmla="*/ 186885 w 426"/>
                <a:gd name="T29" fmla="*/ 52563 h 299"/>
                <a:gd name="T30" fmla="*/ 186885 w 426"/>
                <a:gd name="T31" fmla="*/ 63712 h 299"/>
                <a:gd name="T32" fmla="*/ 186885 w 426"/>
                <a:gd name="T33" fmla="*/ 75393 h 299"/>
                <a:gd name="T34" fmla="*/ 182928 w 426"/>
                <a:gd name="T35" fmla="*/ 83888 h 299"/>
                <a:gd name="T36" fmla="*/ 181169 w 426"/>
                <a:gd name="T37" fmla="*/ 90259 h 299"/>
                <a:gd name="T38" fmla="*/ 181169 w 426"/>
                <a:gd name="T39" fmla="*/ 96099 h 299"/>
                <a:gd name="T40" fmla="*/ 182488 w 426"/>
                <a:gd name="T41" fmla="*/ 100878 h 299"/>
                <a:gd name="T42" fmla="*/ 186006 w 426"/>
                <a:gd name="T43" fmla="*/ 112028 h 299"/>
                <a:gd name="T44" fmla="*/ 187325 w 426"/>
                <a:gd name="T45" fmla="*/ 119992 h 299"/>
                <a:gd name="T46" fmla="*/ 186885 w 426"/>
                <a:gd name="T47" fmla="*/ 131141 h 299"/>
                <a:gd name="T48" fmla="*/ 187325 w 426"/>
                <a:gd name="T49" fmla="*/ 145477 h 299"/>
                <a:gd name="T50" fmla="*/ 186006 w 426"/>
                <a:gd name="T51" fmla="*/ 151317 h 299"/>
                <a:gd name="T52" fmla="*/ 181169 w 426"/>
                <a:gd name="T53" fmla="*/ 157157 h 299"/>
                <a:gd name="T54" fmla="*/ 167097 w 426"/>
                <a:gd name="T55" fmla="*/ 158219 h 299"/>
                <a:gd name="T56" fmla="*/ 162700 w 426"/>
                <a:gd name="T57" fmla="*/ 158750 h 299"/>
                <a:gd name="T58" fmla="*/ 158303 w 426"/>
                <a:gd name="T59" fmla="*/ 157157 h 299"/>
                <a:gd name="T60" fmla="*/ 154345 w 426"/>
                <a:gd name="T61" fmla="*/ 153972 h 299"/>
                <a:gd name="T62" fmla="*/ 148629 w 426"/>
                <a:gd name="T63" fmla="*/ 147600 h 299"/>
                <a:gd name="T64" fmla="*/ 142473 w 426"/>
                <a:gd name="T65" fmla="*/ 138574 h 299"/>
                <a:gd name="T66" fmla="*/ 136756 w 426"/>
                <a:gd name="T67" fmla="*/ 134327 h 299"/>
                <a:gd name="T68" fmla="*/ 129281 w 426"/>
                <a:gd name="T69" fmla="*/ 133265 h 299"/>
                <a:gd name="T70" fmla="*/ 122245 w 426"/>
                <a:gd name="T71" fmla="*/ 123177 h 299"/>
                <a:gd name="T72" fmla="*/ 120486 w 426"/>
                <a:gd name="T73" fmla="*/ 111497 h 299"/>
                <a:gd name="T74" fmla="*/ 118287 w 426"/>
                <a:gd name="T75" fmla="*/ 104594 h 299"/>
                <a:gd name="T76" fmla="*/ 114770 w 426"/>
                <a:gd name="T77" fmla="*/ 97692 h 299"/>
                <a:gd name="T78" fmla="*/ 110372 w 426"/>
                <a:gd name="T79" fmla="*/ 91852 h 299"/>
                <a:gd name="T80" fmla="*/ 104656 w 426"/>
                <a:gd name="T81" fmla="*/ 87605 h 299"/>
                <a:gd name="T82" fmla="*/ 97620 w 426"/>
                <a:gd name="T83" fmla="*/ 85481 h 299"/>
                <a:gd name="T84" fmla="*/ 89705 w 426"/>
                <a:gd name="T85" fmla="*/ 85481 h 299"/>
                <a:gd name="T86" fmla="*/ 82669 w 426"/>
                <a:gd name="T87" fmla="*/ 86543 h 299"/>
                <a:gd name="T88" fmla="*/ 76073 w 426"/>
                <a:gd name="T89" fmla="*/ 89197 h 299"/>
                <a:gd name="T90" fmla="*/ 70357 w 426"/>
                <a:gd name="T91" fmla="*/ 93445 h 299"/>
                <a:gd name="T92" fmla="*/ 62002 w 426"/>
                <a:gd name="T93" fmla="*/ 101409 h 299"/>
                <a:gd name="T94" fmla="*/ 51888 w 426"/>
                <a:gd name="T95" fmla="*/ 114151 h 299"/>
                <a:gd name="T96" fmla="*/ 46172 w 426"/>
                <a:gd name="T97" fmla="*/ 115744 h 299"/>
                <a:gd name="T98" fmla="*/ 43973 w 426"/>
                <a:gd name="T99" fmla="*/ 106718 h 299"/>
                <a:gd name="T100" fmla="*/ 39576 w 426"/>
                <a:gd name="T101" fmla="*/ 98754 h 299"/>
                <a:gd name="T102" fmla="*/ 33419 w 426"/>
                <a:gd name="T103" fmla="*/ 90790 h 299"/>
                <a:gd name="T104" fmla="*/ 21987 w 426"/>
                <a:gd name="T105" fmla="*/ 81233 h 299"/>
                <a:gd name="T106" fmla="*/ 10554 w 426"/>
                <a:gd name="T107" fmla="*/ 71145 h 299"/>
                <a:gd name="T108" fmla="*/ 3518 w 426"/>
                <a:gd name="T109" fmla="*/ 63181 h 299"/>
                <a:gd name="T110" fmla="*/ 6596 w 426"/>
                <a:gd name="T111" fmla="*/ 53625 h 299"/>
                <a:gd name="T112" fmla="*/ 20228 w 426"/>
                <a:gd name="T113" fmla="*/ 40882 h 299"/>
                <a:gd name="T114" fmla="*/ 32980 w 426"/>
                <a:gd name="T115" fmla="*/ 25485 h 299"/>
                <a:gd name="T116" fmla="*/ 43094 w 426"/>
                <a:gd name="T117" fmla="*/ 9026 h 299"/>
                <a:gd name="T118" fmla="*/ 78712 w 426"/>
                <a:gd name="T119" fmla="*/ 6902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4" name="Freeform 464">
              <a:extLst>
                <a:ext uri="{FF2B5EF4-FFF2-40B4-BE49-F238E27FC236}">
                  <a16:creationId xmlns:a16="http://schemas.microsoft.com/office/drawing/2014/main" id="{0206CCAE-999A-495C-A131-264C76677EC0}"/>
                </a:ext>
              </a:extLst>
            </p:cNvPr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5676893" y="2530456"/>
              <a:ext cx="692149" cy="874706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D73B0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5" name="Freeform 465">
              <a:extLst>
                <a:ext uri="{FF2B5EF4-FFF2-40B4-BE49-F238E27FC236}">
                  <a16:creationId xmlns:a16="http://schemas.microsoft.com/office/drawing/2014/main" id="{9EA50793-1F3F-4A29-B78C-ED86AF805CD2}"/>
                </a:ext>
              </a:extLst>
            </p:cNvPr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3798883" y="3325787"/>
              <a:ext cx="158750" cy="206373"/>
            </a:xfrm>
            <a:custGeom>
              <a:avLst/>
              <a:gdLst>
                <a:gd name="T0" fmla="*/ 23437 w 359"/>
                <a:gd name="T1" fmla="*/ 200089 h 394"/>
                <a:gd name="T2" fmla="*/ 23437 w 359"/>
                <a:gd name="T3" fmla="*/ 187518 h 394"/>
                <a:gd name="T4" fmla="*/ 23437 w 359"/>
                <a:gd name="T5" fmla="*/ 174424 h 394"/>
                <a:gd name="T6" fmla="*/ 22110 w 359"/>
                <a:gd name="T7" fmla="*/ 163424 h 394"/>
                <a:gd name="T8" fmla="*/ 19015 w 359"/>
                <a:gd name="T9" fmla="*/ 153472 h 394"/>
                <a:gd name="T10" fmla="*/ 15477 w 359"/>
                <a:gd name="T11" fmla="*/ 145091 h 394"/>
                <a:gd name="T12" fmla="*/ 5749 w 359"/>
                <a:gd name="T13" fmla="*/ 128330 h 394"/>
                <a:gd name="T14" fmla="*/ 0 w 359"/>
                <a:gd name="T15" fmla="*/ 96902 h 394"/>
                <a:gd name="T16" fmla="*/ 14593 w 359"/>
                <a:gd name="T17" fmla="*/ 94807 h 394"/>
                <a:gd name="T18" fmla="*/ 17688 w 359"/>
                <a:gd name="T19" fmla="*/ 88521 h 394"/>
                <a:gd name="T20" fmla="*/ 18130 w 359"/>
                <a:gd name="T21" fmla="*/ 78569 h 394"/>
                <a:gd name="T22" fmla="*/ 16804 w 359"/>
                <a:gd name="T23" fmla="*/ 56046 h 394"/>
                <a:gd name="T24" fmla="*/ 13708 w 359"/>
                <a:gd name="T25" fmla="*/ 34047 h 394"/>
                <a:gd name="T26" fmla="*/ 14150 w 359"/>
                <a:gd name="T27" fmla="*/ 24618 h 394"/>
                <a:gd name="T28" fmla="*/ 15919 w 359"/>
                <a:gd name="T29" fmla="*/ 18857 h 394"/>
                <a:gd name="T30" fmla="*/ 53064 w 359"/>
                <a:gd name="T31" fmla="*/ 16238 h 394"/>
                <a:gd name="T32" fmla="*/ 53948 w 359"/>
                <a:gd name="T33" fmla="*/ 11523 h 394"/>
                <a:gd name="T34" fmla="*/ 56602 w 359"/>
                <a:gd name="T35" fmla="*/ 7333 h 394"/>
                <a:gd name="T36" fmla="*/ 61908 w 359"/>
                <a:gd name="T37" fmla="*/ 0 h 394"/>
                <a:gd name="T38" fmla="*/ 62792 w 359"/>
                <a:gd name="T39" fmla="*/ 9428 h 394"/>
                <a:gd name="T40" fmla="*/ 62792 w 359"/>
                <a:gd name="T41" fmla="*/ 13619 h 394"/>
                <a:gd name="T42" fmla="*/ 61908 w 359"/>
                <a:gd name="T43" fmla="*/ 16238 h 394"/>
                <a:gd name="T44" fmla="*/ 74290 w 359"/>
                <a:gd name="T45" fmla="*/ 16238 h 394"/>
                <a:gd name="T46" fmla="*/ 82249 w 359"/>
                <a:gd name="T47" fmla="*/ 16238 h 394"/>
                <a:gd name="T48" fmla="*/ 94631 w 359"/>
                <a:gd name="T49" fmla="*/ 19904 h 394"/>
                <a:gd name="T50" fmla="*/ 103033 w 359"/>
                <a:gd name="T51" fmla="*/ 25666 h 394"/>
                <a:gd name="T52" fmla="*/ 108781 w 359"/>
                <a:gd name="T53" fmla="*/ 30380 h 394"/>
                <a:gd name="T54" fmla="*/ 114530 w 359"/>
                <a:gd name="T55" fmla="*/ 31951 h 394"/>
                <a:gd name="T56" fmla="*/ 118510 w 359"/>
                <a:gd name="T57" fmla="*/ 30904 h 394"/>
                <a:gd name="T58" fmla="*/ 121605 w 359"/>
                <a:gd name="T59" fmla="*/ 28285 h 394"/>
                <a:gd name="T60" fmla="*/ 126469 w 359"/>
                <a:gd name="T61" fmla="*/ 19380 h 394"/>
                <a:gd name="T62" fmla="*/ 137967 w 359"/>
                <a:gd name="T63" fmla="*/ 27237 h 394"/>
                <a:gd name="T64" fmla="*/ 143715 w 359"/>
                <a:gd name="T65" fmla="*/ 30904 h 394"/>
                <a:gd name="T66" fmla="*/ 149464 w 359"/>
                <a:gd name="T67" fmla="*/ 31951 h 394"/>
                <a:gd name="T68" fmla="*/ 156097 w 359"/>
                <a:gd name="T69" fmla="*/ 84331 h 394"/>
                <a:gd name="T70" fmla="*/ 149464 w 359"/>
                <a:gd name="T71" fmla="*/ 96902 h 394"/>
                <a:gd name="T72" fmla="*/ 142831 w 359"/>
                <a:gd name="T73" fmla="*/ 107902 h 394"/>
                <a:gd name="T74" fmla="*/ 139293 w 359"/>
                <a:gd name="T75" fmla="*/ 117330 h 394"/>
                <a:gd name="T76" fmla="*/ 138409 w 359"/>
                <a:gd name="T77" fmla="*/ 125187 h 394"/>
                <a:gd name="T78" fmla="*/ 138409 w 359"/>
                <a:gd name="T79" fmla="*/ 133568 h 394"/>
                <a:gd name="T80" fmla="*/ 141946 w 359"/>
                <a:gd name="T81" fmla="*/ 142996 h 394"/>
                <a:gd name="T82" fmla="*/ 146368 w 359"/>
                <a:gd name="T83" fmla="*/ 153472 h 394"/>
                <a:gd name="T84" fmla="*/ 149022 w 359"/>
                <a:gd name="T85" fmla="*/ 161852 h 394"/>
                <a:gd name="T86" fmla="*/ 149022 w 359"/>
                <a:gd name="T87" fmla="*/ 168138 h 394"/>
                <a:gd name="T88" fmla="*/ 145926 w 359"/>
                <a:gd name="T89" fmla="*/ 176519 h 394"/>
                <a:gd name="T90" fmla="*/ 144157 w 359"/>
                <a:gd name="T91" fmla="*/ 183852 h 394"/>
                <a:gd name="T92" fmla="*/ 141062 w 359"/>
                <a:gd name="T93" fmla="*/ 187518 h 394"/>
                <a:gd name="T94" fmla="*/ 136198 w 359"/>
                <a:gd name="T95" fmla="*/ 186471 h 394"/>
                <a:gd name="T96" fmla="*/ 131776 w 359"/>
                <a:gd name="T97" fmla="*/ 183328 h 394"/>
                <a:gd name="T98" fmla="*/ 126912 w 359"/>
                <a:gd name="T99" fmla="*/ 178090 h 394"/>
                <a:gd name="T100" fmla="*/ 122490 w 359"/>
                <a:gd name="T101" fmla="*/ 175471 h 394"/>
                <a:gd name="T102" fmla="*/ 117625 w 359"/>
                <a:gd name="T103" fmla="*/ 174424 h 394"/>
                <a:gd name="T104" fmla="*/ 108781 w 359"/>
                <a:gd name="T105" fmla="*/ 174424 h 394"/>
                <a:gd name="T106" fmla="*/ 97726 w 359"/>
                <a:gd name="T107" fmla="*/ 175995 h 394"/>
                <a:gd name="T108" fmla="*/ 80038 w 359"/>
                <a:gd name="T109" fmla="*/ 179661 h 394"/>
                <a:gd name="T110" fmla="*/ 57928 w 359"/>
                <a:gd name="T111" fmla="*/ 188042 h 394"/>
                <a:gd name="T112" fmla="*/ 38029 w 359"/>
                <a:gd name="T113" fmla="*/ 196423 h 394"/>
                <a:gd name="T114" fmla="*/ 23437 w 359"/>
                <a:gd name="T115" fmla="*/ 206375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6" name="Freeform 466">
              <a:extLst>
                <a:ext uri="{FF2B5EF4-FFF2-40B4-BE49-F238E27FC236}">
                  <a16:creationId xmlns:a16="http://schemas.microsoft.com/office/drawing/2014/main" id="{78E93325-010D-48E9-92B0-24C47601145E}"/>
                </a:ext>
              </a:extLst>
            </p:cNvPr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4867269" y="3521048"/>
              <a:ext cx="192088" cy="271461"/>
            </a:xfrm>
            <a:custGeom>
              <a:avLst/>
              <a:gdLst>
                <a:gd name="T0" fmla="*/ 175403 w 449"/>
                <a:gd name="T1" fmla="*/ 54500 h 523"/>
                <a:gd name="T2" fmla="*/ 173264 w 449"/>
                <a:gd name="T3" fmla="*/ 50867 h 523"/>
                <a:gd name="T4" fmla="*/ 174548 w 449"/>
                <a:gd name="T5" fmla="*/ 47753 h 523"/>
                <a:gd name="T6" fmla="*/ 180537 w 449"/>
                <a:gd name="T7" fmla="*/ 39967 h 523"/>
                <a:gd name="T8" fmla="*/ 188665 w 449"/>
                <a:gd name="T9" fmla="*/ 31143 h 523"/>
                <a:gd name="T10" fmla="*/ 191232 w 449"/>
                <a:gd name="T11" fmla="*/ 25952 h 523"/>
                <a:gd name="T12" fmla="*/ 192088 w 449"/>
                <a:gd name="T13" fmla="*/ 19205 h 523"/>
                <a:gd name="T14" fmla="*/ 184815 w 449"/>
                <a:gd name="T15" fmla="*/ 17648 h 523"/>
                <a:gd name="T16" fmla="*/ 180537 w 449"/>
                <a:gd name="T17" fmla="*/ 14014 h 523"/>
                <a:gd name="T18" fmla="*/ 175831 w 449"/>
                <a:gd name="T19" fmla="*/ 10900 h 523"/>
                <a:gd name="T20" fmla="*/ 166847 w 449"/>
                <a:gd name="T21" fmla="*/ 9343 h 523"/>
                <a:gd name="T22" fmla="*/ 161285 w 449"/>
                <a:gd name="T23" fmla="*/ 10381 h 523"/>
                <a:gd name="T24" fmla="*/ 157435 w 449"/>
                <a:gd name="T25" fmla="*/ 12457 h 523"/>
                <a:gd name="T26" fmla="*/ 151874 w 449"/>
                <a:gd name="T27" fmla="*/ 19205 h 523"/>
                <a:gd name="T28" fmla="*/ 145456 w 449"/>
                <a:gd name="T29" fmla="*/ 25952 h 523"/>
                <a:gd name="T30" fmla="*/ 139467 w 449"/>
                <a:gd name="T31" fmla="*/ 28029 h 523"/>
                <a:gd name="T32" fmla="*/ 132622 w 449"/>
                <a:gd name="T33" fmla="*/ 28548 h 523"/>
                <a:gd name="T34" fmla="*/ 122782 w 449"/>
                <a:gd name="T35" fmla="*/ 28029 h 523"/>
                <a:gd name="T36" fmla="*/ 114226 w 449"/>
                <a:gd name="T37" fmla="*/ 25952 h 523"/>
                <a:gd name="T38" fmla="*/ 100536 w 449"/>
                <a:gd name="T39" fmla="*/ 18686 h 523"/>
                <a:gd name="T40" fmla="*/ 88129 w 449"/>
                <a:gd name="T41" fmla="*/ 9862 h 523"/>
                <a:gd name="T42" fmla="*/ 80857 w 449"/>
                <a:gd name="T43" fmla="*/ 6229 h 523"/>
                <a:gd name="T44" fmla="*/ 72728 w 449"/>
                <a:gd name="T45" fmla="*/ 3114 h 523"/>
                <a:gd name="T46" fmla="*/ 57327 w 449"/>
                <a:gd name="T47" fmla="*/ 4152 h 523"/>
                <a:gd name="T48" fmla="*/ 50910 w 449"/>
                <a:gd name="T49" fmla="*/ 3114 h 523"/>
                <a:gd name="T50" fmla="*/ 44065 w 449"/>
                <a:gd name="T51" fmla="*/ 0 h 523"/>
                <a:gd name="T52" fmla="*/ 22246 w 449"/>
                <a:gd name="T53" fmla="*/ 0 h 523"/>
                <a:gd name="T54" fmla="*/ 2139 w 449"/>
                <a:gd name="T55" fmla="*/ 0 h 523"/>
                <a:gd name="T56" fmla="*/ 2139 w 449"/>
                <a:gd name="T57" fmla="*/ 9343 h 523"/>
                <a:gd name="T58" fmla="*/ 2139 w 449"/>
                <a:gd name="T59" fmla="*/ 19205 h 523"/>
                <a:gd name="T60" fmla="*/ 6417 w 449"/>
                <a:gd name="T61" fmla="*/ 31143 h 523"/>
                <a:gd name="T62" fmla="*/ 9840 w 449"/>
                <a:gd name="T63" fmla="*/ 47234 h 523"/>
                <a:gd name="T64" fmla="*/ 13262 w 449"/>
                <a:gd name="T65" fmla="*/ 66438 h 523"/>
                <a:gd name="T66" fmla="*/ 16257 w 449"/>
                <a:gd name="T67" fmla="*/ 89277 h 523"/>
                <a:gd name="T68" fmla="*/ 15829 w 449"/>
                <a:gd name="T69" fmla="*/ 106924 h 523"/>
                <a:gd name="T70" fmla="*/ 12407 w 449"/>
                <a:gd name="T71" fmla="*/ 119381 h 523"/>
                <a:gd name="T72" fmla="*/ 2995 w 449"/>
                <a:gd name="T73" fmla="*/ 139624 h 523"/>
                <a:gd name="T74" fmla="*/ 4278 w 449"/>
                <a:gd name="T75" fmla="*/ 166615 h 523"/>
                <a:gd name="T76" fmla="*/ 11979 w 449"/>
                <a:gd name="T77" fmla="*/ 175958 h 523"/>
                <a:gd name="T78" fmla="*/ 35936 w 449"/>
                <a:gd name="T79" fmla="*/ 190491 h 523"/>
                <a:gd name="T80" fmla="*/ 58183 w 449"/>
                <a:gd name="T81" fmla="*/ 205544 h 523"/>
                <a:gd name="T82" fmla="*/ 72728 w 449"/>
                <a:gd name="T83" fmla="*/ 218001 h 523"/>
                <a:gd name="T84" fmla="*/ 80857 w 449"/>
                <a:gd name="T85" fmla="*/ 226306 h 523"/>
                <a:gd name="T86" fmla="*/ 84707 w 449"/>
                <a:gd name="T87" fmla="*/ 234091 h 523"/>
                <a:gd name="T88" fmla="*/ 85990 w 449"/>
                <a:gd name="T89" fmla="*/ 240839 h 523"/>
                <a:gd name="T90" fmla="*/ 89413 w 449"/>
                <a:gd name="T91" fmla="*/ 248625 h 523"/>
                <a:gd name="T92" fmla="*/ 94119 w 449"/>
                <a:gd name="T93" fmla="*/ 255372 h 523"/>
                <a:gd name="T94" fmla="*/ 99680 w 449"/>
                <a:gd name="T95" fmla="*/ 261082 h 523"/>
                <a:gd name="T96" fmla="*/ 105670 w 449"/>
                <a:gd name="T97" fmla="*/ 265753 h 523"/>
                <a:gd name="T98" fmla="*/ 112943 w 449"/>
                <a:gd name="T99" fmla="*/ 269387 h 523"/>
                <a:gd name="T100" fmla="*/ 120215 w 449"/>
                <a:gd name="T101" fmla="*/ 271463 h 523"/>
                <a:gd name="T102" fmla="*/ 130055 w 449"/>
                <a:gd name="T103" fmla="*/ 260563 h 523"/>
                <a:gd name="T104" fmla="*/ 143317 w 449"/>
                <a:gd name="T105" fmla="*/ 239801 h 523"/>
                <a:gd name="T106" fmla="*/ 156152 w 449"/>
                <a:gd name="T107" fmla="*/ 221634 h 523"/>
                <a:gd name="T108" fmla="*/ 168558 w 449"/>
                <a:gd name="T109" fmla="*/ 202429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7" name="Freeform 467">
              <a:extLst>
                <a:ext uri="{FF2B5EF4-FFF2-40B4-BE49-F238E27FC236}">
                  <a16:creationId xmlns:a16="http://schemas.microsoft.com/office/drawing/2014/main" id="{0C944B4E-4D79-4685-BE05-0A4CE8748EEC}"/>
                </a:ext>
              </a:extLst>
            </p:cNvPr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849807" y="2606655"/>
              <a:ext cx="101600" cy="130174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8" name="Freeform 468">
              <a:extLst>
                <a:ext uri="{FF2B5EF4-FFF2-40B4-BE49-F238E27FC236}">
                  <a16:creationId xmlns:a16="http://schemas.microsoft.com/office/drawing/2014/main" id="{B462EDC5-DE0E-420A-BA0E-490C3BB33724}"/>
                </a:ext>
              </a:extLst>
            </p:cNvPr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5148257" y="2709842"/>
              <a:ext cx="22225" cy="55562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9" name="Freeform 469">
              <a:extLst>
                <a:ext uri="{FF2B5EF4-FFF2-40B4-BE49-F238E27FC236}">
                  <a16:creationId xmlns:a16="http://schemas.microsoft.com/office/drawing/2014/main" id="{52B3635E-992D-43E5-8FE1-AA37CBF4AC95}"/>
                </a:ext>
              </a:extLst>
            </p:cNvPr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435470" y="1844661"/>
              <a:ext cx="161924" cy="66675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0" name="Freeform 470">
              <a:extLst>
                <a:ext uri="{FF2B5EF4-FFF2-40B4-BE49-F238E27FC236}">
                  <a16:creationId xmlns:a16="http://schemas.microsoft.com/office/drawing/2014/main" id="{3BB3C8E2-1F84-4B58-ADCF-E09C02A70294}"/>
                </a:ext>
              </a:extLst>
            </p:cNvPr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4846632" y="2565380"/>
              <a:ext cx="30162" cy="57150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2" name="Freeform 472">
              <a:extLst>
                <a:ext uri="{FF2B5EF4-FFF2-40B4-BE49-F238E27FC236}">
                  <a16:creationId xmlns:a16="http://schemas.microsoft.com/office/drawing/2014/main" id="{BFD19B2B-71B1-4A97-8C40-E6967924C2B8}"/>
                </a:ext>
              </a:extLst>
            </p:cNvPr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4433883" y="1892286"/>
              <a:ext cx="131762" cy="84137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3" name="Freeform 473">
              <a:extLst>
                <a:ext uri="{FF2B5EF4-FFF2-40B4-BE49-F238E27FC236}">
                  <a16:creationId xmlns:a16="http://schemas.microsoft.com/office/drawing/2014/main" id="{BD94424B-C68B-4299-B0BB-9E37A32FE35F}"/>
                </a:ext>
              </a:extLst>
            </p:cNvPr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4140195" y="2078022"/>
              <a:ext cx="19050" cy="60325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4" name="Freeform 474">
              <a:extLst>
                <a:ext uri="{FF2B5EF4-FFF2-40B4-BE49-F238E27FC236}">
                  <a16:creationId xmlns:a16="http://schemas.microsoft.com/office/drawing/2014/main" id="{FCA23DFF-489D-4456-90B2-561FE895306E}"/>
                </a:ext>
              </a:extLst>
            </p:cNvPr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4837107" y="3962369"/>
              <a:ext cx="69850" cy="241298"/>
            </a:xfrm>
            <a:custGeom>
              <a:avLst/>
              <a:gdLst>
                <a:gd name="T0" fmla="*/ 4208 w 166"/>
                <a:gd name="T1" fmla="*/ 149225 h 456"/>
                <a:gd name="T2" fmla="*/ 7995 w 166"/>
                <a:gd name="T3" fmla="*/ 153458 h 456"/>
                <a:gd name="T4" fmla="*/ 15569 w 166"/>
                <a:gd name="T5" fmla="*/ 158750 h 456"/>
                <a:gd name="T6" fmla="*/ 24405 w 166"/>
                <a:gd name="T7" fmla="*/ 161925 h 456"/>
                <a:gd name="T8" fmla="*/ 29455 w 166"/>
                <a:gd name="T9" fmla="*/ 165100 h 456"/>
                <a:gd name="T10" fmla="*/ 33663 w 166"/>
                <a:gd name="T11" fmla="*/ 169333 h 456"/>
                <a:gd name="T12" fmla="*/ 36187 w 166"/>
                <a:gd name="T13" fmla="*/ 175154 h 456"/>
                <a:gd name="T14" fmla="*/ 36187 w 166"/>
                <a:gd name="T15" fmla="*/ 183621 h 456"/>
                <a:gd name="T16" fmla="*/ 32821 w 166"/>
                <a:gd name="T17" fmla="*/ 192088 h 456"/>
                <a:gd name="T18" fmla="*/ 28613 w 166"/>
                <a:gd name="T19" fmla="*/ 198438 h 456"/>
                <a:gd name="T20" fmla="*/ 26089 w 166"/>
                <a:gd name="T21" fmla="*/ 205317 h 456"/>
                <a:gd name="T22" fmla="*/ 25247 w 166"/>
                <a:gd name="T23" fmla="*/ 211667 h 456"/>
                <a:gd name="T24" fmla="*/ 26930 w 166"/>
                <a:gd name="T25" fmla="*/ 217487 h 456"/>
                <a:gd name="T26" fmla="*/ 31980 w 166"/>
                <a:gd name="T27" fmla="*/ 224367 h 456"/>
                <a:gd name="T28" fmla="*/ 43761 w 166"/>
                <a:gd name="T29" fmla="*/ 235479 h 456"/>
                <a:gd name="T30" fmla="*/ 50494 w 166"/>
                <a:gd name="T31" fmla="*/ 234421 h 456"/>
                <a:gd name="T32" fmla="*/ 50494 w 166"/>
                <a:gd name="T33" fmla="*/ 223837 h 456"/>
                <a:gd name="T34" fmla="*/ 55123 w 166"/>
                <a:gd name="T35" fmla="*/ 218546 h 456"/>
                <a:gd name="T36" fmla="*/ 61014 w 166"/>
                <a:gd name="T37" fmla="*/ 215371 h 456"/>
                <a:gd name="T38" fmla="*/ 64380 w 166"/>
                <a:gd name="T39" fmla="*/ 212725 h 456"/>
                <a:gd name="T40" fmla="*/ 67325 w 166"/>
                <a:gd name="T41" fmla="*/ 207962 h 456"/>
                <a:gd name="T42" fmla="*/ 69850 w 166"/>
                <a:gd name="T43" fmla="*/ 198438 h 456"/>
                <a:gd name="T44" fmla="*/ 69429 w 166"/>
                <a:gd name="T45" fmla="*/ 185208 h 456"/>
                <a:gd name="T46" fmla="*/ 66484 w 166"/>
                <a:gd name="T47" fmla="*/ 173567 h 456"/>
                <a:gd name="T48" fmla="*/ 62276 w 166"/>
                <a:gd name="T49" fmla="*/ 162454 h 456"/>
                <a:gd name="T50" fmla="*/ 59330 w 166"/>
                <a:gd name="T51" fmla="*/ 150283 h 456"/>
                <a:gd name="T52" fmla="*/ 56806 w 166"/>
                <a:gd name="T53" fmla="*/ 142346 h 456"/>
                <a:gd name="T54" fmla="*/ 49652 w 166"/>
                <a:gd name="T55" fmla="*/ 132821 h 456"/>
                <a:gd name="T56" fmla="*/ 40816 w 166"/>
                <a:gd name="T57" fmla="*/ 118533 h 456"/>
                <a:gd name="T58" fmla="*/ 35767 w 166"/>
                <a:gd name="T59" fmla="*/ 109008 h 456"/>
                <a:gd name="T60" fmla="*/ 33663 w 166"/>
                <a:gd name="T61" fmla="*/ 103187 h 456"/>
                <a:gd name="T62" fmla="*/ 34083 w 166"/>
                <a:gd name="T63" fmla="*/ 93663 h 456"/>
                <a:gd name="T64" fmla="*/ 37029 w 166"/>
                <a:gd name="T65" fmla="*/ 77788 h 456"/>
                <a:gd name="T66" fmla="*/ 40395 w 166"/>
                <a:gd name="T67" fmla="*/ 68263 h 456"/>
                <a:gd name="T68" fmla="*/ 41237 w 166"/>
                <a:gd name="T69" fmla="*/ 59796 h 456"/>
                <a:gd name="T70" fmla="*/ 39974 w 166"/>
                <a:gd name="T71" fmla="*/ 43392 h 456"/>
                <a:gd name="T72" fmla="*/ 38712 w 166"/>
                <a:gd name="T73" fmla="*/ 23813 h 456"/>
                <a:gd name="T74" fmla="*/ 37450 w 166"/>
                <a:gd name="T75" fmla="*/ 9525 h 456"/>
                <a:gd name="T76" fmla="*/ 29876 w 166"/>
                <a:gd name="T77" fmla="*/ 4233 h 456"/>
                <a:gd name="T78" fmla="*/ 13886 w 166"/>
                <a:gd name="T79" fmla="*/ 2117 h 456"/>
                <a:gd name="T80" fmla="*/ 5049 w 166"/>
                <a:gd name="T81" fmla="*/ 5292 h 456"/>
                <a:gd name="T82" fmla="*/ 9257 w 166"/>
                <a:gd name="T83" fmla="*/ 13229 h 456"/>
                <a:gd name="T84" fmla="*/ 13886 w 166"/>
                <a:gd name="T85" fmla="*/ 15875 h 456"/>
                <a:gd name="T86" fmla="*/ 16831 w 166"/>
                <a:gd name="T87" fmla="*/ 23283 h 456"/>
                <a:gd name="T88" fmla="*/ 16831 w 166"/>
                <a:gd name="T89" fmla="*/ 33867 h 456"/>
                <a:gd name="T90" fmla="*/ 16831 w 166"/>
                <a:gd name="T91" fmla="*/ 41275 h 456"/>
                <a:gd name="T92" fmla="*/ 15148 w 166"/>
                <a:gd name="T93" fmla="*/ 44979 h 456"/>
                <a:gd name="T94" fmla="*/ 12203 w 166"/>
                <a:gd name="T95" fmla="*/ 50271 h 456"/>
                <a:gd name="T96" fmla="*/ 6312 w 166"/>
                <a:gd name="T97" fmla="*/ 57679 h 456"/>
                <a:gd name="T98" fmla="*/ 1262 w 166"/>
                <a:gd name="T99" fmla="*/ 64558 h 456"/>
                <a:gd name="T100" fmla="*/ 2945 w 166"/>
                <a:gd name="T101" fmla="*/ 146579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5" name="Freeform 475">
              <a:extLst>
                <a:ext uri="{FF2B5EF4-FFF2-40B4-BE49-F238E27FC236}">
                  <a16:creationId xmlns:a16="http://schemas.microsoft.com/office/drawing/2014/main" id="{79548508-87CD-4ED8-AB38-00E7F622C6E8}"/>
                </a:ext>
              </a:extLst>
            </p:cNvPr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329108" y="2533630"/>
              <a:ext cx="14287" cy="57150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6" name="Freeform 476">
              <a:extLst>
                <a:ext uri="{FF2B5EF4-FFF2-40B4-BE49-F238E27FC236}">
                  <a16:creationId xmlns:a16="http://schemas.microsoft.com/office/drawing/2014/main" id="{657081DA-DDAA-4770-8507-D0D07E177DF8}"/>
                </a:ext>
              </a:extLst>
            </p:cNvPr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4648194" y="4154455"/>
              <a:ext cx="188913" cy="217485"/>
            </a:xfrm>
            <a:custGeom>
              <a:avLst/>
              <a:gdLst>
                <a:gd name="T0" fmla="*/ 122492 w 438"/>
                <a:gd name="T1" fmla="*/ 4285 h 406"/>
                <a:gd name="T2" fmla="*/ 138019 w 438"/>
                <a:gd name="T3" fmla="*/ 14463 h 406"/>
                <a:gd name="T4" fmla="*/ 156565 w 438"/>
                <a:gd name="T5" fmla="*/ 25177 h 406"/>
                <a:gd name="T6" fmla="*/ 170367 w 438"/>
                <a:gd name="T7" fmla="*/ 31070 h 406"/>
                <a:gd name="T8" fmla="*/ 179424 w 438"/>
                <a:gd name="T9" fmla="*/ 32677 h 406"/>
                <a:gd name="T10" fmla="*/ 183306 w 438"/>
                <a:gd name="T11" fmla="*/ 43390 h 406"/>
                <a:gd name="T12" fmla="*/ 185031 w 438"/>
                <a:gd name="T13" fmla="*/ 64282 h 406"/>
                <a:gd name="T14" fmla="*/ 187188 w 438"/>
                <a:gd name="T15" fmla="*/ 84102 h 406"/>
                <a:gd name="T16" fmla="*/ 188913 w 438"/>
                <a:gd name="T17" fmla="*/ 104458 h 406"/>
                <a:gd name="T18" fmla="*/ 188913 w 438"/>
                <a:gd name="T19" fmla="*/ 119457 h 406"/>
                <a:gd name="T20" fmla="*/ 187619 w 438"/>
                <a:gd name="T21" fmla="*/ 126957 h 406"/>
                <a:gd name="T22" fmla="*/ 183306 w 438"/>
                <a:gd name="T23" fmla="*/ 138742 h 406"/>
                <a:gd name="T24" fmla="*/ 175542 w 438"/>
                <a:gd name="T25" fmla="*/ 153741 h 406"/>
                <a:gd name="T26" fmla="*/ 168642 w 438"/>
                <a:gd name="T27" fmla="*/ 164454 h 406"/>
                <a:gd name="T28" fmla="*/ 164328 w 438"/>
                <a:gd name="T29" fmla="*/ 171418 h 406"/>
                <a:gd name="T30" fmla="*/ 161309 w 438"/>
                <a:gd name="T31" fmla="*/ 177847 h 406"/>
                <a:gd name="T32" fmla="*/ 160447 w 438"/>
                <a:gd name="T33" fmla="*/ 188560 h 406"/>
                <a:gd name="T34" fmla="*/ 154840 w 438"/>
                <a:gd name="T35" fmla="*/ 199274 h 406"/>
                <a:gd name="T36" fmla="*/ 138450 w 438"/>
                <a:gd name="T37" fmla="*/ 214809 h 406"/>
                <a:gd name="T38" fmla="*/ 88418 w 438"/>
                <a:gd name="T39" fmla="*/ 207845 h 406"/>
                <a:gd name="T40" fmla="*/ 78498 w 438"/>
                <a:gd name="T41" fmla="*/ 203024 h 406"/>
                <a:gd name="T42" fmla="*/ 71166 w 438"/>
                <a:gd name="T43" fmla="*/ 198202 h 406"/>
                <a:gd name="T44" fmla="*/ 64696 w 438"/>
                <a:gd name="T45" fmla="*/ 192310 h 406"/>
                <a:gd name="T46" fmla="*/ 59952 w 438"/>
                <a:gd name="T47" fmla="*/ 185346 h 406"/>
                <a:gd name="T48" fmla="*/ 53482 w 438"/>
                <a:gd name="T49" fmla="*/ 172490 h 406"/>
                <a:gd name="T50" fmla="*/ 46581 w 438"/>
                <a:gd name="T51" fmla="*/ 158562 h 406"/>
                <a:gd name="T52" fmla="*/ 40543 w 438"/>
                <a:gd name="T53" fmla="*/ 149455 h 406"/>
                <a:gd name="T54" fmla="*/ 31054 w 438"/>
                <a:gd name="T55" fmla="*/ 138742 h 406"/>
                <a:gd name="T56" fmla="*/ 18978 w 438"/>
                <a:gd name="T57" fmla="*/ 125350 h 406"/>
                <a:gd name="T58" fmla="*/ 10351 w 438"/>
                <a:gd name="T59" fmla="*/ 114100 h 406"/>
                <a:gd name="T60" fmla="*/ 5607 w 438"/>
                <a:gd name="T61" fmla="*/ 104458 h 406"/>
                <a:gd name="T62" fmla="*/ 1725 w 438"/>
                <a:gd name="T63" fmla="*/ 94280 h 406"/>
                <a:gd name="T64" fmla="*/ 0 w 438"/>
                <a:gd name="T65" fmla="*/ 82495 h 406"/>
                <a:gd name="T66" fmla="*/ 7764 w 438"/>
                <a:gd name="T67" fmla="*/ 75531 h 406"/>
                <a:gd name="T68" fmla="*/ 17252 w 438"/>
                <a:gd name="T69" fmla="*/ 75531 h 406"/>
                <a:gd name="T70" fmla="*/ 22859 w 438"/>
                <a:gd name="T71" fmla="*/ 75531 h 406"/>
                <a:gd name="T72" fmla="*/ 27172 w 438"/>
                <a:gd name="T73" fmla="*/ 73924 h 406"/>
                <a:gd name="T74" fmla="*/ 33211 w 438"/>
                <a:gd name="T75" fmla="*/ 70174 h 406"/>
                <a:gd name="T76" fmla="*/ 42700 w 438"/>
                <a:gd name="T77" fmla="*/ 57854 h 406"/>
                <a:gd name="T78" fmla="*/ 50463 w 438"/>
                <a:gd name="T79" fmla="*/ 46604 h 406"/>
                <a:gd name="T80" fmla="*/ 56070 w 438"/>
                <a:gd name="T81" fmla="*/ 42855 h 406"/>
                <a:gd name="T82" fmla="*/ 64696 w 438"/>
                <a:gd name="T83" fmla="*/ 38033 h 406"/>
                <a:gd name="T84" fmla="*/ 77204 w 438"/>
                <a:gd name="T85" fmla="*/ 32141 h 406"/>
                <a:gd name="T86" fmla="*/ 87556 w 438"/>
                <a:gd name="T87" fmla="*/ 26784 h 406"/>
                <a:gd name="T88" fmla="*/ 91006 w 438"/>
                <a:gd name="T89" fmla="*/ 23034 h 406"/>
                <a:gd name="T90" fmla="*/ 90575 w 438"/>
                <a:gd name="T91" fmla="*/ 20356 h 406"/>
                <a:gd name="T92" fmla="*/ 91006 w 438"/>
                <a:gd name="T93" fmla="*/ 16070 h 406"/>
                <a:gd name="T94" fmla="*/ 91869 w 438"/>
                <a:gd name="T95" fmla="*/ 9107 h 406"/>
                <a:gd name="T96" fmla="*/ 93594 w 438"/>
                <a:gd name="T97" fmla="*/ 6428 h 406"/>
                <a:gd name="T98" fmla="*/ 97044 w 438"/>
                <a:gd name="T99" fmla="*/ 6428 h 406"/>
                <a:gd name="T100" fmla="*/ 100064 w 438"/>
                <a:gd name="T101" fmla="*/ 4821 h 406"/>
                <a:gd name="T102" fmla="*/ 101789 w 438"/>
                <a:gd name="T103" fmla="*/ 2143 h 406"/>
                <a:gd name="T104" fmla="*/ 105239 w 438"/>
                <a:gd name="T105" fmla="*/ 1071 h 406"/>
                <a:gd name="T106" fmla="*/ 108258 w 438"/>
                <a:gd name="T107" fmla="*/ 1607 h 406"/>
                <a:gd name="T108" fmla="*/ 113865 w 438"/>
                <a:gd name="T109" fmla="*/ 536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7" name="Freeform 477">
              <a:extLst>
                <a:ext uri="{FF2B5EF4-FFF2-40B4-BE49-F238E27FC236}">
                  <a16:creationId xmlns:a16="http://schemas.microsoft.com/office/drawing/2014/main" id="{3C7D3790-0581-43AC-BCFF-9D82EAD3B661}"/>
                </a:ext>
              </a:extLst>
            </p:cNvPr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4560883" y="3930619"/>
              <a:ext cx="293687" cy="300036"/>
            </a:xfrm>
            <a:custGeom>
              <a:avLst/>
              <a:gdLst>
                <a:gd name="T0" fmla="*/ 222215 w 678"/>
                <a:gd name="T1" fmla="*/ 4182 h 574"/>
                <a:gd name="T2" fmla="*/ 239108 w 678"/>
                <a:gd name="T3" fmla="*/ 13591 h 574"/>
                <a:gd name="T4" fmla="*/ 279393 w 678"/>
                <a:gd name="T5" fmla="*/ 32931 h 574"/>
                <a:gd name="T6" fmla="*/ 285890 w 678"/>
                <a:gd name="T7" fmla="*/ 45999 h 574"/>
                <a:gd name="T8" fmla="*/ 293687 w 678"/>
                <a:gd name="T9" fmla="*/ 49135 h 574"/>
                <a:gd name="T10" fmla="*/ 293687 w 678"/>
                <a:gd name="T11" fmla="*/ 66385 h 574"/>
                <a:gd name="T12" fmla="*/ 293254 w 678"/>
                <a:gd name="T13" fmla="*/ 75271 h 574"/>
                <a:gd name="T14" fmla="*/ 288922 w 678"/>
                <a:gd name="T15" fmla="*/ 82589 h 574"/>
                <a:gd name="T16" fmla="*/ 280259 w 678"/>
                <a:gd name="T17" fmla="*/ 93043 h 574"/>
                <a:gd name="T18" fmla="*/ 276360 w 678"/>
                <a:gd name="T19" fmla="*/ 180859 h 574"/>
                <a:gd name="T20" fmla="*/ 199690 w 678"/>
                <a:gd name="T21" fmla="*/ 202813 h 574"/>
                <a:gd name="T22" fmla="*/ 199690 w 678"/>
                <a:gd name="T23" fmla="*/ 216926 h 574"/>
                <a:gd name="T24" fmla="*/ 197091 w 678"/>
                <a:gd name="T25" fmla="*/ 227381 h 574"/>
                <a:gd name="T26" fmla="*/ 192326 w 678"/>
                <a:gd name="T27" fmla="*/ 227381 h 574"/>
                <a:gd name="T28" fmla="*/ 187994 w 678"/>
                <a:gd name="T29" fmla="*/ 229994 h 574"/>
                <a:gd name="T30" fmla="*/ 184096 w 678"/>
                <a:gd name="T31" fmla="*/ 232608 h 574"/>
                <a:gd name="T32" fmla="*/ 179331 w 678"/>
                <a:gd name="T33" fmla="*/ 233653 h 574"/>
                <a:gd name="T34" fmla="*/ 178032 w 678"/>
                <a:gd name="T35" fmla="*/ 242017 h 574"/>
                <a:gd name="T36" fmla="*/ 177598 w 678"/>
                <a:gd name="T37" fmla="*/ 247767 h 574"/>
                <a:gd name="T38" fmla="*/ 174566 w 678"/>
                <a:gd name="T39" fmla="*/ 252471 h 574"/>
                <a:gd name="T40" fmla="*/ 158106 w 678"/>
                <a:gd name="T41" fmla="*/ 260312 h 574"/>
                <a:gd name="T42" fmla="*/ 142945 w 678"/>
                <a:gd name="T43" fmla="*/ 268152 h 574"/>
                <a:gd name="T44" fmla="*/ 135581 w 678"/>
                <a:gd name="T45" fmla="*/ 274425 h 574"/>
                <a:gd name="T46" fmla="*/ 119987 w 678"/>
                <a:gd name="T47" fmla="*/ 294811 h 574"/>
                <a:gd name="T48" fmla="*/ 111757 w 678"/>
                <a:gd name="T49" fmla="*/ 299515 h 574"/>
                <a:gd name="T50" fmla="*/ 103094 w 678"/>
                <a:gd name="T51" fmla="*/ 300038 h 574"/>
                <a:gd name="T52" fmla="*/ 83601 w 678"/>
                <a:gd name="T53" fmla="*/ 300038 h 574"/>
                <a:gd name="T54" fmla="*/ 80569 w 678"/>
                <a:gd name="T55" fmla="*/ 292197 h 574"/>
                <a:gd name="T56" fmla="*/ 71473 w 678"/>
                <a:gd name="T57" fmla="*/ 285925 h 574"/>
                <a:gd name="T58" fmla="*/ 57611 w 678"/>
                <a:gd name="T59" fmla="*/ 284879 h 574"/>
                <a:gd name="T60" fmla="*/ 40285 w 678"/>
                <a:gd name="T61" fmla="*/ 290629 h 574"/>
                <a:gd name="T62" fmla="*/ 14295 w 678"/>
                <a:gd name="T63" fmla="*/ 275470 h 574"/>
                <a:gd name="T64" fmla="*/ 0 w 678"/>
                <a:gd name="T65" fmla="*/ 148974 h 574"/>
                <a:gd name="T66" fmla="*/ 31621 w 678"/>
                <a:gd name="T67" fmla="*/ 149496 h 574"/>
                <a:gd name="T68" fmla="*/ 44616 w 678"/>
                <a:gd name="T69" fmla="*/ 147405 h 574"/>
                <a:gd name="T70" fmla="*/ 51547 w 678"/>
                <a:gd name="T71" fmla="*/ 143746 h 574"/>
                <a:gd name="T72" fmla="*/ 55879 w 678"/>
                <a:gd name="T73" fmla="*/ 133815 h 574"/>
                <a:gd name="T74" fmla="*/ 56745 w 678"/>
                <a:gd name="T75" fmla="*/ 119702 h 574"/>
                <a:gd name="T76" fmla="*/ 54579 w 678"/>
                <a:gd name="T77" fmla="*/ 96702 h 574"/>
                <a:gd name="T78" fmla="*/ 56312 w 678"/>
                <a:gd name="T79" fmla="*/ 86248 h 574"/>
                <a:gd name="T80" fmla="*/ 60643 w 678"/>
                <a:gd name="T81" fmla="*/ 89384 h 574"/>
                <a:gd name="T82" fmla="*/ 75371 w 678"/>
                <a:gd name="T83" fmla="*/ 91475 h 574"/>
                <a:gd name="T84" fmla="*/ 81435 w 678"/>
                <a:gd name="T85" fmla="*/ 97225 h 574"/>
                <a:gd name="T86" fmla="*/ 84468 w 678"/>
                <a:gd name="T87" fmla="*/ 105066 h 574"/>
                <a:gd name="T88" fmla="*/ 90099 w 678"/>
                <a:gd name="T89" fmla="*/ 109770 h 574"/>
                <a:gd name="T90" fmla="*/ 104393 w 678"/>
                <a:gd name="T91" fmla="*/ 113429 h 574"/>
                <a:gd name="T92" fmla="*/ 116522 w 678"/>
                <a:gd name="T93" fmla="*/ 111861 h 574"/>
                <a:gd name="T94" fmla="*/ 130383 w 678"/>
                <a:gd name="T95" fmla="*/ 104020 h 574"/>
                <a:gd name="T96" fmla="*/ 138180 w 678"/>
                <a:gd name="T97" fmla="*/ 102452 h 574"/>
                <a:gd name="T98" fmla="*/ 143378 w 678"/>
                <a:gd name="T99" fmla="*/ 100884 h 574"/>
                <a:gd name="T100" fmla="*/ 148576 w 678"/>
                <a:gd name="T101" fmla="*/ 99316 h 574"/>
                <a:gd name="T102" fmla="*/ 154641 w 678"/>
                <a:gd name="T103" fmla="*/ 95134 h 574"/>
                <a:gd name="T104" fmla="*/ 159405 w 678"/>
                <a:gd name="T105" fmla="*/ 87816 h 574"/>
                <a:gd name="T106" fmla="*/ 165903 w 678"/>
                <a:gd name="T107" fmla="*/ 65862 h 574"/>
                <a:gd name="T108" fmla="*/ 174566 w 678"/>
                <a:gd name="T109" fmla="*/ 24568 h 574"/>
                <a:gd name="T110" fmla="*/ 179331 w 678"/>
                <a:gd name="T111" fmla="*/ 5227 h 574"/>
                <a:gd name="T112" fmla="*/ 186695 w 678"/>
                <a:gd name="T113" fmla="*/ 3136 h 574"/>
                <a:gd name="T114" fmla="*/ 196225 w 678"/>
                <a:gd name="T115" fmla="*/ 4182 h 574"/>
                <a:gd name="T116" fmla="*/ 208786 w 678"/>
                <a:gd name="T117" fmla="*/ 523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8" name="Freeform 478">
              <a:extLst>
                <a:ext uri="{FF2B5EF4-FFF2-40B4-BE49-F238E27FC236}">
                  <a16:creationId xmlns:a16="http://schemas.microsoft.com/office/drawing/2014/main" id="{DC655247-49DF-4175-B5CC-B500B77C95B2}"/>
                </a:ext>
              </a:extLst>
            </p:cNvPr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4297358" y="4203667"/>
              <a:ext cx="350837" cy="380997"/>
            </a:xfrm>
            <a:custGeom>
              <a:avLst/>
              <a:gdLst>
                <a:gd name="T0" fmla="*/ 345206 w 810"/>
                <a:gd name="T1" fmla="*/ 22011 h 727"/>
                <a:gd name="T2" fmla="*/ 331779 w 810"/>
                <a:gd name="T3" fmla="*/ 13626 h 727"/>
                <a:gd name="T4" fmla="*/ 310989 w 810"/>
                <a:gd name="T5" fmla="*/ 17294 h 727"/>
                <a:gd name="T6" fmla="*/ 274606 w 810"/>
                <a:gd name="T7" fmla="*/ 23059 h 727"/>
                <a:gd name="T8" fmla="*/ 261612 w 810"/>
                <a:gd name="T9" fmla="*/ 28824 h 727"/>
                <a:gd name="T10" fmla="*/ 121277 w 810"/>
                <a:gd name="T11" fmla="*/ 20963 h 727"/>
                <a:gd name="T12" fmla="*/ 100487 w 810"/>
                <a:gd name="T13" fmla="*/ 19391 h 727"/>
                <a:gd name="T14" fmla="*/ 74499 w 810"/>
                <a:gd name="T15" fmla="*/ 8909 h 727"/>
                <a:gd name="T16" fmla="*/ 50243 w 810"/>
                <a:gd name="T17" fmla="*/ 0 h 727"/>
                <a:gd name="T18" fmla="*/ 35950 w 810"/>
                <a:gd name="T19" fmla="*/ 2620 h 727"/>
                <a:gd name="T20" fmla="*/ 22956 w 810"/>
                <a:gd name="T21" fmla="*/ 12578 h 727"/>
                <a:gd name="T22" fmla="*/ 0 w 810"/>
                <a:gd name="T23" fmla="*/ 28824 h 727"/>
                <a:gd name="T24" fmla="*/ 3032 w 810"/>
                <a:gd name="T25" fmla="*/ 35637 h 727"/>
                <a:gd name="T26" fmla="*/ 11261 w 810"/>
                <a:gd name="T27" fmla="*/ 38781 h 727"/>
                <a:gd name="T28" fmla="*/ 15593 w 810"/>
                <a:gd name="T29" fmla="*/ 67605 h 727"/>
                <a:gd name="T30" fmla="*/ 25988 w 810"/>
                <a:gd name="T31" fmla="*/ 100622 h 727"/>
                <a:gd name="T32" fmla="*/ 47211 w 810"/>
                <a:gd name="T33" fmla="*/ 144644 h 727"/>
                <a:gd name="T34" fmla="*/ 57607 w 810"/>
                <a:gd name="T35" fmla="*/ 157221 h 727"/>
                <a:gd name="T36" fmla="*/ 68868 w 810"/>
                <a:gd name="T37" fmla="*/ 158270 h 727"/>
                <a:gd name="T38" fmla="*/ 68868 w 810"/>
                <a:gd name="T39" fmla="*/ 173992 h 727"/>
                <a:gd name="T40" fmla="*/ 65836 w 810"/>
                <a:gd name="T41" fmla="*/ 188142 h 727"/>
                <a:gd name="T42" fmla="*/ 63237 w 810"/>
                <a:gd name="T43" fmla="*/ 206484 h 727"/>
                <a:gd name="T44" fmla="*/ 64970 w 810"/>
                <a:gd name="T45" fmla="*/ 222730 h 727"/>
                <a:gd name="T46" fmla="*/ 74932 w 810"/>
                <a:gd name="T47" fmla="*/ 253651 h 727"/>
                <a:gd name="T48" fmla="*/ 77531 w 810"/>
                <a:gd name="T49" fmla="*/ 271469 h 727"/>
                <a:gd name="T50" fmla="*/ 80996 w 810"/>
                <a:gd name="T51" fmla="*/ 317587 h 727"/>
                <a:gd name="T52" fmla="*/ 88359 w 810"/>
                <a:gd name="T53" fmla="*/ 339074 h 727"/>
                <a:gd name="T54" fmla="*/ 100054 w 810"/>
                <a:gd name="T55" fmla="*/ 361609 h 727"/>
                <a:gd name="T56" fmla="*/ 106117 w 810"/>
                <a:gd name="T57" fmla="*/ 366850 h 727"/>
                <a:gd name="T58" fmla="*/ 112181 w 810"/>
                <a:gd name="T59" fmla="*/ 374711 h 727"/>
                <a:gd name="T60" fmla="*/ 114780 w 810"/>
                <a:gd name="T61" fmla="*/ 355320 h 727"/>
                <a:gd name="T62" fmla="*/ 133405 w 810"/>
                <a:gd name="T63" fmla="*/ 364754 h 727"/>
                <a:gd name="T64" fmla="*/ 142067 w 810"/>
                <a:gd name="T65" fmla="*/ 373663 h 727"/>
                <a:gd name="T66" fmla="*/ 161125 w 810"/>
                <a:gd name="T67" fmla="*/ 380476 h 727"/>
                <a:gd name="T68" fmla="*/ 176285 w 810"/>
                <a:gd name="T69" fmla="*/ 378904 h 727"/>
                <a:gd name="T70" fmla="*/ 185814 w 810"/>
                <a:gd name="T71" fmla="*/ 372091 h 727"/>
                <a:gd name="T72" fmla="*/ 195776 w 810"/>
                <a:gd name="T73" fmla="*/ 353748 h 727"/>
                <a:gd name="T74" fmla="*/ 200540 w 810"/>
                <a:gd name="T75" fmla="*/ 277234 h 727"/>
                <a:gd name="T76" fmla="*/ 201406 w 810"/>
                <a:gd name="T77" fmla="*/ 251554 h 727"/>
                <a:gd name="T78" fmla="*/ 204005 w 810"/>
                <a:gd name="T79" fmla="*/ 245790 h 727"/>
                <a:gd name="T80" fmla="*/ 200540 w 810"/>
                <a:gd name="T81" fmla="*/ 223254 h 727"/>
                <a:gd name="T82" fmla="*/ 203139 w 810"/>
                <a:gd name="T83" fmla="*/ 192858 h 727"/>
                <a:gd name="T84" fmla="*/ 216566 w 810"/>
                <a:gd name="T85" fmla="*/ 172944 h 727"/>
                <a:gd name="T86" fmla="*/ 227394 w 810"/>
                <a:gd name="T87" fmla="*/ 167703 h 727"/>
                <a:gd name="T88" fmla="*/ 233025 w 810"/>
                <a:gd name="T89" fmla="*/ 121585 h 727"/>
                <a:gd name="T90" fmla="*/ 238656 w 810"/>
                <a:gd name="T91" fmla="*/ 77563 h 727"/>
                <a:gd name="T92" fmla="*/ 234324 w 810"/>
                <a:gd name="T93" fmla="*/ 64985 h 727"/>
                <a:gd name="T94" fmla="*/ 229993 w 810"/>
                <a:gd name="T95" fmla="*/ 51883 h 727"/>
                <a:gd name="T96" fmla="*/ 233458 w 810"/>
                <a:gd name="T97" fmla="*/ 45070 h 727"/>
                <a:gd name="T98" fmla="*/ 267243 w 810"/>
                <a:gd name="T99" fmla="*/ 41926 h 727"/>
                <a:gd name="T100" fmla="*/ 306658 w 810"/>
                <a:gd name="T101" fmla="*/ 33017 h 727"/>
                <a:gd name="T102" fmla="*/ 347805 w 810"/>
                <a:gd name="T103" fmla="*/ 31968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19" name="Freeform 479">
              <a:extLst>
                <a:ext uri="{FF2B5EF4-FFF2-40B4-BE49-F238E27FC236}">
                  <a16:creationId xmlns:a16="http://schemas.microsoft.com/office/drawing/2014/main" id="{ECC21DEE-7DB1-471D-8ABE-94692DDB485C}"/>
                </a:ext>
              </a:extLst>
            </p:cNvPr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3576634" y="3133700"/>
              <a:ext cx="161924" cy="141287"/>
            </a:xfrm>
            <a:custGeom>
              <a:avLst/>
              <a:gdLst>
                <a:gd name="T0" fmla="*/ 90057 w 365"/>
                <a:gd name="T1" fmla="*/ 130339 h 271"/>
                <a:gd name="T2" fmla="*/ 72312 w 365"/>
                <a:gd name="T3" fmla="*/ 128254 h 271"/>
                <a:gd name="T4" fmla="*/ 53679 w 365"/>
                <a:gd name="T5" fmla="*/ 128775 h 271"/>
                <a:gd name="T6" fmla="*/ 40814 w 365"/>
                <a:gd name="T7" fmla="*/ 130339 h 271"/>
                <a:gd name="T8" fmla="*/ 32829 w 365"/>
                <a:gd name="T9" fmla="*/ 132946 h 271"/>
                <a:gd name="T10" fmla="*/ 11534 w 365"/>
                <a:gd name="T11" fmla="*/ 141288 h 271"/>
                <a:gd name="T12" fmla="*/ 8873 w 365"/>
                <a:gd name="T13" fmla="*/ 140767 h 271"/>
                <a:gd name="T14" fmla="*/ 7542 w 365"/>
                <a:gd name="T15" fmla="*/ 138681 h 271"/>
                <a:gd name="T16" fmla="*/ 7985 w 365"/>
                <a:gd name="T17" fmla="*/ 132425 h 271"/>
                <a:gd name="T18" fmla="*/ 11534 w 365"/>
                <a:gd name="T19" fmla="*/ 118870 h 271"/>
                <a:gd name="T20" fmla="*/ 27061 w 365"/>
                <a:gd name="T21" fmla="*/ 117827 h 271"/>
                <a:gd name="T22" fmla="*/ 39483 w 365"/>
                <a:gd name="T23" fmla="*/ 115741 h 271"/>
                <a:gd name="T24" fmla="*/ 51017 w 365"/>
                <a:gd name="T25" fmla="*/ 113656 h 271"/>
                <a:gd name="T26" fmla="*/ 64770 w 365"/>
                <a:gd name="T27" fmla="*/ 112613 h 271"/>
                <a:gd name="T28" fmla="*/ 80741 w 365"/>
                <a:gd name="T29" fmla="*/ 113656 h 271"/>
                <a:gd name="T30" fmla="*/ 88282 w 365"/>
                <a:gd name="T31" fmla="*/ 113656 h 271"/>
                <a:gd name="T32" fmla="*/ 97155 w 365"/>
                <a:gd name="T33" fmla="*/ 112613 h 271"/>
                <a:gd name="T34" fmla="*/ 95380 w 365"/>
                <a:gd name="T35" fmla="*/ 108442 h 271"/>
                <a:gd name="T36" fmla="*/ 93162 w 365"/>
                <a:gd name="T37" fmla="*/ 104793 h 271"/>
                <a:gd name="T38" fmla="*/ 86508 w 365"/>
                <a:gd name="T39" fmla="*/ 101143 h 271"/>
                <a:gd name="T40" fmla="*/ 77635 w 365"/>
                <a:gd name="T41" fmla="*/ 99579 h 271"/>
                <a:gd name="T42" fmla="*/ 67432 w 365"/>
                <a:gd name="T43" fmla="*/ 99058 h 271"/>
                <a:gd name="T44" fmla="*/ 41258 w 365"/>
                <a:gd name="T45" fmla="*/ 100101 h 271"/>
                <a:gd name="T46" fmla="*/ 28392 w 365"/>
                <a:gd name="T47" fmla="*/ 102186 h 271"/>
                <a:gd name="T48" fmla="*/ 14640 w 365"/>
                <a:gd name="T49" fmla="*/ 105836 h 271"/>
                <a:gd name="T50" fmla="*/ 16858 w 365"/>
                <a:gd name="T51" fmla="*/ 95409 h 271"/>
                <a:gd name="T52" fmla="*/ 17302 w 365"/>
                <a:gd name="T53" fmla="*/ 89674 h 271"/>
                <a:gd name="T54" fmla="*/ 11534 w 365"/>
                <a:gd name="T55" fmla="*/ 85503 h 271"/>
                <a:gd name="T56" fmla="*/ 5767 w 365"/>
                <a:gd name="T57" fmla="*/ 83417 h 271"/>
                <a:gd name="T58" fmla="*/ 4880 w 365"/>
                <a:gd name="T59" fmla="*/ 76640 h 271"/>
                <a:gd name="T60" fmla="*/ 2662 w 365"/>
                <a:gd name="T61" fmla="*/ 74554 h 271"/>
                <a:gd name="T62" fmla="*/ 887 w 365"/>
                <a:gd name="T63" fmla="*/ 73511 h 271"/>
                <a:gd name="T64" fmla="*/ 0 w 365"/>
                <a:gd name="T65" fmla="*/ 70383 h 271"/>
                <a:gd name="T66" fmla="*/ 2218 w 365"/>
                <a:gd name="T67" fmla="*/ 59956 h 271"/>
                <a:gd name="T68" fmla="*/ 7542 w 365"/>
                <a:gd name="T69" fmla="*/ 47965 h 271"/>
                <a:gd name="T70" fmla="*/ 13309 w 365"/>
                <a:gd name="T71" fmla="*/ 35974 h 271"/>
                <a:gd name="T72" fmla="*/ 17302 w 365"/>
                <a:gd name="T73" fmla="*/ 25547 h 271"/>
                <a:gd name="T74" fmla="*/ 21294 w 365"/>
                <a:gd name="T75" fmla="*/ 21897 h 271"/>
                <a:gd name="T76" fmla="*/ 21738 w 365"/>
                <a:gd name="T77" fmla="*/ 25025 h 271"/>
                <a:gd name="T78" fmla="*/ 23069 w 365"/>
                <a:gd name="T79" fmla="*/ 18769 h 271"/>
                <a:gd name="T80" fmla="*/ 33272 w 365"/>
                <a:gd name="T81" fmla="*/ 16162 h 271"/>
                <a:gd name="T82" fmla="*/ 50574 w 365"/>
                <a:gd name="T83" fmla="*/ 9384 h 271"/>
                <a:gd name="T84" fmla="*/ 73199 w 365"/>
                <a:gd name="T85" fmla="*/ 0 h 271"/>
                <a:gd name="T86" fmla="*/ 81628 w 365"/>
                <a:gd name="T87" fmla="*/ 7820 h 271"/>
                <a:gd name="T88" fmla="*/ 89613 w 365"/>
                <a:gd name="T89" fmla="*/ 12513 h 271"/>
                <a:gd name="T90" fmla="*/ 97599 w 365"/>
                <a:gd name="T91" fmla="*/ 15119 h 271"/>
                <a:gd name="T92" fmla="*/ 106028 w 365"/>
                <a:gd name="T93" fmla="*/ 15641 h 271"/>
                <a:gd name="T94" fmla="*/ 106915 w 365"/>
                <a:gd name="T95" fmla="*/ 27111 h 271"/>
                <a:gd name="T96" fmla="*/ 109577 w 365"/>
                <a:gd name="T97" fmla="*/ 35974 h 271"/>
                <a:gd name="T98" fmla="*/ 112682 w 365"/>
                <a:gd name="T99" fmla="*/ 43794 h 271"/>
                <a:gd name="T100" fmla="*/ 117118 w 365"/>
                <a:gd name="T101" fmla="*/ 49529 h 271"/>
                <a:gd name="T102" fmla="*/ 135307 w 365"/>
                <a:gd name="T103" fmla="*/ 67255 h 271"/>
                <a:gd name="T104" fmla="*/ 156158 w 365"/>
                <a:gd name="T105" fmla="*/ 121998 h 271"/>
                <a:gd name="T106" fmla="*/ 159263 w 365"/>
                <a:gd name="T107" fmla="*/ 133989 h 271"/>
                <a:gd name="T108" fmla="*/ 161925 w 365"/>
                <a:gd name="T109" fmla="*/ 141288 h 271"/>
                <a:gd name="T110" fmla="*/ 142405 w 365"/>
                <a:gd name="T111" fmla="*/ 135032 h 271"/>
                <a:gd name="T112" fmla="*/ 121998 w 365"/>
                <a:gd name="T113" fmla="*/ 131382 h 271"/>
                <a:gd name="T114" fmla="*/ 110020 w 365"/>
                <a:gd name="T115" fmla="*/ 130861 h 271"/>
                <a:gd name="T116" fmla="*/ 97155 w 365"/>
                <a:gd name="T117" fmla="*/ 131382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20" name="Freeform 480">
              <a:extLst>
                <a:ext uri="{FF2B5EF4-FFF2-40B4-BE49-F238E27FC236}">
                  <a16:creationId xmlns:a16="http://schemas.microsoft.com/office/drawing/2014/main" id="{39DCCD16-B1E7-430A-8249-1C8CE7A7217B}"/>
                </a:ext>
              </a:extLst>
            </p:cNvPr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4749794" y="3695671"/>
              <a:ext cx="269875" cy="334960"/>
            </a:xfrm>
            <a:custGeom>
              <a:avLst/>
              <a:gdLst>
                <a:gd name="T0" fmla="*/ 63144 w 624"/>
                <a:gd name="T1" fmla="*/ 6281 h 640"/>
                <a:gd name="T2" fmla="*/ 103366 w 624"/>
                <a:gd name="T3" fmla="*/ 6281 h 640"/>
                <a:gd name="T4" fmla="*/ 124125 w 624"/>
                <a:gd name="T5" fmla="*/ 2617 h 640"/>
                <a:gd name="T6" fmla="*/ 140992 w 624"/>
                <a:gd name="T7" fmla="*/ 11514 h 640"/>
                <a:gd name="T8" fmla="*/ 171267 w 624"/>
                <a:gd name="T9" fmla="*/ 34543 h 640"/>
                <a:gd name="T10" fmla="*/ 201109 w 624"/>
                <a:gd name="T11" fmla="*/ 58095 h 640"/>
                <a:gd name="T12" fmla="*/ 202839 w 624"/>
                <a:gd name="T13" fmla="*/ 68563 h 640"/>
                <a:gd name="T14" fmla="*/ 207596 w 624"/>
                <a:gd name="T15" fmla="*/ 80077 h 640"/>
                <a:gd name="T16" fmla="*/ 214949 w 624"/>
                <a:gd name="T17" fmla="*/ 88975 h 640"/>
                <a:gd name="T18" fmla="*/ 224463 w 624"/>
                <a:gd name="T19" fmla="*/ 95778 h 640"/>
                <a:gd name="T20" fmla="*/ 234843 w 624"/>
                <a:gd name="T21" fmla="*/ 99442 h 640"/>
                <a:gd name="T22" fmla="*/ 239601 w 624"/>
                <a:gd name="T23" fmla="*/ 102059 h 640"/>
                <a:gd name="T24" fmla="*/ 244358 w 624"/>
                <a:gd name="T25" fmla="*/ 107293 h 640"/>
                <a:gd name="T26" fmla="*/ 242628 w 624"/>
                <a:gd name="T27" fmla="*/ 118807 h 640"/>
                <a:gd name="T28" fmla="*/ 232248 w 624"/>
                <a:gd name="T29" fmla="*/ 131892 h 640"/>
                <a:gd name="T30" fmla="*/ 227058 w 624"/>
                <a:gd name="T31" fmla="*/ 141836 h 640"/>
                <a:gd name="T32" fmla="*/ 230518 w 624"/>
                <a:gd name="T33" fmla="*/ 150210 h 640"/>
                <a:gd name="T34" fmla="*/ 236573 w 624"/>
                <a:gd name="T35" fmla="*/ 156491 h 640"/>
                <a:gd name="T36" fmla="*/ 238736 w 624"/>
                <a:gd name="T37" fmla="*/ 222436 h 640"/>
                <a:gd name="T38" fmla="*/ 237871 w 624"/>
                <a:gd name="T39" fmla="*/ 229764 h 640"/>
                <a:gd name="T40" fmla="*/ 241331 w 624"/>
                <a:gd name="T41" fmla="*/ 241801 h 640"/>
                <a:gd name="T42" fmla="*/ 241331 w 624"/>
                <a:gd name="T43" fmla="*/ 255933 h 640"/>
                <a:gd name="T44" fmla="*/ 242628 w 624"/>
                <a:gd name="T45" fmla="*/ 269541 h 640"/>
                <a:gd name="T46" fmla="*/ 256900 w 624"/>
                <a:gd name="T47" fmla="*/ 287335 h 640"/>
                <a:gd name="T48" fmla="*/ 266415 w 624"/>
                <a:gd name="T49" fmla="*/ 303037 h 640"/>
                <a:gd name="T50" fmla="*/ 248683 w 624"/>
                <a:gd name="T51" fmla="*/ 314028 h 640"/>
                <a:gd name="T52" fmla="*/ 212354 w 624"/>
                <a:gd name="T53" fmla="*/ 330253 h 640"/>
                <a:gd name="T54" fmla="*/ 191594 w 624"/>
                <a:gd name="T55" fmla="*/ 333916 h 640"/>
                <a:gd name="T56" fmla="*/ 169537 w 624"/>
                <a:gd name="T57" fmla="*/ 328682 h 640"/>
                <a:gd name="T58" fmla="*/ 146615 w 624"/>
                <a:gd name="T59" fmla="*/ 331299 h 640"/>
                <a:gd name="T60" fmla="*/ 132343 w 624"/>
                <a:gd name="T61" fmla="*/ 328682 h 640"/>
                <a:gd name="T62" fmla="*/ 129315 w 624"/>
                <a:gd name="T63" fmla="*/ 321355 h 640"/>
                <a:gd name="T64" fmla="*/ 127153 w 624"/>
                <a:gd name="T65" fmla="*/ 299897 h 640"/>
                <a:gd name="T66" fmla="*/ 124558 w 624"/>
                <a:gd name="T67" fmla="*/ 276868 h 640"/>
                <a:gd name="T68" fmla="*/ 109420 w 624"/>
                <a:gd name="T69" fmla="*/ 270587 h 640"/>
                <a:gd name="T70" fmla="*/ 80011 w 624"/>
                <a:gd name="T71" fmla="*/ 262737 h 640"/>
                <a:gd name="T72" fmla="*/ 38924 w 624"/>
                <a:gd name="T73" fmla="*/ 240231 h 640"/>
                <a:gd name="T74" fmla="*/ 29409 w 624"/>
                <a:gd name="T75" fmla="*/ 233427 h 640"/>
                <a:gd name="T76" fmla="*/ 28544 w 624"/>
                <a:gd name="T77" fmla="*/ 224007 h 640"/>
                <a:gd name="T78" fmla="*/ 28112 w 624"/>
                <a:gd name="T79" fmla="*/ 210399 h 640"/>
                <a:gd name="T80" fmla="*/ 22922 w 624"/>
                <a:gd name="T81" fmla="*/ 197314 h 640"/>
                <a:gd name="T82" fmla="*/ 17732 w 624"/>
                <a:gd name="T83" fmla="*/ 186847 h 640"/>
                <a:gd name="T84" fmla="*/ 11677 w 624"/>
                <a:gd name="T85" fmla="*/ 181613 h 640"/>
                <a:gd name="T86" fmla="*/ 5190 w 624"/>
                <a:gd name="T87" fmla="*/ 173762 h 640"/>
                <a:gd name="T88" fmla="*/ 2162 w 624"/>
                <a:gd name="T89" fmla="*/ 161201 h 640"/>
                <a:gd name="T90" fmla="*/ 0 w 624"/>
                <a:gd name="T91" fmla="*/ 137125 h 640"/>
                <a:gd name="T92" fmla="*/ 0 w 624"/>
                <a:gd name="T93" fmla="*/ 122471 h 640"/>
                <a:gd name="T94" fmla="*/ 4325 w 624"/>
                <a:gd name="T95" fmla="*/ 110956 h 640"/>
                <a:gd name="T96" fmla="*/ 16435 w 624"/>
                <a:gd name="T97" fmla="*/ 102059 h 640"/>
                <a:gd name="T98" fmla="*/ 26382 w 624"/>
                <a:gd name="T99" fmla="*/ 90545 h 640"/>
                <a:gd name="T100" fmla="*/ 33302 w 624"/>
                <a:gd name="T101" fmla="*/ 40300 h 640"/>
                <a:gd name="T102" fmla="*/ 36329 w 624"/>
                <a:gd name="T103" fmla="*/ 22505 h 640"/>
                <a:gd name="T104" fmla="*/ 35464 w 624"/>
                <a:gd name="T105" fmla="*/ 418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21" name="Freeform 481">
              <a:extLst>
                <a:ext uri="{FF2B5EF4-FFF2-40B4-BE49-F238E27FC236}">
                  <a16:creationId xmlns:a16="http://schemas.microsoft.com/office/drawing/2014/main" id="{D4BB0886-4FAD-4B2E-9AAE-3922E808CFF7}"/>
                </a:ext>
              </a:extLst>
            </p:cNvPr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7313604" y="2209783"/>
              <a:ext cx="19050" cy="57150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23" name="Freeform 483">
              <a:extLst>
                <a:ext uri="{FF2B5EF4-FFF2-40B4-BE49-F238E27FC236}">
                  <a16:creationId xmlns:a16="http://schemas.microsoft.com/office/drawing/2014/main" id="{E1001438-E8F5-42D5-B44D-02DEC45AB67E}"/>
                </a:ext>
              </a:extLst>
            </p:cNvPr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7142154" y="2565380"/>
              <a:ext cx="52387" cy="57150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31" name="Freeform 491">
              <a:extLst>
                <a:ext uri="{FF2B5EF4-FFF2-40B4-BE49-F238E27FC236}">
                  <a16:creationId xmlns:a16="http://schemas.microsoft.com/office/drawing/2014/main" id="{A4DC720C-A4A4-4CA2-91C0-1115E871DF21}"/>
                </a:ext>
              </a:extLst>
            </p:cNvPr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332407" y="1225541"/>
              <a:ext cx="14287" cy="60325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32" name="Freeform 492">
              <a:extLst>
                <a:ext uri="{FF2B5EF4-FFF2-40B4-BE49-F238E27FC236}">
                  <a16:creationId xmlns:a16="http://schemas.microsoft.com/office/drawing/2014/main" id="{63D8C82B-121E-4B27-8E76-5621CA986278}"/>
                </a:ext>
              </a:extLst>
            </p:cNvPr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476868" y="1341428"/>
              <a:ext cx="17463" cy="57150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37" name="Freeform 497">
              <a:extLst>
                <a:ext uri="{FF2B5EF4-FFF2-40B4-BE49-F238E27FC236}">
                  <a16:creationId xmlns:a16="http://schemas.microsoft.com/office/drawing/2014/main" id="{6B13F598-D5AC-472F-9DB0-F55507552045}"/>
                </a:ext>
              </a:extLst>
            </p:cNvPr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6302367" y="1408102"/>
              <a:ext cx="33338" cy="57150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39" name="Freeform 499">
              <a:extLst>
                <a:ext uri="{FF2B5EF4-FFF2-40B4-BE49-F238E27FC236}">
                  <a16:creationId xmlns:a16="http://schemas.microsoft.com/office/drawing/2014/main" id="{C3F69B65-BC47-47A8-BBF7-4DB49E009D88}"/>
                </a:ext>
              </a:extLst>
            </p:cNvPr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6103930" y="1392227"/>
              <a:ext cx="61912" cy="58737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42" name="Freeform 502">
              <a:extLst>
                <a:ext uri="{FF2B5EF4-FFF2-40B4-BE49-F238E27FC236}">
                  <a16:creationId xmlns:a16="http://schemas.microsoft.com/office/drawing/2014/main" id="{7C1DBD5E-8087-472D-AD53-4752FACDEE27}"/>
                </a:ext>
              </a:extLst>
            </p:cNvPr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6524617" y="1389052"/>
              <a:ext cx="63500" cy="58737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43" name="Freeform 503">
              <a:extLst>
                <a:ext uri="{FF2B5EF4-FFF2-40B4-BE49-F238E27FC236}">
                  <a16:creationId xmlns:a16="http://schemas.microsoft.com/office/drawing/2014/main" id="{5ED51A77-082C-4D8B-A437-0BBC4515C057}"/>
                </a:ext>
              </a:extLst>
            </p:cNvPr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6503980" y="1385877"/>
              <a:ext cx="20637" cy="58737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44" name="Line 504">
              <a:extLst>
                <a:ext uri="{FF2B5EF4-FFF2-40B4-BE49-F238E27FC236}">
                  <a16:creationId xmlns:a16="http://schemas.microsoft.com/office/drawing/2014/main" id="{3E45BD17-F215-4C03-ACC5-BBCB905D6760}"/>
                </a:ext>
              </a:extLst>
            </p:cNvPr>
            <p:cNvSpPr>
              <a:spLocks noChangeShapeType="1"/>
            </p:cNvSpPr>
            <p:nvPr>
              <p:custDataLst>
                <p:tags r:id="rId297"/>
              </p:custDataLst>
            </p:nvPr>
          </p:nvSpPr>
          <p:spPr bwMode="auto">
            <a:xfrm flipV="1">
              <a:off x="6505567" y="1384289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46" name="Freeform 506">
              <a:extLst>
                <a:ext uri="{FF2B5EF4-FFF2-40B4-BE49-F238E27FC236}">
                  <a16:creationId xmlns:a16="http://schemas.microsoft.com/office/drawing/2014/main" id="{F6DA43C5-C0AD-4291-862A-1DD78D500C61}"/>
                </a:ext>
              </a:extLst>
            </p:cNvPr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6424605" y="1384289"/>
              <a:ext cx="9525" cy="57150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47" name="Freeform 507">
              <a:extLst>
                <a:ext uri="{FF2B5EF4-FFF2-40B4-BE49-F238E27FC236}">
                  <a16:creationId xmlns:a16="http://schemas.microsoft.com/office/drawing/2014/main" id="{487C1B99-EABC-4AA2-BB7F-BCFA7D10DCCA}"/>
                </a:ext>
              </a:extLst>
            </p:cNvPr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6378567" y="1347777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48" name="Freeform 508">
              <a:extLst>
                <a:ext uri="{FF2B5EF4-FFF2-40B4-BE49-F238E27FC236}">
                  <a16:creationId xmlns:a16="http://schemas.microsoft.com/office/drawing/2014/main" id="{C69D0542-6A39-4A18-9501-844E23961093}"/>
                </a:ext>
              </a:extLst>
            </p:cNvPr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6878629" y="1917684"/>
              <a:ext cx="12700" cy="58738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49" name="Freeform 509">
              <a:extLst>
                <a:ext uri="{FF2B5EF4-FFF2-40B4-BE49-F238E27FC236}">
                  <a16:creationId xmlns:a16="http://schemas.microsoft.com/office/drawing/2014/main" id="{55D77BF3-5357-4276-859B-CE876379B7E5}"/>
                </a:ext>
              </a:extLst>
            </p:cNvPr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7172316" y="1439852"/>
              <a:ext cx="55563" cy="58737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50" name="Freeform 510">
              <a:extLst>
                <a:ext uri="{FF2B5EF4-FFF2-40B4-BE49-F238E27FC236}">
                  <a16:creationId xmlns:a16="http://schemas.microsoft.com/office/drawing/2014/main" id="{D988E16A-C85E-4EFA-BACA-F1B57B6D69E5}"/>
                </a:ext>
              </a:extLst>
            </p:cNvPr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7308841" y="1792274"/>
              <a:ext cx="14288" cy="57150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51" name="Freeform 511">
              <a:extLst>
                <a:ext uri="{FF2B5EF4-FFF2-40B4-BE49-F238E27FC236}">
                  <a16:creationId xmlns:a16="http://schemas.microsoft.com/office/drawing/2014/main" id="{69BBBFC3-EDA8-41C0-AB30-F23E747B64E0}"/>
                </a:ext>
              </a:extLst>
            </p:cNvPr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7458066" y="1904985"/>
              <a:ext cx="42863" cy="60325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52" name="Freeform 512">
              <a:extLst>
                <a:ext uri="{FF2B5EF4-FFF2-40B4-BE49-F238E27FC236}">
                  <a16:creationId xmlns:a16="http://schemas.microsoft.com/office/drawing/2014/main" id="{CB56F27F-1E69-4C73-8DFF-B949507568B3}"/>
                </a:ext>
              </a:extLst>
            </p:cNvPr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7508866" y="1920860"/>
              <a:ext cx="19050" cy="58738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53" name="Freeform 513">
              <a:extLst>
                <a:ext uri="{FF2B5EF4-FFF2-40B4-BE49-F238E27FC236}">
                  <a16:creationId xmlns:a16="http://schemas.microsoft.com/office/drawing/2014/main" id="{A82A9946-A537-4E04-B8BF-7D6F39C8A847}"/>
                </a:ext>
              </a:extLst>
            </p:cNvPr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7373929" y="2047859"/>
              <a:ext cx="14287" cy="57150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54" name="Freeform 514">
              <a:extLst>
                <a:ext uri="{FF2B5EF4-FFF2-40B4-BE49-F238E27FC236}">
                  <a16:creationId xmlns:a16="http://schemas.microsoft.com/office/drawing/2014/main" id="{3FD61CEC-F094-4A24-B793-E9E70DDE8F3A}"/>
                </a:ext>
              </a:extLst>
            </p:cNvPr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7385041" y="2076433"/>
              <a:ext cx="3175" cy="60325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55" name="Freeform 515">
              <a:extLst>
                <a:ext uri="{FF2B5EF4-FFF2-40B4-BE49-F238E27FC236}">
                  <a16:creationId xmlns:a16="http://schemas.microsoft.com/office/drawing/2014/main" id="{425DE00A-FC9D-446A-AE6E-79BC0D6262AE}"/>
                </a:ext>
              </a:extLst>
            </p:cNvPr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7372341" y="2158983"/>
              <a:ext cx="9525" cy="55562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56" name="Freeform 516">
              <a:extLst>
                <a:ext uri="{FF2B5EF4-FFF2-40B4-BE49-F238E27FC236}">
                  <a16:creationId xmlns:a16="http://schemas.microsoft.com/office/drawing/2014/main" id="{6868653C-DDAA-4FD7-9140-9EAE12A10522}"/>
                </a:ext>
              </a:extLst>
            </p:cNvPr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7350116" y="2193907"/>
              <a:ext cx="0" cy="58738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57" name="Freeform 517">
              <a:extLst>
                <a:ext uri="{FF2B5EF4-FFF2-40B4-BE49-F238E27FC236}">
                  <a16:creationId xmlns:a16="http://schemas.microsoft.com/office/drawing/2014/main" id="{A1187282-5B90-4D1B-B916-110DF0E2CE6D}"/>
                </a:ext>
              </a:extLst>
            </p:cNvPr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7350116" y="2193907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58" name="Freeform 518">
              <a:extLst>
                <a:ext uri="{FF2B5EF4-FFF2-40B4-BE49-F238E27FC236}">
                  <a16:creationId xmlns:a16="http://schemas.microsoft.com/office/drawing/2014/main" id="{A1DBF1A0-941A-4229-86BC-FE5B27B33977}"/>
                </a:ext>
              </a:extLst>
            </p:cNvPr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7104054" y="1781161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59" name="Freeform 519">
              <a:extLst>
                <a:ext uri="{FF2B5EF4-FFF2-40B4-BE49-F238E27FC236}">
                  <a16:creationId xmlns:a16="http://schemas.microsoft.com/office/drawing/2014/main" id="{F31B7D9B-AFC6-4894-94C3-9E7AA1AEE178}"/>
                </a:ext>
              </a:extLst>
            </p:cNvPr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419595" y="1920860"/>
              <a:ext cx="47625" cy="58738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62" name="Freeform 522">
              <a:extLst>
                <a:ext uri="{FF2B5EF4-FFF2-40B4-BE49-F238E27FC236}">
                  <a16:creationId xmlns:a16="http://schemas.microsoft.com/office/drawing/2014/main" id="{B49774DB-A606-4127-B8E0-1779BBAB2E16}"/>
                </a:ext>
              </a:extLst>
            </p:cNvPr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4695820" y="1636700"/>
              <a:ext cx="31750" cy="55562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63" name="Freeform 523">
              <a:extLst>
                <a:ext uri="{FF2B5EF4-FFF2-40B4-BE49-F238E27FC236}">
                  <a16:creationId xmlns:a16="http://schemas.microsoft.com/office/drawing/2014/main" id="{F0D2F2A9-1D02-40F0-A746-D40B7E1D9BDB}"/>
                </a:ext>
              </a:extLst>
            </p:cNvPr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7000867" y="1933560"/>
              <a:ext cx="196850" cy="268286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364" name="Group 524">
              <a:extLst>
                <a:ext uri="{FF2B5EF4-FFF2-40B4-BE49-F238E27FC236}">
                  <a16:creationId xmlns:a16="http://schemas.microsoft.com/office/drawing/2014/main" id="{AAC0E25B-89A9-46DF-8448-88494B3D9F71}"/>
                </a:ext>
              </a:extLst>
            </p:cNvPr>
            <p:cNvGrpSpPr>
              <a:grpSpLocks/>
            </p:cNvGrpSpPr>
            <p:nvPr>
              <p:custDataLst>
                <p:tags r:id="rId314"/>
              </p:custDataLst>
            </p:nvPr>
          </p:nvGrpSpPr>
          <p:grpSpPr bwMode="auto">
            <a:xfrm>
              <a:off x="5791193" y="1889110"/>
              <a:ext cx="671512" cy="384172"/>
              <a:chOff x="4115" y="1551"/>
              <a:chExt cx="504" cy="244"/>
            </a:xfrm>
          </p:grpSpPr>
          <p:sp>
            <p:nvSpPr>
              <p:cNvPr id="389" name="Freeform 525">
                <a:extLst>
                  <a:ext uri="{FF2B5EF4-FFF2-40B4-BE49-F238E27FC236}">
                    <a16:creationId xmlns:a16="http://schemas.microsoft.com/office/drawing/2014/main" id="{A5257870-25EA-4702-B534-7067FD6A90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90" name="Freeform 526">
                <a:extLst>
                  <a:ext uri="{FF2B5EF4-FFF2-40B4-BE49-F238E27FC236}">
                    <a16:creationId xmlns:a16="http://schemas.microsoft.com/office/drawing/2014/main" id="{377546DB-792E-4989-B0E4-4C2DCC8C7B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365" name="Freeform 527">
              <a:extLst>
                <a:ext uri="{FF2B5EF4-FFF2-40B4-BE49-F238E27FC236}">
                  <a16:creationId xmlns:a16="http://schemas.microsoft.com/office/drawing/2014/main" id="{F389474D-3210-4180-B72A-4C8094FC8793}"/>
                </a:ext>
              </a:extLst>
            </p:cNvPr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4848219" y="2638404"/>
              <a:ext cx="530224" cy="511171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66" name="Freeform 528">
              <a:extLst>
                <a:ext uri="{FF2B5EF4-FFF2-40B4-BE49-F238E27FC236}">
                  <a16:creationId xmlns:a16="http://schemas.microsoft.com/office/drawing/2014/main" id="{4F5B8C77-5B98-4E17-A1E7-F5C18C9F2046}"/>
                </a:ext>
              </a:extLst>
            </p:cNvPr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4322758" y="2182795"/>
              <a:ext cx="57150" cy="57150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67" name="Freeform 529">
              <a:extLst>
                <a:ext uri="{FF2B5EF4-FFF2-40B4-BE49-F238E27FC236}">
                  <a16:creationId xmlns:a16="http://schemas.microsoft.com/office/drawing/2014/main" id="{E049FD1F-4A48-4858-97E3-42ADAA95C341}"/>
                </a:ext>
              </a:extLst>
            </p:cNvPr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4062408" y="2395518"/>
              <a:ext cx="15875" cy="57150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68" name="Freeform 530">
              <a:extLst>
                <a:ext uri="{FF2B5EF4-FFF2-40B4-BE49-F238E27FC236}">
                  <a16:creationId xmlns:a16="http://schemas.microsoft.com/office/drawing/2014/main" id="{84A5482E-3835-4761-A607-F1A9FD1F7E42}"/>
                </a:ext>
              </a:extLst>
            </p:cNvPr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3654421" y="2741591"/>
              <a:ext cx="28575" cy="57150"/>
            </a:xfrm>
            <a:custGeom>
              <a:avLst/>
              <a:gdLst>
                <a:gd name="T0" fmla="*/ 28575 w 60"/>
                <a:gd name="T1" fmla="*/ 0 h 74"/>
                <a:gd name="T2" fmla="*/ 26670 w 60"/>
                <a:gd name="T3" fmla="*/ 3089 h 74"/>
                <a:gd name="T4" fmla="*/ 24289 w 60"/>
                <a:gd name="T5" fmla="*/ 7723 h 74"/>
                <a:gd name="T6" fmla="*/ 22860 w 60"/>
                <a:gd name="T7" fmla="*/ 11584 h 74"/>
                <a:gd name="T8" fmla="*/ 21908 w 60"/>
                <a:gd name="T9" fmla="*/ 16218 h 74"/>
                <a:gd name="T10" fmla="*/ 19526 w 60"/>
                <a:gd name="T11" fmla="*/ 23941 h 74"/>
                <a:gd name="T12" fmla="*/ 17621 w 60"/>
                <a:gd name="T13" fmla="*/ 32436 h 74"/>
                <a:gd name="T14" fmla="*/ 16669 w 60"/>
                <a:gd name="T15" fmla="*/ 36298 h 74"/>
                <a:gd name="T16" fmla="*/ 15240 w 60"/>
                <a:gd name="T17" fmla="*/ 39387 h 74"/>
                <a:gd name="T18" fmla="*/ 13811 w 60"/>
                <a:gd name="T19" fmla="*/ 43249 h 74"/>
                <a:gd name="T20" fmla="*/ 11906 w 60"/>
                <a:gd name="T21" fmla="*/ 46338 h 74"/>
                <a:gd name="T22" fmla="*/ 9525 w 60"/>
                <a:gd name="T23" fmla="*/ 50199 h 74"/>
                <a:gd name="T24" fmla="*/ 7144 w 60"/>
                <a:gd name="T25" fmla="*/ 53289 h 74"/>
                <a:gd name="T26" fmla="*/ 3810 w 60"/>
                <a:gd name="T27" fmla="*/ 55605 h 74"/>
                <a:gd name="T28" fmla="*/ 0 w 60"/>
                <a:gd name="T29" fmla="*/ 57150 h 74"/>
                <a:gd name="T30" fmla="*/ 2381 w 60"/>
                <a:gd name="T31" fmla="*/ 46338 h 74"/>
                <a:gd name="T32" fmla="*/ 5715 w 60"/>
                <a:gd name="T33" fmla="*/ 36298 h 74"/>
                <a:gd name="T34" fmla="*/ 9049 w 60"/>
                <a:gd name="T35" fmla="*/ 26258 h 74"/>
                <a:gd name="T36" fmla="*/ 12859 w 60"/>
                <a:gd name="T37" fmla="*/ 17763 h 74"/>
                <a:gd name="T38" fmla="*/ 17145 w 60"/>
                <a:gd name="T39" fmla="*/ 10812 h 74"/>
                <a:gd name="T40" fmla="*/ 20479 w 60"/>
                <a:gd name="T41" fmla="*/ 4634 h 74"/>
                <a:gd name="T42" fmla="*/ 22860 w 60"/>
                <a:gd name="T43" fmla="*/ 2317 h 74"/>
                <a:gd name="T44" fmla="*/ 24765 w 60"/>
                <a:gd name="T45" fmla="*/ 772 h 74"/>
                <a:gd name="T46" fmla="*/ 26670 w 60"/>
                <a:gd name="T47" fmla="*/ 0 h 74"/>
                <a:gd name="T48" fmla="*/ 28575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69" name="Freeform 531">
              <a:extLst>
                <a:ext uri="{FF2B5EF4-FFF2-40B4-BE49-F238E27FC236}">
                  <a16:creationId xmlns:a16="http://schemas.microsoft.com/office/drawing/2014/main" id="{CA3616B5-31B7-442E-97DA-3F72DB9D2DC4}"/>
                </a:ext>
              </a:extLst>
            </p:cNvPr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3595684" y="2757466"/>
              <a:ext cx="23812" cy="60325"/>
            </a:xfrm>
            <a:custGeom>
              <a:avLst/>
              <a:gdLst>
                <a:gd name="T0" fmla="*/ 6586 w 47"/>
                <a:gd name="T1" fmla="*/ 10724 h 45"/>
                <a:gd name="T2" fmla="*/ 11146 w 47"/>
                <a:gd name="T3" fmla="*/ 10724 h 45"/>
                <a:gd name="T4" fmla="*/ 14186 w 47"/>
                <a:gd name="T5" fmla="*/ 8043 h 45"/>
                <a:gd name="T6" fmla="*/ 16212 w 47"/>
                <a:gd name="T7" fmla="*/ 6703 h 45"/>
                <a:gd name="T8" fmla="*/ 17732 w 47"/>
                <a:gd name="T9" fmla="*/ 4022 h 45"/>
                <a:gd name="T10" fmla="*/ 18746 w 47"/>
                <a:gd name="T11" fmla="*/ 1341 h 45"/>
                <a:gd name="T12" fmla="*/ 19759 w 47"/>
                <a:gd name="T13" fmla="*/ 0 h 45"/>
                <a:gd name="T14" fmla="*/ 21785 w 47"/>
                <a:gd name="T15" fmla="*/ 1341 h 45"/>
                <a:gd name="T16" fmla="*/ 23812 w 47"/>
                <a:gd name="T17" fmla="*/ 2681 h 45"/>
                <a:gd name="T18" fmla="*/ 23305 w 47"/>
                <a:gd name="T19" fmla="*/ 9384 h 45"/>
                <a:gd name="T20" fmla="*/ 23305 w 47"/>
                <a:gd name="T21" fmla="*/ 14746 h 45"/>
                <a:gd name="T22" fmla="*/ 22292 w 47"/>
                <a:gd name="T23" fmla="*/ 20108 h 45"/>
                <a:gd name="T24" fmla="*/ 21785 w 47"/>
                <a:gd name="T25" fmla="*/ 25471 h 45"/>
                <a:gd name="T26" fmla="*/ 18746 w 47"/>
                <a:gd name="T27" fmla="*/ 34854 h 45"/>
                <a:gd name="T28" fmla="*/ 15199 w 47"/>
                <a:gd name="T29" fmla="*/ 42898 h 45"/>
                <a:gd name="T30" fmla="*/ 12159 w 47"/>
                <a:gd name="T31" fmla="*/ 50941 h 45"/>
                <a:gd name="T32" fmla="*/ 8106 w 47"/>
                <a:gd name="T33" fmla="*/ 56303 h 45"/>
                <a:gd name="T34" fmla="*/ 3546 w 47"/>
                <a:gd name="T35" fmla="*/ 60325 h 45"/>
                <a:gd name="T36" fmla="*/ 0 w 47"/>
                <a:gd name="T37" fmla="*/ 60325 h 45"/>
                <a:gd name="T38" fmla="*/ 1013 w 47"/>
                <a:gd name="T39" fmla="*/ 50941 h 45"/>
                <a:gd name="T40" fmla="*/ 3040 w 47"/>
                <a:gd name="T41" fmla="*/ 34854 h 45"/>
                <a:gd name="T42" fmla="*/ 5573 w 47"/>
                <a:gd name="T43" fmla="*/ 20108 h 45"/>
                <a:gd name="T44" fmla="*/ 6586 w 47"/>
                <a:gd name="T45" fmla="*/ 10724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70" name="Freeform 532">
              <a:extLst>
                <a:ext uri="{FF2B5EF4-FFF2-40B4-BE49-F238E27FC236}">
                  <a16:creationId xmlns:a16="http://schemas.microsoft.com/office/drawing/2014/main" id="{652AF89B-222D-48DF-ADBB-83830E7410A0}"/>
                </a:ext>
              </a:extLst>
            </p:cNvPr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3570284" y="2751116"/>
              <a:ext cx="6350" cy="57150"/>
            </a:xfrm>
            <a:custGeom>
              <a:avLst/>
              <a:gdLst>
                <a:gd name="T0" fmla="*/ 1465 w 26"/>
                <a:gd name="T1" fmla="*/ 57150 h 36"/>
                <a:gd name="T2" fmla="*/ 1221 w 26"/>
                <a:gd name="T3" fmla="*/ 47625 h 36"/>
                <a:gd name="T4" fmla="*/ 733 w 26"/>
                <a:gd name="T5" fmla="*/ 31750 h 36"/>
                <a:gd name="T6" fmla="*/ 244 w 26"/>
                <a:gd name="T7" fmla="*/ 15875 h 36"/>
                <a:gd name="T8" fmla="*/ 0 w 26"/>
                <a:gd name="T9" fmla="*/ 0 h 36"/>
                <a:gd name="T10" fmla="*/ 6350 w 26"/>
                <a:gd name="T11" fmla="*/ 0 h 36"/>
                <a:gd name="T12" fmla="*/ 6106 w 26"/>
                <a:gd name="T13" fmla="*/ 19050 h 36"/>
                <a:gd name="T14" fmla="*/ 5862 w 26"/>
                <a:gd name="T15" fmla="*/ 36513 h 36"/>
                <a:gd name="T16" fmla="*/ 5617 w 26"/>
                <a:gd name="T17" fmla="*/ 42863 h 36"/>
                <a:gd name="T18" fmla="*/ 5617 w 26"/>
                <a:gd name="T19" fmla="*/ 49213 h 36"/>
                <a:gd name="T20" fmla="*/ 5862 w 26"/>
                <a:gd name="T21" fmla="*/ 53975 h 36"/>
                <a:gd name="T22" fmla="*/ 6350 w 26"/>
                <a:gd name="T23" fmla="*/ 57150 h 36"/>
                <a:gd name="T24" fmla="*/ 1465 w 26"/>
                <a:gd name="T25" fmla="*/ 57150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71" name="Freeform 533">
              <a:extLst>
                <a:ext uri="{FF2B5EF4-FFF2-40B4-BE49-F238E27FC236}">
                  <a16:creationId xmlns:a16="http://schemas.microsoft.com/office/drawing/2014/main" id="{6AA835C1-E86E-4729-A2E0-6FC4BA9C455E}"/>
                </a:ext>
              </a:extLst>
            </p:cNvPr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4841869" y="2479655"/>
              <a:ext cx="174625" cy="158749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72" name="Freeform 534">
              <a:extLst>
                <a:ext uri="{FF2B5EF4-FFF2-40B4-BE49-F238E27FC236}">
                  <a16:creationId xmlns:a16="http://schemas.microsoft.com/office/drawing/2014/main" id="{5A5502F3-E104-47F4-B5F6-9CB6D0A826F0}"/>
                </a:ext>
              </a:extLst>
            </p:cNvPr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6935780" y="2860652"/>
              <a:ext cx="42862" cy="79375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373" name="Group 535">
              <a:extLst>
                <a:ext uri="{FF2B5EF4-FFF2-40B4-BE49-F238E27FC236}">
                  <a16:creationId xmlns:a16="http://schemas.microsoft.com/office/drawing/2014/main" id="{EF1EE47E-3D80-4779-AFBD-F14062310E05}"/>
                </a:ext>
              </a:extLst>
            </p:cNvPr>
            <p:cNvGrpSpPr>
              <a:grpSpLocks/>
            </p:cNvGrpSpPr>
            <p:nvPr>
              <p:custDataLst>
                <p:tags r:id="rId323"/>
              </p:custDataLst>
            </p:nvPr>
          </p:nvGrpSpPr>
          <p:grpSpPr bwMode="auto">
            <a:xfrm>
              <a:off x="4583108" y="2328844"/>
              <a:ext cx="482599" cy="201610"/>
              <a:chOff x="3289" y="1830"/>
              <a:chExt cx="363" cy="128"/>
            </a:xfrm>
          </p:grpSpPr>
          <p:sp>
            <p:nvSpPr>
              <p:cNvPr id="384" name="Freeform 536">
                <a:extLst>
                  <a:ext uri="{FF2B5EF4-FFF2-40B4-BE49-F238E27FC236}">
                    <a16:creationId xmlns:a16="http://schemas.microsoft.com/office/drawing/2014/main" id="{2F5F8A37-7FFC-476D-ADBF-12C5F4E0CB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85" name="Freeform 537">
                <a:extLst>
                  <a:ext uri="{FF2B5EF4-FFF2-40B4-BE49-F238E27FC236}">
                    <a16:creationId xmlns:a16="http://schemas.microsoft.com/office/drawing/2014/main" id="{9FE586EC-BD05-4839-9D40-94E9CC1D62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86" name="Freeform 538">
                <a:extLst>
                  <a:ext uri="{FF2B5EF4-FFF2-40B4-BE49-F238E27FC236}">
                    <a16:creationId xmlns:a16="http://schemas.microsoft.com/office/drawing/2014/main" id="{41404B58-8CB5-4FC3-A0C1-226D4AD289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87" name="Freeform 539">
                <a:extLst>
                  <a:ext uri="{FF2B5EF4-FFF2-40B4-BE49-F238E27FC236}">
                    <a16:creationId xmlns:a16="http://schemas.microsoft.com/office/drawing/2014/main" id="{745F1DF0-74E9-4BD8-B831-E3ADD8E167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88" name="Freeform 540">
                <a:extLst>
                  <a:ext uri="{FF2B5EF4-FFF2-40B4-BE49-F238E27FC236}">
                    <a16:creationId xmlns:a16="http://schemas.microsoft.com/office/drawing/2014/main" id="{900B51B9-DB89-4C12-9B40-C09C70F5F9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374" name="Freeform 541">
              <a:extLst>
                <a:ext uri="{FF2B5EF4-FFF2-40B4-BE49-F238E27FC236}">
                  <a16:creationId xmlns:a16="http://schemas.microsoft.com/office/drawing/2014/main" id="{B7AC2D6C-F55C-4E3A-BACD-12E9E5E10A85}"/>
                </a:ext>
              </a:extLst>
            </p:cNvPr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2571748" y="3481360"/>
              <a:ext cx="100013" cy="122236"/>
            </a:xfrm>
            <a:custGeom>
              <a:avLst/>
              <a:gdLst>
                <a:gd name="T0" fmla="*/ 27880 w 226"/>
                <a:gd name="T1" fmla="*/ 121721 h 237"/>
                <a:gd name="T2" fmla="*/ 30092 w 226"/>
                <a:gd name="T3" fmla="*/ 122237 h 237"/>
                <a:gd name="T4" fmla="*/ 33190 w 226"/>
                <a:gd name="T5" fmla="*/ 121205 h 237"/>
                <a:gd name="T6" fmla="*/ 36730 w 226"/>
                <a:gd name="T7" fmla="*/ 120690 h 237"/>
                <a:gd name="T8" fmla="*/ 39386 w 226"/>
                <a:gd name="T9" fmla="*/ 118627 h 237"/>
                <a:gd name="T10" fmla="*/ 42483 w 226"/>
                <a:gd name="T11" fmla="*/ 115016 h 237"/>
                <a:gd name="T12" fmla="*/ 43811 w 226"/>
                <a:gd name="T13" fmla="*/ 110374 h 237"/>
                <a:gd name="T14" fmla="*/ 54432 w 226"/>
                <a:gd name="T15" fmla="*/ 107795 h 237"/>
                <a:gd name="T16" fmla="*/ 73461 w 226"/>
                <a:gd name="T17" fmla="*/ 105732 h 237"/>
                <a:gd name="T18" fmla="*/ 86294 w 226"/>
                <a:gd name="T19" fmla="*/ 102122 h 237"/>
                <a:gd name="T20" fmla="*/ 92490 w 226"/>
                <a:gd name="T21" fmla="*/ 98512 h 237"/>
                <a:gd name="T22" fmla="*/ 97358 w 226"/>
                <a:gd name="T23" fmla="*/ 93354 h 237"/>
                <a:gd name="T24" fmla="*/ 99570 w 226"/>
                <a:gd name="T25" fmla="*/ 86649 h 237"/>
                <a:gd name="T26" fmla="*/ 100013 w 226"/>
                <a:gd name="T27" fmla="*/ 78912 h 237"/>
                <a:gd name="T28" fmla="*/ 98685 w 226"/>
                <a:gd name="T29" fmla="*/ 72208 h 237"/>
                <a:gd name="T30" fmla="*/ 95145 w 226"/>
                <a:gd name="T31" fmla="*/ 63439 h 237"/>
                <a:gd name="T32" fmla="*/ 89835 w 226"/>
                <a:gd name="T33" fmla="*/ 51577 h 237"/>
                <a:gd name="T34" fmla="*/ 86737 w 226"/>
                <a:gd name="T35" fmla="*/ 43325 h 237"/>
                <a:gd name="T36" fmla="*/ 85409 w 226"/>
                <a:gd name="T37" fmla="*/ 38167 h 237"/>
                <a:gd name="T38" fmla="*/ 86294 w 226"/>
                <a:gd name="T39" fmla="*/ 30430 h 237"/>
                <a:gd name="T40" fmla="*/ 88507 w 226"/>
                <a:gd name="T41" fmla="*/ 22178 h 237"/>
                <a:gd name="T42" fmla="*/ 94260 w 226"/>
                <a:gd name="T43" fmla="*/ 12894 h 237"/>
                <a:gd name="T44" fmla="*/ 94260 w 226"/>
                <a:gd name="T45" fmla="*/ 7221 h 237"/>
                <a:gd name="T46" fmla="*/ 84524 w 226"/>
                <a:gd name="T47" fmla="*/ 3610 h 237"/>
                <a:gd name="T48" fmla="*/ 68150 w 226"/>
                <a:gd name="T49" fmla="*/ 1032 h 237"/>
                <a:gd name="T50" fmla="*/ 8851 w 226"/>
                <a:gd name="T51" fmla="*/ 3095 h 237"/>
                <a:gd name="T52" fmla="*/ 7966 w 226"/>
                <a:gd name="T53" fmla="*/ 15989 h 237"/>
                <a:gd name="T54" fmla="*/ 4425 w 226"/>
                <a:gd name="T55" fmla="*/ 27851 h 237"/>
                <a:gd name="T56" fmla="*/ 1328 w 226"/>
                <a:gd name="T57" fmla="*/ 40746 h 237"/>
                <a:gd name="T58" fmla="*/ 0 w 226"/>
                <a:gd name="T59" fmla="*/ 57250 h 237"/>
                <a:gd name="T60" fmla="*/ 1328 w 226"/>
                <a:gd name="T61" fmla="*/ 67050 h 237"/>
                <a:gd name="T62" fmla="*/ 4425 w 226"/>
                <a:gd name="T63" fmla="*/ 75302 h 237"/>
                <a:gd name="T64" fmla="*/ 13276 w 226"/>
                <a:gd name="T65" fmla="*/ 89228 h 237"/>
                <a:gd name="T66" fmla="*/ 22569 w 226"/>
                <a:gd name="T67" fmla="*/ 102638 h 237"/>
                <a:gd name="T68" fmla="*/ 25225 w 226"/>
                <a:gd name="T69" fmla="*/ 111406 h 237"/>
                <a:gd name="T70" fmla="*/ 26995 w 226"/>
                <a:gd name="T71" fmla="*/ 120690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75" name="Freeform 542">
              <a:extLst>
                <a:ext uri="{FF2B5EF4-FFF2-40B4-BE49-F238E27FC236}">
                  <a16:creationId xmlns:a16="http://schemas.microsoft.com/office/drawing/2014/main" id="{054EBDC1-7744-48DD-9BC9-B6AC511EDC18}"/>
                </a:ext>
              </a:extLst>
            </p:cNvPr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6516681" y="2917802"/>
              <a:ext cx="207962" cy="458785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76" name="Freeform 543">
              <a:extLst>
                <a:ext uri="{FF2B5EF4-FFF2-40B4-BE49-F238E27FC236}">
                  <a16:creationId xmlns:a16="http://schemas.microsoft.com/office/drawing/2014/main" id="{EC7FC3F5-EDB8-4F8C-AB07-A47CAB67C474}"/>
                </a:ext>
              </a:extLst>
            </p:cNvPr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6603993" y="3603596"/>
              <a:ext cx="25400" cy="57150"/>
            </a:xfrm>
            <a:custGeom>
              <a:avLst/>
              <a:gdLst>
                <a:gd name="T0" fmla="*/ 25400 w 59"/>
                <a:gd name="T1" fmla="*/ 11061 h 31"/>
                <a:gd name="T2" fmla="*/ 24539 w 59"/>
                <a:gd name="T3" fmla="*/ 20279 h 31"/>
                <a:gd name="T4" fmla="*/ 22817 w 59"/>
                <a:gd name="T5" fmla="*/ 27653 h 31"/>
                <a:gd name="T6" fmla="*/ 21095 w 59"/>
                <a:gd name="T7" fmla="*/ 35027 h 31"/>
                <a:gd name="T8" fmla="*/ 19373 w 59"/>
                <a:gd name="T9" fmla="*/ 44245 h 31"/>
                <a:gd name="T10" fmla="*/ 17220 w 59"/>
                <a:gd name="T11" fmla="*/ 49776 h 31"/>
                <a:gd name="T12" fmla="*/ 15498 w 59"/>
                <a:gd name="T13" fmla="*/ 53463 h 31"/>
                <a:gd name="T14" fmla="*/ 12915 w 59"/>
                <a:gd name="T15" fmla="*/ 57150 h 31"/>
                <a:gd name="T16" fmla="*/ 11193 w 59"/>
                <a:gd name="T17" fmla="*/ 57150 h 31"/>
                <a:gd name="T18" fmla="*/ 9041 w 59"/>
                <a:gd name="T19" fmla="*/ 57150 h 31"/>
                <a:gd name="T20" fmla="*/ 7319 w 59"/>
                <a:gd name="T21" fmla="*/ 55306 h 31"/>
                <a:gd name="T22" fmla="*/ 6027 w 59"/>
                <a:gd name="T23" fmla="*/ 53463 h 31"/>
                <a:gd name="T24" fmla="*/ 4736 w 59"/>
                <a:gd name="T25" fmla="*/ 49776 h 31"/>
                <a:gd name="T26" fmla="*/ 1722 w 59"/>
                <a:gd name="T27" fmla="*/ 36871 h 31"/>
                <a:gd name="T28" fmla="*/ 0 w 59"/>
                <a:gd name="T29" fmla="*/ 22123 h 31"/>
                <a:gd name="T30" fmla="*/ 431 w 59"/>
                <a:gd name="T31" fmla="*/ 16592 h 31"/>
                <a:gd name="T32" fmla="*/ 1292 w 59"/>
                <a:gd name="T33" fmla="*/ 11061 h 31"/>
                <a:gd name="T34" fmla="*/ 2153 w 59"/>
                <a:gd name="T35" fmla="*/ 7374 h 31"/>
                <a:gd name="T36" fmla="*/ 3444 w 59"/>
                <a:gd name="T37" fmla="*/ 5531 h 31"/>
                <a:gd name="T38" fmla="*/ 6888 w 59"/>
                <a:gd name="T39" fmla="*/ 1844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687 h 31"/>
                <a:gd name="T46" fmla="*/ 21956 w 59"/>
                <a:gd name="T47" fmla="*/ 7374 h 31"/>
                <a:gd name="T48" fmla="*/ 25400 w 59"/>
                <a:gd name="T49" fmla="*/ 11061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016AA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77" name="Freeform 544">
              <a:extLst>
                <a:ext uri="{FF2B5EF4-FFF2-40B4-BE49-F238E27FC236}">
                  <a16:creationId xmlns:a16="http://schemas.microsoft.com/office/drawing/2014/main" id="{4D43CB83-7D70-4F88-B34A-77CE1F0DE4E6}"/>
                </a:ext>
              </a:extLst>
            </p:cNvPr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5295894" y="2862240"/>
              <a:ext cx="174625" cy="271460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78" name="Freeform 545">
              <a:extLst>
                <a:ext uri="{FF2B5EF4-FFF2-40B4-BE49-F238E27FC236}">
                  <a16:creationId xmlns:a16="http://schemas.microsoft.com/office/drawing/2014/main" id="{06D62CBA-F9C0-4C32-A4E9-589F760B43F3}"/>
                </a:ext>
              </a:extLst>
            </p:cNvPr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4022721" y="2916214"/>
              <a:ext cx="376238" cy="385759"/>
            </a:xfrm>
            <a:custGeom>
              <a:avLst/>
              <a:gdLst>
                <a:gd name="T0" fmla="*/ 100359 w 866"/>
                <a:gd name="T1" fmla="*/ 140751 h 740"/>
                <a:gd name="T2" fmla="*/ 106441 w 866"/>
                <a:gd name="T3" fmla="*/ 137623 h 740"/>
                <a:gd name="T4" fmla="*/ 118172 w 866"/>
                <a:gd name="T5" fmla="*/ 141794 h 740"/>
                <a:gd name="T6" fmla="*/ 284134 w 866"/>
                <a:gd name="T7" fmla="*/ 521 h 740"/>
                <a:gd name="T8" fmla="*/ 294995 w 866"/>
                <a:gd name="T9" fmla="*/ 3128 h 740"/>
                <a:gd name="T10" fmla="*/ 308897 w 866"/>
                <a:gd name="T11" fmla="*/ 10947 h 740"/>
                <a:gd name="T12" fmla="*/ 317152 w 866"/>
                <a:gd name="T13" fmla="*/ 18246 h 740"/>
                <a:gd name="T14" fmla="*/ 330186 w 866"/>
                <a:gd name="T15" fmla="*/ 29714 h 740"/>
                <a:gd name="T16" fmla="*/ 343654 w 866"/>
                <a:gd name="T17" fmla="*/ 30757 h 740"/>
                <a:gd name="T18" fmla="*/ 361032 w 866"/>
                <a:gd name="T19" fmla="*/ 22416 h 740"/>
                <a:gd name="T20" fmla="*/ 371025 w 866"/>
                <a:gd name="T21" fmla="*/ 86536 h 740"/>
                <a:gd name="T22" fmla="*/ 376238 w 866"/>
                <a:gd name="T23" fmla="*/ 106866 h 740"/>
                <a:gd name="T24" fmla="*/ 369287 w 866"/>
                <a:gd name="T25" fmla="*/ 156911 h 740"/>
                <a:gd name="T26" fmla="*/ 368418 w 866"/>
                <a:gd name="T27" fmla="*/ 196009 h 740"/>
                <a:gd name="T28" fmla="*/ 362335 w 866"/>
                <a:gd name="T29" fmla="*/ 219467 h 740"/>
                <a:gd name="T30" fmla="*/ 348433 w 866"/>
                <a:gd name="T31" fmla="*/ 243447 h 740"/>
                <a:gd name="T32" fmla="*/ 337572 w 866"/>
                <a:gd name="T33" fmla="*/ 260129 h 740"/>
                <a:gd name="T34" fmla="*/ 329317 w 866"/>
                <a:gd name="T35" fmla="*/ 295577 h 740"/>
                <a:gd name="T36" fmla="*/ 308897 w 866"/>
                <a:gd name="T37" fmla="*/ 327898 h 740"/>
                <a:gd name="T38" fmla="*/ 295429 w 866"/>
                <a:gd name="T39" fmla="*/ 336760 h 740"/>
                <a:gd name="T40" fmla="*/ 279789 w 866"/>
                <a:gd name="T41" fmla="*/ 332589 h 740"/>
                <a:gd name="T42" fmla="*/ 265452 w 866"/>
                <a:gd name="T43" fmla="*/ 325813 h 740"/>
                <a:gd name="T44" fmla="*/ 245902 w 866"/>
                <a:gd name="T45" fmla="*/ 329983 h 740"/>
                <a:gd name="T46" fmla="*/ 230261 w 866"/>
                <a:gd name="T47" fmla="*/ 343537 h 740"/>
                <a:gd name="T48" fmla="*/ 222006 w 866"/>
                <a:gd name="T49" fmla="*/ 354484 h 740"/>
                <a:gd name="T50" fmla="*/ 213317 w 866"/>
                <a:gd name="T51" fmla="*/ 356569 h 740"/>
                <a:gd name="T52" fmla="*/ 204194 w 866"/>
                <a:gd name="T53" fmla="*/ 348228 h 740"/>
                <a:gd name="T54" fmla="*/ 193767 w 866"/>
                <a:gd name="T55" fmla="*/ 333111 h 740"/>
                <a:gd name="T56" fmla="*/ 182906 w 866"/>
                <a:gd name="T57" fmla="*/ 331026 h 740"/>
                <a:gd name="T58" fmla="*/ 175954 w 866"/>
                <a:gd name="T59" fmla="*/ 337281 h 740"/>
                <a:gd name="T60" fmla="*/ 166831 w 866"/>
                <a:gd name="T61" fmla="*/ 339888 h 740"/>
                <a:gd name="T62" fmla="*/ 152059 w 866"/>
                <a:gd name="T63" fmla="*/ 332589 h 740"/>
                <a:gd name="T64" fmla="*/ 132943 w 866"/>
                <a:gd name="T65" fmla="*/ 316950 h 740"/>
                <a:gd name="T66" fmla="*/ 117737 w 866"/>
                <a:gd name="T67" fmla="*/ 314865 h 740"/>
                <a:gd name="T68" fmla="*/ 102966 w 866"/>
                <a:gd name="T69" fmla="*/ 323206 h 740"/>
                <a:gd name="T70" fmla="*/ 90801 w 866"/>
                <a:gd name="T71" fmla="*/ 340409 h 740"/>
                <a:gd name="T72" fmla="*/ 82546 w 866"/>
                <a:gd name="T73" fmla="*/ 360740 h 740"/>
                <a:gd name="T74" fmla="*/ 77333 w 866"/>
                <a:gd name="T75" fmla="*/ 374815 h 740"/>
                <a:gd name="T76" fmla="*/ 64734 w 866"/>
                <a:gd name="T77" fmla="*/ 365953 h 740"/>
                <a:gd name="T78" fmla="*/ 43445 w 866"/>
                <a:gd name="T79" fmla="*/ 385762 h 740"/>
                <a:gd name="T80" fmla="*/ 28674 w 866"/>
                <a:gd name="T81" fmla="*/ 364389 h 740"/>
                <a:gd name="T82" fmla="*/ 27805 w 866"/>
                <a:gd name="T83" fmla="*/ 335717 h 740"/>
                <a:gd name="T84" fmla="*/ 21723 w 866"/>
                <a:gd name="T85" fmla="*/ 319557 h 740"/>
                <a:gd name="T86" fmla="*/ 8689 w 866"/>
                <a:gd name="T87" fmla="*/ 306003 h 740"/>
                <a:gd name="T88" fmla="*/ 2172 w 866"/>
                <a:gd name="T89" fmla="*/ 290885 h 740"/>
                <a:gd name="T90" fmla="*/ 23026 w 866"/>
                <a:gd name="T91" fmla="*/ 276289 h 740"/>
                <a:gd name="T92" fmla="*/ 33019 w 866"/>
                <a:gd name="T93" fmla="*/ 270033 h 740"/>
                <a:gd name="T94" fmla="*/ 60389 w 866"/>
                <a:gd name="T95" fmla="*/ 265863 h 740"/>
                <a:gd name="T96" fmla="*/ 79071 w 866"/>
                <a:gd name="T97" fmla="*/ 260650 h 740"/>
                <a:gd name="T98" fmla="*/ 87325 w 866"/>
                <a:gd name="T99" fmla="*/ 247617 h 740"/>
                <a:gd name="T100" fmla="*/ 95146 w 866"/>
                <a:gd name="T101" fmla="*/ 221031 h 740"/>
                <a:gd name="T102" fmla="*/ 97318 w 866"/>
                <a:gd name="T103" fmla="*/ 191317 h 740"/>
                <a:gd name="T104" fmla="*/ 95146 w 866"/>
                <a:gd name="T105" fmla="*/ 166816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79" name="Freeform 546">
              <a:extLst>
                <a:ext uri="{FF2B5EF4-FFF2-40B4-BE49-F238E27FC236}">
                  <a16:creationId xmlns:a16="http://schemas.microsoft.com/office/drawing/2014/main" id="{585C9DB6-4BA3-4B2C-A6DF-1C14FA3FB91C}"/>
                </a:ext>
              </a:extLst>
            </p:cNvPr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3692521" y="2533630"/>
              <a:ext cx="300038" cy="260348"/>
            </a:xfrm>
            <a:custGeom>
              <a:avLst/>
              <a:gdLst>
                <a:gd name="T0" fmla="*/ 278945 w 697"/>
                <a:gd name="T1" fmla="*/ 27597 h 500"/>
                <a:gd name="T2" fmla="*/ 282819 w 697"/>
                <a:gd name="T3" fmla="*/ 83833 h 500"/>
                <a:gd name="T4" fmla="*/ 284541 w 697"/>
                <a:gd name="T5" fmla="*/ 86957 h 500"/>
                <a:gd name="T6" fmla="*/ 291429 w 697"/>
                <a:gd name="T7" fmla="*/ 92164 h 500"/>
                <a:gd name="T8" fmla="*/ 298747 w 697"/>
                <a:gd name="T9" fmla="*/ 98412 h 500"/>
                <a:gd name="T10" fmla="*/ 300038 w 697"/>
                <a:gd name="T11" fmla="*/ 103099 h 500"/>
                <a:gd name="T12" fmla="*/ 298747 w 697"/>
                <a:gd name="T13" fmla="*/ 109868 h 500"/>
                <a:gd name="T14" fmla="*/ 294872 w 697"/>
                <a:gd name="T15" fmla="*/ 112992 h 500"/>
                <a:gd name="T16" fmla="*/ 281958 w 697"/>
                <a:gd name="T17" fmla="*/ 113513 h 500"/>
                <a:gd name="T18" fmla="*/ 260435 w 697"/>
                <a:gd name="T19" fmla="*/ 118720 h 500"/>
                <a:gd name="T20" fmla="*/ 244077 w 697"/>
                <a:gd name="T21" fmla="*/ 130175 h 500"/>
                <a:gd name="T22" fmla="*/ 236328 w 697"/>
                <a:gd name="T23" fmla="*/ 139027 h 500"/>
                <a:gd name="T24" fmla="*/ 232024 w 697"/>
                <a:gd name="T25" fmla="*/ 149962 h 500"/>
                <a:gd name="T26" fmla="*/ 224275 w 697"/>
                <a:gd name="T27" fmla="*/ 157251 h 500"/>
                <a:gd name="T28" fmla="*/ 211361 w 697"/>
                <a:gd name="T29" fmla="*/ 168707 h 500"/>
                <a:gd name="T30" fmla="*/ 195864 w 697"/>
                <a:gd name="T31" fmla="*/ 183286 h 500"/>
                <a:gd name="T32" fmla="*/ 180798 w 697"/>
                <a:gd name="T33" fmla="*/ 192659 h 500"/>
                <a:gd name="T34" fmla="*/ 160135 w 697"/>
                <a:gd name="T35" fmla="*/ 196304 h 500"/>
                <a:gd name="T36" fmla="*/ 148082 w 697"/>
                <a:gd name="T37" fmla="*/ 197866 h 500"/>
                <a:gd name="T38" fmla="*/ 136029 w 697"/>
                <a:gd name="T39" fmla="*/ 206197 h 500"/>
                <a:gd name="T40" fmla="*/ 124836 w 697"/>
                <a:gd name="T41" fmla="*/ 217132 h 500"/>
                <a:gd name="T42" fmla="*/ 114075 w 697"/>
                <a:gd name="T43" fmla="*/ 221818 h 500"/>
                <a:gd name="T44" fmla="*/ 2152 w 697"/>
                <a:gd name="T45" fmla="*/ 258267 h 500"/>
                <a:gd name="T46" fmla="*/ 13775 w 697"/>
                <a:gd name="T47" fmla="*/ 253581 h 500"/>
                <a:gd name="T48" fmla="*/ 36590 w 697"/>
                <a:gd name="T49" fmla="*/ 246291 h 500"/>
                <a:gd name="T50" fmla="*/ 40034 w 697"/>
                <a:gd name="T51" fmla="*/ 239001 h 500"/>
                <a:gd name="T52" fmla="*/ 42617 w 697"/>
                <a:gd name="T53" fmla="*/ 228067 h 500"/>
                <a:gd name="T54" fmla="*/ 51226 w 697"/>
                <a:gd name="T55" fmla="*/ 219735 h 500"/>
                <a:gd name="T56" fmla="*/ 68875 w 697"/>
                <a:gd name="T57" fmla="*/ 207759 h 500"/>
                <a:gd name="T58" fmla="*/ 77915 w 697"/>
                <a:gd name="T59" fmla="*/ 198907 h 500"/>
                <a:gd name="T60" fmla="*/ 82650 w 697"/>
                <a:gd name="T61" fmla="*/ 185890 h 500"/>
                <a:gd name="T62" fmla="*/ 83081 w 697"/>
                <a:gd name="T63" fmla="*/ 164541 h 500"/>
                <a:gd name="T64" fmla="*/ 83942 w 697"/>
                <a:gd name="T65" fmla="*/ 132258 h 500"/>
                <a:gd name="T66" fmla="*/ 82650 w 697"/>
                <a:gd name="T67" fmla="*/ 99974 h 500"/>
                <a:gd name="T68" fmla="*/ 92121 w 697"/>
                <a:gd name="T69" fmla="*/ 98412 h 500"/>
                <a:gd name="T70" fmla="*/ 98147 w 697"/>
                <a:gd name="T71" fmla="*/ 93205 h 500"/>
                <a:gd name="T72" fmla="*/ 103743 w 697"/>
                <a:gd name="T73" fmla="*/ 85916 h 500"/>
                <a:gd name="T74" fmla="*/ 108479 w 697"/>
                <a:gd name="T75" fmla="*/ 79146 h 500"/>
                <a:gd name="T76" fmla="*/ 120962 w 697"/>
                <a:gd name="T77" fmla="*/ 76022 h 500"/>
                <a:gd name="T78" fmla="*/ 135168 w 697"/>
                <a:gd name="T79" fmla="*/ 74460 h 500"/>
                <a:gd name="T80" fmla="*/ 146360 w 697"/>
                <a:gd name="T81" fmla="*/ 68212 h 500"/>
                <a:gd name="T82" fmla="*/ 154969 w 697"/>
                <a:gd name="T83" fmla="*/ 56236 h 500"/>
                <a:gd name="T84" fmla="*/ 167023 w 697"/>
                <a:gd name="T85" fmla="*/ 24994 h 500"/>
                <a:gd name="T86" fmla="*/ 175202 w 697"/>
                <a:gd name="T87" fmla="*/ 6248 h 500"/>
                <a:gd name="T88" fmla="*/ 183380 w 697"/>
                <a:gd name="T89" fmla="*/ 4166 h 500"/>
                <a:gd name="T90" fmla="*/ 193281 w 697"/>
                <a:gd name="T91" fmla="*/ 10414 h 500"/>
                <a:gd name="T92" fmla="*/ 220401 w 697"/>
                <a:gd name="T93" fmla="*/ 9373 h 500"/>
                <a:gd name="T94" fmla="*/ 253978 w 697"/>
                <a:gd name="T95" fmla="*/ 6769 h 500"/>
                <a:gd name="T96" fmla="*/ 256991 w 697"/>
                <a:gd name="T97" fmla="*/ 8852 h 500"/>
                <a:gd name="T98" fmla="*/ 260435 w 697"/>
                <a:gd name="T99" fmla="*/ 18745 h 500"/>
                <a:gd name="T100" fmla="*/ 263018 w 697"/>
                <a:gd name="T101" fmla="*/ 26556 h 500"/>
                <a:gd name="T102" fmla="*/ 266031 w 697"/>
                <a:gd name="T103" fmla="*/ 2603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80" name="Freeform 547">
              <a:extLst>
                <a:ext uri="{FF2B5EF4-FFF2-40B4-BE49-F238E27FC236}">
                  <a16:creationId xmlns:a16="http://schemas.microsoft.com/office/drawing/2014/main" id="{E5009F77-0813-43D8-9065-B2452386726B}"/>
                </a:ext>
              </a:extLst>
            </p:cNvPr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4392609" y="1463662"/>
              <a:ext cx="236537" cy="92074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sp>
        <p:nvSpPr>
          <p:cNvPr id="553" name="Title 1">
            <a:extLst>
              <a:ext uri="{FF2B5EF4-FFF2-40B4-BE49-F238E27FC236}">
                <a16:creationId xmlns:a16="http://schemas.microsoft.com/office/drawing/2014/main" id="{6FE01C5A-A44E-4AF6-A154-5EA443707980}"/>
              </a:ext>
            </a:extLst>
          </p:cNvPr>
          <p:cNvSpPr txBox="1">
            <a:spLocks/>
          </p:cNvSpPr>
          <p:nvPr/>
        </p:nvSpPr>
        <p:spPr>
          <a:xfrm>
            <a:off x="338328" y="201168"/>
            <a:ext cx="10515600" cy="99295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3600" dirty="0"/>
              <a:t>DCI regional summary</a:t>
            </a:r>
          </a:p>
          <a:p>
            <a:pPr>
              <a:spcAft>
                <a:spcPts val="600"/>
              </a:spcAft>
            </a:pPr>
            <a:r>
              <a:rPr lang="en-US" sz="2400" dirty="0"/>
              <a:t>Wave 6 2021</a:t>
            </a:r>
          </a:p>
          <a:p>
            <a:endParaRPr lang="en-US" sz="2100" dirty="0"/>
          </a:p>
        </p:txBody>
      </p:sp>
      <p:graphicFrame>
        <p:nvGraphicFramePr>
          <p:cNvPr id="607" name="Table 8">
            <a:extLst>
              <a:ext uri="{FF2B5EF4-FFF2-40B4-BE49-F238E27FC236}">
                <a16:creationId xmlns:a16="http://schemas.microsoft.com/office/drawing/2014/main" id="{B59B0E20-7C74-4761-98B8-4A1D6FAEE44F}"/>
              </a:ext>
            </a:extLst>
          </p:cNvPr>
          <p:cNvGraphicFramePr>
            <a:graphicFrameLocks noGrp="1"/>
          </p:cNvGraphicFramePr>
          <p:nvPr/>
        </p:nvGraphicFramePr>
        <p:xfrm>
          <a:off x="722693" y="3518432"/>
          <a:ext cx="2103120" cy="670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5840">
                  <a:extLst>
                    <a:ext uri="{9D8B030D-6E8A-4147-A177-3AD203B41FA5}">
                      <a16:colId xmlns:a16="http://schemas.microsoft.com/office/drawing/2014/main" val="2999463138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3922227791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332399166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/>
                        <a:t>Country</a:t>
                      </a:r>
                    </a:p>
                  </a:txBody>
                  <a:tcPr anchor="b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DCI</a:t>
                      </a:r>
                    </a:p>
                  </a:txBody>
                  <a:tcPr anchor="b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Rank</a:t>
                      </a:r>
                    </a:p>
                  </a:txBody>
                  <a:tcPr anchor="b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432377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rgbClr val="46B688"/>
                          </a:solidFill>
                        </a:rPr>
                        <a:t>United States</a:t>
                      </a:r>
                    </a:p>
                    <a:p>
                      <a:pPr algn="l"/>
                      <a:r>
                        <a:rPr lang="en-US" sz="1000" dirty="0">
                          <a:solidFill>
                            <a:srgbClr val="016AA3"/>
                          </a:solidFill>
                        </a:rPr>
                        <a:t>Canada</a:t>
                      </a:r>
                    </a:p>
                  </a:txBody>
                  <a:tcPr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alpha val="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56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62</a:t>
                      </a:r>
                    </a:p>
                  </a:txBody>
                  <a:tcPr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alpha val="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alpha val="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952291"/>
                  </a:ext>
                </a:extLst>
              </a:tr>
            </a:tbl>
          </a:graphicData>
        </a:graphic>
      </p:graphicFrame>
      <p:graphicFrame>
        <p:nvGraphicFramePr>
          <p:cNvPr id="580" name="Table 8">
            <a:extLst>
              <a:ext uri="{FF2B5EF4-FFF2-40B4-BE49-F238E27FC236}">
                <a16:creationId xmlns:a16="http://schemas.microsoft.com/office/drawing/2014/main" id="{165FF558-9B77-4637-8A88-E1B00D7FF2C0}"/>
              </a:ext>
            </a:extLst>
          </p:cNvPr>
          <p:cNvGraphicFramePr>
            <a:graphicFrameLocks noGrp="1"/>
          </p:cNvGraphicFramePr>
          <p:nvPr/>
        </p:nvGraphicFramePr>
        <p:xfrm>
          <a:off x="1791161" y="4825397"/>
          <a:ext cx="1837182" cy="12801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22960">
                  <a:extLst>
                    <a:ext uri="{9D8B030D-6E8A-4147-A177-3AD203B41FA5}">
                      <a16:colId xmlns:a16="http://schemas.microsoft.com/office/drawing/2014/main" val="2999463138"/>
                    </a:ext>
                  </a:extLst>
                </a:gridCol>
                <a:gridCol w="465582">
                  <a:extLst>
                    <a:ext uri="{9D8B030D-6E8A-4147-A177-3AD203B41FA5}">
                      <a16:colId xmlns:a16="http://schemas.microsoft.com/office/drawing/2014/main" val="3922227791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332399166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/>
                        <a:t>Country</a:t>
                      </a:r>
                    </a:p>
                  </a:txBody>
                  <a:tcPr anchor="b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DCI</a:t>
                      </a:r>
                    </a:p>
                  </a:txBody>
                  <a:tcPr anchor="b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Rank</a:t>
                      </a:r>
                    </a:p>
                  </a:txBody>
                  <a:tcPr anchor="b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432377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rgbClr val="46B688"/>
                          </a:solidFill>
                        </a:rPr>
                        <a:t>Chile</a:t>
                      </a:r>
                    </a:p>
                    <a:p>
                      <a:pPr algn="l"/>
                      <a:r>
                        <a:rPr lang="en-US" sz="1000" dirty="0">
                          <a:solidFill>
                            <a:srgbClr val="FEA34F"/>
                          </a:solidFill>
                        </a:rPr>
                        <a:t>Mexico</a:t>
                      </a:r>
                    </a:p>
                    <a:p>
                      <a:pPr algn="l"/>
                      <a:r>
                        <a:rPr lang="en-US" sz="1000" dirty="0">
                          <a:solidFill>
                            <a:srgbClr val="D73B01"/>
                          </a:solidFill>
                        </a:rPr>
                        <a:t>Brazil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rgbClr val="D73B01"/>
                          </a:solidFill>
                        </a:rPr>
                        <a:t>Argentina</a:t>
                      </a:r>
                    </a:p>
                    <a:p>
                      <a:pPr algn="l"/>
                      <a:r>
                        <a:rPr lang="en-US" sz="1000" dirty="0">
                          <a:solidFill>
                            <a:srgbClr val="D73B01"/>
                          </a:solidFill>
                        </a:rPr>
                        <a:t>Peru</a:t>
                      </a:r>
                    </a:p>
                    <a:p>
                      <a:pPr algn="l"/>
                      <a:r>
                        <a:rPr lang="en-US" sz="1000" dirty="0">
                          <a:solidFill>
                            <a:srgbClr val="D73B01"/>
                          </a:solidFill>
                        </a:rPr>
                        <a:t>Columbia</a:t>
                      </a:r>
                    </a:p>
                  </a:txBody>
                  <a:tcPr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alpha val="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62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68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71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72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72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77</a:t>
                      </a:r>
                    </a:p>
                  </a:txBody>
                  <a:tcPr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alpha val="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9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4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7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9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20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22</a:t>
                      </a:r>
                    </a:p>
                  </a:txBody>
                  <a:tcPr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alpha val="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952291"/>
                  </a:ext>
                </a:extLst>
              </a:tr>
            </a:tbl>
          </a:graphicData>
        </a:graphic>
      </p:graphicFrame>
      <p:graphicFrame>
        <p:nvGraphicFramePr>
          <p:cNvPr id="581" name="Table 8">
            <a:extLst>
              <a:ext uri="{FF2B5EF4-FFF2-40B4-BE49-F238E27FC236}">
                <a16:creationId xmlns:a16="http://schemas.microsoft.com/office/drawing/2014/main" id="{61A0E417-C6C8-4D83-887D-CF4F05C4BB83}"/>
              </a:ext>
            </a:extLst>
          </p:cNvPr>
          <p:cNvGraphicFramePr>
            <a:graphicFrameLocks noGrp="1"/>
          </p:cNvGraphicFramePr>
          <p:nvPr/>
        </p:nvGraphicFramePr>
        <p:xfrm>
          <a:off x="5574207" y="1262186"/>
          <a:ext cx="2202942" cy="1432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88720">
                  <a:extLst>
                    <a:ext uri="{9D8B030D-6E8A-4147-A177-3AD203B41FA5}">
                      <a16:colId xmlns:a16="http://schemas.microsoft.com/office/drawing/2014/main" val="2999463138"/>
                    </a:ext>
                  </a:extLst>
                </a:gridCol>
                <a:gridCol w="465582">
                  <a:extLst>
                    <a:ext uri="{9D8B030D-6E8A-4147-A177-3AD203B41FA5}">
                      <a16:colId xmlns:a16="http://schemas.microsoft.com/office/drawing/2014/main" val="3922227791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332399166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/>
                        <a:t>Country</a:t>
                      </a:r>
                    </a:p>
                  </a:txBody>
                  <a:tcPr anchor="b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DCI</a:t>
                      </a:r>
                    </a:p>
                  </a:txBody>
                  <a:tcPr anchor="b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Rank</a:t>
                      </a:r>
                    </a:p>
                  </a:txBody>
                  <a:tcPr anchor="b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432377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rgbClr val="016AA3"/>
                          </a:solidFill>
                        </a:rPr>
                        <a:t>Netherlands</a:t>
                      </a:r>
                    </a:p>
                    <a:p>
                      <a:pPr algn="l"/>
                      <a:r>
                        <a:rPr lang="en-US" sz="1000" dirty="0">
                          <a:solidFill>
                            <a:srgbClr val="016AA3"/>
                          </a:solidFill>
                        </a:rPr>
                        <a:t>Germany</a:t>
                      </a:r>
                    </a:p>
                    <a:p>
                      <a:pPr algn="l"/>
                      <a:r>
                        <a:rPr lang="en-US" sz="1000" dirty="0">
                          <a:solidFill>
                            <a:srgbClr val="016AA3"/>
                          </a:solidFill>
                        </a:rPr>
                        <a:t>United Kingdom</a:t>
                      </a:r>
                    </a:p>
                    <a:p>
                      <a:pPr algn="l"/>
                      <a:r>
                        <a:rPr lang="en-US" sz="1000" dirty="0">
                          <a:solidFill>
                            <a:srgbClr val="46B688"/>
                          </a:solidFill>
                        </a:rPr>
                        <a:t>France</a:t>
                      </a:r>
                    </a:p>
                    <a:p>
                      <a:pPr algn="l"/>
                      <a:r>
                        <a:rPr lang="en-US" sz="1000" dirty="0">
                          <a:solidFill>
                            <a:srgbClr val="46B688"/>
                          </a:solidFill>
                        </a:rPr>
                        <a:t>Italy</a:t>
                      </a:r>
                    </a:p>
                    <a:p>
                      <a:pPr algn="l"/>
                      <a:r>
                        <a:rPr lang="en-US" sz="1000" dirty="0">
                          <a:solidFill>
                            <a:srgbClr val="FEA34F"/>
                          </a:solidFill>
                        </a:rPr>
                        <a:t>Ireland</a:t>
                      </a:r>
                    </a:p>
                    <a:p>
                      <a:pPr algn="l"/>
                      <a:r>
                        <a:rPr lang="en-US" sz="1000" dirty="0">
                          <a:solidFill>
                            <a:srgbClr val="FEA34F"/>
                          </a:solidFill>
                        </a:rPr>
                        <a:t>Sweden</a:t>
                      </a:r>
                    </a:p>
                  </a:txBody>
                  <a:tcPr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alpha val="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52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55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55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60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64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65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70</a:t>
                      </a:r>
                    </a:p>
                  </a:txBody>
                  <a:tcPr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alpha val="470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5</a:t>
                      </a:r>
                    </a:p>
                  </a:txBody>
                  <a:tcPr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alpha val="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952291"/>
                  </a:ext>
                </a:extLst>
              </a:tr>
            </a:tbl>
          </a:graphicData>
        </a:graphic>
      </p:graphicFrame>
      <p:graphicFrame>
        <p:nvGraphicFramePr>
          <p:cNvPr id="582" name="Table 8">
            <a:extLst>
              <a:ext uri="{FF2B5EF4-FFF2-40B4-BE49-F238E27FC236}">
                <a16:creationId xmlns:a16="http://schemas.microsoft.com/office/drawing/2014/main" id="{DE78EB7D-1CBB-45D1-90A7-9DD32DBD0948}"/>
              </a:ext>
            </a:extLst>
          </p:cNvPr>
          <p:cNvGraphicFramePr>
            <a:graphicFrameLocks noGrp="1"/>
          </p:cNvGraphicFramePr>
          <p:nvPr/>
        </p:nvGraphicFramePr>
        <p:xfrm>
          <a:off x="9806764" y="3303379"/>
          <a:ext cx="1837182" cy="9753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22960">
                  <a:extLst>
                    <a:ext uri="{9D8B030D-6E8A-4147-A177-3AD203B41FA5}">
                      <a16:colId xmlns:a16="http://schemas.microsoft.com/office/drawing/2014/main" val="2999463138"/>
                    </a:ext>
                  </a:extLst>
                </a:gridCol>
                <a:gridCol w="465582">
                  <a:extLst>
                    <a:ext uri="{9D8B030D-6E8A-4147-A177-3AD203B41FA5}">
                      <a16:colId xmlns:a16="http://schemas.microsoft.com/office/drawing/2014/main" val="3922227791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332399166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/>
                        <a:t>Country</a:t>
                      </a:r>
                    </a:p>
                  </a:txBody>
                  <a:tcPr anchor="b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DCI</a:t>
                      </a:r>
                    </a:p>
                  </a:txBody>
                  <a:tcPr anchor="b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Rank</a:t>
                      </a:r>
                    </a:p>
                  </a:txBody>
                  <a:tcPr anchor="b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432377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rgbClr val="016AA3"/>
                          </a:solidFill>
                        </a:rPr>
                        <a:t>Singapore</a:t>
                      </a:r>
                    </a:p>
                    <a:p>
                      <a:pPr algn="l"/>
                      <a:r>
                        <a:rPr lang="en-US" sz="1000" dirty="0">
                          <a:solidFill>
                            <a:srgbClr val="46B688"/>
                          </a:solidFill>
                        </a:rPr>
                        <a:t>Australia</a:t>
                      </a:r>
                    </a:p>
                    <a:p>
                      <a:pPr algn="l"/>
                      <a:r>
                        <a:rPr lang="en-US" sz="1000" dirty="0">
                          <a:solidFill>
                            <a:srgbClr val="FEA34F"/>
                          </a:solidFill>
                        </a:rPr>
                        <a:t>Philippines</a:t>
                      </a:r>
                    </a:p>
                    <a:p>
                      <a:pPr algn="l"/>
                      <a:r>
                        <a:rPr lang="en-US" sz="1000" dirty="0">
                          <a:solidFill>
                            <a:srgbClr val="D73B01"/>
                          </a:solidFill>
                        </a:rPr>
                        <a:t>India</a:t>
                      </a:r>
                    </a:p>
                  </a:txBody>
                  <a:tcPr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alpha val="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57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61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66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71</a:t>
                      </a:r>
                    </a:p>
                  </a:txBody>
                  <a:tcPr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alpha val="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3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8</a:t>
                      </a:r>
                    </a:p>
                  </a:txBody>
                  <a:tcPr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alpha val="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952291"/>
                  </a:ext>
                </a:extLst>
              </a:tr>
            </a:tbl>
          </a:graphicData>
        </a:graphic>
      </p:graphicFrame>
      <p:graphicFrame>
        <p:nvGraphicFramePr>
          <p:cNvPr id="583" name="Table 8">
            <a:extLst>
              <a:ext uri="{FF2B5EF4-FFF2-40B4-BE49-F238E27FC236}">
                <a16:creationId xmlns:a16="http://schemas.microsoft.com/office/drawing/2014/main" id="{834A468E-AD89-4156-B2BE-88AE1E03D7FC}"/>
              </a:ext>
            </a:extLst>
          </p:cNvPr>
          <p:cNvGraphicFramePr>
            <a:graphicFrameLocks noGrp="1"/>
          </p:cNvGraphicFramePr>
          <p:nvPr/>
        </p:nvGraphicFramePr>
        <p:xfrm>
          <a:off x="8189059" y="1865173"/>
          <a:ext cx="1928622" cy="82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14400">
                  <a:extLst>
                    <a:ext uri="{9D8B030D-6E8A-4147-A177-3AD203B41FA5}">
                      <a16:colId xmlns:a16="http://schemas.microsoft.com/office/drawing/2014/main" val="2999463138"/>
                    </a:ext>
                  </a:extLst>
                </a:gridCol>
                <a:gridCol w="465582">
                  <a:extLst>
                    <a:ext uri="{9D8B030D-6E8A-4147-A177-3AD203B41FA5}">
                      <a16:colId xmlns:a16="http://schemas.microsoft.com/office/drawing/2014/main" val="3922227791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332399166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/>
                        <a:t>Country</a:t>
                      </a:r>
                    </a:p>
                  </a:txBody>
                  <a:tcPr anchor="b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DCI</a:t>
                      </a:r>
                    </a:p>
                  </a:txBody>
                  <a:tcPr anchor="b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/>
                        <a:t>Rank</a:t>
                      </a:r>
                    </a:p>
                  </a:txBody>
                  <a:tcPr anchor="b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432377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solidFill>
                            <a:srgbClr val="D73B01"/>
                          </a:solidFill>
                        </a:rPr>
                        <a:t>Poland</a:t>
                      </a:r>
                    </a:p>
                    <a:p>
                      <a:pPr algn="l"/>
                      <a:r>
                        <a:rPr lang="en-US" sz="1000" dirty="0">
                          <a:solidFill>
                            <a:srgbClr val="FEA34F"/>
                          </a:solidFill>
                        </a:rPr>
                        <a:t>Hungary</a:t>
                      </a:r>
                    </a:p>
                    <a:p>
                      <a:pPr algn="l"/>
                      <a:r>
                        <a:rPr lang="en-US" sz="1000" dirty="0">
                          <a:solidFill>
                            <a:srgbClr val="D73B01"/>
                          </a:solidFill>
                        </a:rPr>
                        <a:t>Russia</a:t>
                      </a:r>
                    </a:p>
                  </a:txBody>
                  <a:tcPr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alpha val="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65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70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74</a:t>
                      </a:r>
                    </a:p>
                  </a:txBody>
                  <a:tcPr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alpha val="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1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16</a:t>
                      </a:r>
                    </a:p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21</a:t>
                      </a:r>
                    </a:p>
                  </a:txBody>
                  <a:tcPr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185C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C0C0">
                        <a:alpha val="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952291"/>
                  </a:ext>
                </a:extLst>
              </a:tr>
            </a:tbl>
          </a:graphicData>
        </a:graphic>
      </p:graphicFrame>
      <p:grpSp>
        <p:nvGrpSpPr>
          <p:cNvPr id="585" name="Group 584">
            <a:extLst>
              <a:ext uri="{FF2B5EF4-FFF2-40B4-BE49-F238E27FC236}">
                <a16:creationId xmlns:a16="http://schemas.microsoft.com/office/drawing/2014/main" id="{43989A16-BAA0-47C1-9EE3-EA4703905D60}"/>
              </a:ext>
            </a:extLst>
          </p:cNvPr>
          <p:cNvGrpSpPr>
            <a:grpSpLocks noChangeAspect="1"/>
          </p:cNvGrpSpPr>
          <p:nvPr/>
        </p:nvGrpSpPr>
        <p:grpSpPr>
          <a:xfrm>
            <a:off x="936331" y="1488907"/>
            <a:ext cx="548639" cy="548640"/>
            <a:chOff x="503925" y="2090554"/>
            <a:chExt cx="440551" cy="440552"/>
          </a:xfrm>
        </p:grpSpPr>
        <p:grpSp>
          <p:nvGrpSpPr>
            <p:cNvPr id="586" name="Group 585">
              <a:extLst>
                <a:ext uri="{FF2B5EF4-FFF2-40B4-BE49-F238E27FC236}">
                  <a16:creationId xmlns:a16="http://schemas.microsoft.com/office/drawing/2014/main" id="{BB3FDDFE-DF21-4B41-BDC0-97C7B9DB8E6B}"/>
                </a:ext>
              </a:extLst>
            </p:cNvPr>
            <p:cNvGrpSpPr/>
            <p:nvPr/>
          </p:nvGrpSpPr>
          <p:grpSpPr>
            <a:xfrm>
              <a:off x="503925" y="2090554"/>
              <a:ext cx="440551" cy="440552"/>
              <a:chOff x="4925804" y="576032"/>
              <a:chExt cx="601302" cy="601302"/>
            </a:xfrm>
          </p:grpSpPr>
          <p:sp>
            <p:nvSpPr>
              <p:cNvPr id="588" name="Oval 587">
                <a:extLst>
                  <a:ext uri="{FF2B5EF4-FFF2-40B4-BE49-F238E27FC236}">
                    <a16:creationId xmlns:a16="http://schemas.microsoft.com/office/drawing/2014/main" id="{F2DA1777-7C4D-41A2-A6E1-A617C3254C4C}"/>
                  </a:ext>
                </a:extLst>
              </p:cNvPr>
              <p:cNvSpPr/>
              <p:nvPr/>
            </p:nvSpPr>
            <p:spPr>
              <a:xfrm>
                <a:off x="4925804" y="576032"/>
                <a:ext cx="601302" cy="60130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89" name="Oval 588">
                <a:extLst>
                  <a:ext uri="{FF2B5EF4-FFF2-40B4-BE49-F238E27FC236}">
                    <a16:creationId xmlns:a16="http://schemas.microsoft.com/office/drawing/2014/main" id="{09370738-DCA3-479C-AB5F-5200CCDF438C}"/>
                  </a:ext>
                </a:extLst>
              </p:cNvPr>
              <p:cNvSpPr/>
              <p:nvPr/>
            </p:nvSpPr>
            <p:spPr>
              <a:xfrm>
                <a:off x="4977983" y="628212"/>
                <a:ext cx="496943" cy="496943"/>
              </a:xfrm>
              <a:prstGeom prst="ellipse">
                <a:avLst/>
              </a:prstGeom>
              <a:solidFill>
                <a:srgbClr val="016AA3"/>
              </a:solidFill>
              <a:ln>
                <a:noFill/>
              </a:ln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587" name="TextBox 586">
              <a:extLst>
                <a:ext uri="{FF2B5EF4-FFF2-40B4-BE49-F238E27FC236}">
                  <a16:creationId xmlns:a16="http://schemas.microsoft.com/office/drawing/2014/main" id="{ACB20B18-8958-4296-ADAF-7210344EB755}"/>
                </a:ext>
              </a:extLst>
            </p:cNvPr>
            <p:cNvSpPr txBox="1"/>
            <p:nvPr/>
          </p:nvSpPr>
          <p:spPr>
            <a:xfrm>
              <a:off x="585552" y="2225223"/>
              <a:ext cx="277297" cy="19771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Q1</a:t>
              </a:r>
            </a:p>
          </p:txBody>
        </p:sp>
      </p:grpSp>
      <p:grpSp>
        <p:nvGrpSpPr>
          <p:cNvPr id="555" name="Group 554">
            <a:extLst>
              <a:ext uri="{FF2B5EF4-FFF2-40B4-BE49-F238E27FC236}">
                <a16:creationId xmlns:a16="http://schemas.microsoft.com/office/drawing/2014/main" id="{466FE868-30C4-4C3E-8057-F27450E98A03}"/>
              </a:ext>
            </a:extLst>
          </p:cNvPr>
          <p:cNvGrpSpPr/>
          <p:nvPr/>
        </p:nvGrpSpPr>
        <p:grpSpPr>
          <a:xfrm>
            <a:off x="1770637" y="1488907"/>
            <a:ext cx="548639" cy="548640"/>
            <a:chOff x="393537" y="3790989"/>
            <a:chExt cx="548639" cy="548640"/>
          </a:xfrm>
        </p:grpSpPr>
        <p:grpSp>
          <p:nvGrpSpPr>
            <p:cNvPr id="591" name="Group 590">
              <a:extLst>
                <a:ext uri="{FF2B5EF4-FFF2-40B4-BE49-F238E27FC236}">
                  <a16:creationId xmlns:a16="http://schemas.microsoft.com/office/drawing/2014/main" id="{7F19B3B2-4627-4AD5-94C9-4C3BD44B3AC2}"/>
                </a:ext>
              </a:extLst>
            </p:cNvPr>
            <p:cNvGrpSpPr/>
            <p:nvPr/>
          </p:nvGrpSpPr>
          <p:grpSpPr>
            <a:xfrm>
              <a:off x="393537" y="3790989"/>
              <a:ext cx="548639" cy="548640"/>
              <a:chOff x="4925804" y="576032"/>
              <a:chExt cx="601302" cy="601302"/>
            </a:xfrm>
          </p:grpSpPr>
          <p:sp>
            <p:nvSpPr>
              <p:cNvPr id="593" name="Oval 592">
                <a:extLst>
                  <a:ext uri="{FF2B5EF4-FFF2-40B4-BE49-F238E27FC236}">
                    <a16:creationId xmlns:a16="http://schemas.microsoft.com/office/drawing/2014/main" id="{F152553A-45D7-4E71-B62E-893AA20B5425}"/>
                  </a:ext>
                </a:extLst>
              </p:cNvPr>
              <p:cNvSpPr/>
              <p:nvPr/>
            </p:nvSpPr>
            <p:spPr>
              <a:xfrm>
                <a:off x="4925804" y="576032"/>
                <a:ext cx="601302" cy="60130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94" name="Oval 593">
                <a:extLst>
                  <a:ext uri="{FF2B5EF4-FFF2-40B4-BE49-F238E27FC236}">
                    <a16:creationId xmlns:a16="http://schemas.microsoft.com/office/drawing/2014/main" id="{B308D64D-C000-429F-AFA1-EA24C1B97956}"/>
                  </a:ext>
                </a:extLst>
              </p:cNvPr>
              <p:cNvSpPr/>
              <p:nvPr/>
            </p:nvSpPr>
            <p:spPr>
              <a:xfrm>
                <a:off x="4977983" y="628212"/>
                <a:ext cx="496943" cy="496943"/>
              </a:xfrm>
              <a:prstGeom prst="ellipse">
                <a:avLst/>
              </a:prstGeom>
              <a:solidFill>
                <a:srgbClr val="46B688"/>
              </a:solidFill>
              <a:ln>
                <a:noFill/>
              </a:ln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592" name="TextBox 591">
              <a:extLst>
                <a:ext uri="{FF2B5EF4-FFF2-40B4-BE49-F238E27FC236}">
                  <a16:creationId xmlns:a16="http://schemas.microsoft.com/office/drawing/2014/main" id="{FE120877-8D10-4916-8617-9459854F7939}"/>
                </a:ext>
              </a:extLst>
            </p:cNvPr>
            <p:cNvSpPr txBox="1"/>
            <p:nvPr/>
          </p:nvSpPr>
          <p:spPr>
            <a:xfrm>
              <a:off x="495191" y="3958699"/>
              <a:ext cx="345331" cy="24622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Q2</a:t>
              </a:r>
            </a:p>
          </p:txBody>
        </p:sp>
      </p:grpSp>
      <p:grpSp>
        <p:nvGrpSpPr>
          <p:cNvPr id="595" name="Group 594">
            <a:extLst>
              <a:ext uri="{FF2B5EF4-FFF2-40B4-BE49-F238E27FC236}">
                <a16:creationId xmlns:a16="http://schemas.microsoft.com/office/drawing/2014/main" id="{FF64A490-1ED4-43AE-BCAD-71B48C24DEBF}"/>
              </a:ext>
            </a:extLst>
          </p:cNvPr>
          <p:cNvGrpSpPr>
            <a:grpSpLocks noChangeAspect="1"/>
          </p:cNvGrpSpPr>
          <p:nvPr/>
        </p:nvGrpSpPr>
        <p:grpSpPr>
          <a:xfrm>
            <a:off x="2604943" y="1488907"/>
            <a:ext cx="548639" cy="548640"/>
            <a:chOff x="503925" y="2090554"/>
            <a:chExt cx="440551" cy="440552"/>
          </a:xfrm>
        </p:grpSpPr>
        <p:grpSp>
          <p:nvGrpSpPr>
            <p:cNvPr id="596" name="Group 595">
              <a:extLst>
                <a:ext uri="{FF2B5EF4-FFF2-40B4-BE49-F238E27FC236}">
                  <a16:creationId xmlns:a16="http://schemas.microsoft.com/office/drawing/2014/main" id="{7A906FE3-5A58-4A14-AB20-754EBBE1678C}"/>
                </a:ext>
              </a:extLst>
            </p:cNvPr>
            <p:cNvGrpSpPr/>
            <p:nvPr/>
          </p:nvGrpSpPr>
          <p:grpSpPr>
            <a:xfrm>
              <a:off x="503925" y="2090554"/>
              <a:ext cx="440551" cy="440552"/>
              <a:chOff x="4925804" y="576032"/>
              <a:chExt cx="601302" cy="601302"/>
            </a:xfrm>
          </p:grpSpPr>
          <p:sp>
            <p:nvSpPr>
              <p:cNvPr id="598" name="Oval 597">
                <a:extLst>
                  <a:ext uri="{FF2B5EF4-FFF2-40B4-BE49-F238E27FC236}">
                    <a16:creationId xmlns:a16="http://schemas.microsoft.com/office/drawing/2014/main" id="{1FF86DC3-5CC8-4DE9-8A88-D9A43439857B}"/>
                  </a:ext>
                </a:extLst>
              </p:cNvPr>
              <p:cNvSpPr/>
              <p:nvPr/>
            </p:nvSpPr>
            <p:spPr>
              <a:xfrm>
                <a:off x="4925804" y="576032"/>
                <a:ext cx="601302" cy="60130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99" name="Oval 598">
                <a:extLst>
                  <a:ext uri="{FF2B5EF4-FFF2-40B4-BE49-F238E27FC236}">
                    <a16:creationId xmlns:a16="http://schemas.microsoft.com/office/drawing/2014/main" id="{0F525E61-1319-40FE-B504-BD31807F98CB}"/>
                  </a:ext>
                </a:extLst>
              </p:cNvPr>
              <p:cNvSpPr/>
              <p:nvPr/>
            </p:nvSpPr>
            <p:spPr>
              <a:xfrm>
                <a:off x="4977983" y="628212"/>
                <a:ext cx="496943" cy="496943"/>
              </a:xfrm>
              <a:prstGeom prst="ellipse">
                <a:avLst/>
              </a:prstGeom>
              <a:solidFill>
                <a:srgbClr val="FEA34F"/>
              </a:solidFill>
              <a:ln>
                <a:noFill/>
              </a:ln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597" name="TextBox 596">
              <a:extLst>
                <a:ext uri="{FF2B5EF4-FFF2-40B4-BE49-F238E27FC236}">
                  <a16:creationId xmlns:a16="http://schemas.microsoft.com/office/drawing/2014/main" id="{420005EF-B771-44D4-AB3C-814184E69CA9}"/>
                </a:ext>
              </a:extLst>
            </p:cNvPr>
            <p:cNvSpPr txBox="1"/>
            <p:nvPr/>
          </p:nvSpPr>
          <p:spPr>
            <a:xfrm>
              <a:off x="585552" y="2225223"/>
              <a:ext cx="277297" cy="19771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Q3</a:t>
              </a:r>
            </a:p>
          </p:txBody>
        </p:sp>
      </p:grpSp>
      <p:grpSp>
        <p:nvGrpSpPr>
          <p:cNvPr id="600" name="Group 599">
            <a:extLst>
              <a:ext uri="{FF2B5EF4-FFF2-40B4-BE49-F238E27FC236}">
                <a16:creationId xmlns:a16="http://schemas.microsoft.com/office/drawing/2014/main" id="{8784811C-E06A-46B5-A35E-2417629E45CC}"/>
              </a:ext>
            </a:extLst>
          </p:cNvPr>
          <p:cNvGrpSpPr>
            <a:grpSpLocks noChangeAspect="1"/>
          </p:cNvGrpSpPr>
          <p:nvPr/>
        </p:nvGrpSpPr>
        <p:grpSpPr>
          <a:xfrm>
            <a:off x="3439249" y="1488907"/>
            <a:ext cx="548639" cy="548640"/>
            <a:chOff x="503925" y="2090554"/>
            <a:chExt cx="440551" cy="440552"/>
          </a:xfrm>
        </p:grpSpPr>
        <p:grpSp>
          <p:nvGrpSpPr>
            <p:cNvPr id="601" name="Group 600">
              <a:extLst>
                <a:ext uri="{FF2B5EF4-FFF2-40B4-BE49-F238E27FC236}">
                  <a16:creationId xmlns:a16="http://schemas.microsoft.com/office/drawing/2014/main" id="{ABC22F27-14B0-477A-B83E-A733BE598A34}"/>
                </a:ext>
              </a:extLst>
            </p:cNvPr>
            <p:cNvGrpSpPr/>
            <p:nvPr/>
          </p:nvGrpSpPr>
          <p:grpSpPr>
            <a:xfrm>
              <a:off x="503925" y="2090554"/>
              <a:ext cx="440551" cy="440552"/>
              <a:chOff x="4925804" y="576032"/>
              <a:chExt cx="601302" cy="601302"/>
            </a:xfrm>
          </p:grpSpPr>
          <p:sp>
            <p:nvSpPr>
              <p:cNvPr id="603" name="Oval 602">
                <a:extLst>
                  <a:ext uri="{FF2B5EF4-FFF2-40B4-BE49-F238E27FC236}">
                    <a16:creationId xmlns:a16="http://schemas.microsoft.com/office/drawing/2014/main" id="{FA3486B1-9079-41DC-A833-544698CA8431}"/>
                  </a:ext>
                </a:extLst>
              </p:cNvPr>
              <p:cNvSpPr/>
              <p:nvPr/>
            </p:nvSpPr>
            <p:spPr>
              <a:xfrm>
                <a:off x="4925804" y="576032"/>
                <a:ext cx="601302" cy="60130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04" name="Oval 603">
                <a:extLst>
                  <a:ext uri="{FF2B5EF4-FFF2-40B4-BE49-F238E27FC236}">
                    <a16:creationId xmlns:a16="http://schemas.microsoft.com/office/drawing/2014/main" id="{3DF1ED5D-4895-4828-B774-3C511DBDC6DE}"/>
                  </a:ext>
                </a:extLst>
              </p:cNvPr>
              <p:cNvSpPr/>
              <p:nvPr/>
            </p:nvSpPr>
            <p:spPr>
              <a:xfrm>
                <a:off x="4977983" y="628212"/>
                <a:ext cx="496943" cy="496943"/>
              </a:xfrm>
              <a:prstGeom prst="ellipse">
                <a:avLst/>
              </a:prstGeom>
              <a:solidFill>
                <a:srgbClr val="D73B01"/>
              </a:solidFill>
              <a:ln>
                <a:noFill/>
              </a:ln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602" name="TextBox 601">
              <a:extLst>
                <a:ext uri="{FF2B5EF4-FFF2-40B4-BE49-F238E27FC236}">
                  <a16:creationId xmlns:a16="http://schemas.microsoft.com/office/drawing/2014/main" id="{D8204086-1C16-4651-9008-391661231E99}"/>
                </a:ext>
              </a:extLst>
            </p:cNvPr>
            <p:cNvSpPr txBox="1"/>
            <p:nvPr/>
          </p:nvSpPr>
          <p:spPr>
            <a:xfrm>
              <a:off x="585552" y="2225223"/>
              <a:ext cx="277297" cy="19771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Q4</a:t>
              </a:r>
            </a:p>
          </p:txBody>
        </p:sp>
      </p:grpSp>
      <p:sp>
        <p:nvSpPr>
          <p:cNvPr id="551" name="TextBox 550">
            <a:extLst>
              <a:ext uri="{FF2B5EF4-FFF2-40B4-BE49-F238E27FC236}">
                <a16:creationId xmlns:a16="http://schemas.microsoft.com/office/drawing/2014/main" id="{96A57B40-D426-4E51-B1C0-9DF3127DE59D}"/>
              </a:ext>
            </a:extLst>
          </p:cNvPr>
          <p:cNvSpPr txBox="1"/>
          <p:nvPr/>
        </p:nvSpPr>
        <p:spPr>
          <a:xfrm>
            <a:off x="736315" y="2059588"/>
            <a:ext cx="9907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Top quartile</a:t>
            </a:r>
          </a:p>
        </p:txBody>
      </p:sp>
      <p:sp>
        <p:nvSpPr>
          <p:cNvPr id="629" name="TextBox 628">
            <a:extLst>
              <a:ext uri="{FF2B5EF4-FFF2-40B4-BE49-F238E27FC236}">
                <a16:creationId xmlns:a16="http://schemas.microsoft.com/office/drawing/2014/main" id="{C10666E7-279B-4851-A0BF-9A33E37016FC}"/>
              </a:ext>
            </a:extLst>
          </p:cNvPr>
          <p:cNvSpPr txBox="1"/>
          <p:nvPr/>
        </p:nvSpPr>
        <p:spPr>
          <a:xfrm>
            <a:off x="3114628" y="2037448"/>
            <a:ext cx="12522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Bottom quartile</a:t>
            </a:r>
          </a:p>
        </p:txBody>
      </p:sp>
    </p:spTree>
    <p:extLst>
      <p:ext uri="{BB962C8B-B14F-4D97-AF65-F5344CB8AC3E}">
        <p14:creationId xmlns:p14="http://schemas.microsoft.com/office/powerpoint/2010/main" val="174983766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16DCFF-1276-487C-B5AF-B0F009261D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 few changes at the top of the DCI rankings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9EE649BB-0FBF-4180-84A2-060BD6DD76E3}"/>
              </a:ext>
            </a:extLst>
          </p:cNvPr>
          <p:cNvGraphicFramePr>
            <a:graphicFrameLocks noGrp="1"/>
          </p:cNvGraphicFramePr>
          <p:nvPr/>
        </p:nvGraphicFramePr>
        <p:xfrm>
          <a:off x="2891797" y="1155472"/>
          <a:ext cx="8028255" cy="51213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3090920964"/>
                    </a:ext>
                  </a:extLst>
                </a:gridCol>
                <a:gridCol w="1353135">
                  <a:extLst>
                    <a:ext uri="{9D8B030D-6E8A-4147-A177-3AD203B41FA5}">
                      <a16:colId xmlns:a16="http://schemas.microsoft.com/office/drawing/2014/main" val="3711582801"/>
                    </a:ext>
                  </a:extLst>
                </a:gridCol>
                <a:gridCol w="640080">
                  <a:extLst>
                    <a:ext uri="{9D8B030D-6E8A-4147-A177-3AD203B41FA5}">
                      <a16:colId xmlns:a16="http://schemas.microsoft.com/office/drawing/2014/main" val="3690951091"/>
                    </a:ext>
                  </a:extLst>
                </a:gridCol>
                <a:gridCol w="640080">
                  <a:extLst>
                    <a:ext uri="{9D8B030D-6E8A-4147-A177-3AD203B41FA5}">
                      <a16:colId xmlns:a16="http://schemas.microsoft.com/office/drawing/2014/main" val="2464989347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3533337601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1254160583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3818620886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ctr"/>
                      <a:endParaRPr lang="en-US" sz="1200" b="0">
                        <a:latin typeface="+mn-lt"/>
                      </a:endParaRPr>
                    </a:p>
                  </a:txBody>
                  <a:tcPr anchor="ctr">
                    <a:solidFill>
                      <a:srgbClr val="0078D4">
                        <a:alpha val="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>
                        <a:latin typeface="+mn-lt"/>
                      </a:endParaRPr>
                    </a:p>
                  </a:txBody>
                  <a:tcPr anchor="ctr">
                    <a:solidFill>
                      <a:srgbClr val="0078D4">
                        <a:alpha val="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sng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rgbClr val="0078D4">
                        <a:alpha val="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sng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rgbClr val="0078D4">
                        <a:alpha val="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sng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rgbClr val="0078D4">
                        <a:alpha val="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p three risks</a:t>
                      </a:r>
                    </a:p>
                  </a:txBody>
                  <a:tcPr marL="0" marR="0" marT="0" marB="0" anchor="ctr">
                    <a:solidFill>
                      <a:srgbClr val="0078D4">
                        <a:alpha val="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sng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rgbClr val="0078D4">
                        <a:alpha val="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084500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ctr"/>
                      <a:endParaRPr lang="en-US" sz="1200" b="0">
                        <a:latin typeface="+mn-lt"/>
                      </a:endParaRPr>
                    </a:p>
                  </a:txBody>
                  <a:tcPr anchor="ctr">
                    <a:solidFill>
                      <a:srgbClr val="0078D4">
                        <a:alpha val="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>
                        <a:latin typeface="+mn-lt"/>
                      </a:endParaRPr>
                    </a:p>
                  </a:txBody>
                  <a:tcPr anchor="ctr">
                    <a:solidFill>
                      <a:srgbClr val="0078D4">
                        <a:alpha val="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sng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1</a:t>
                      </a:r>
                      <a:endParaRPr lang="en-US" sz="1200" b="0" i="0" u="sng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rgbClr val="0078D4">
                        <a:alpha val="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sng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oY </a:t>
                      </a:r>
                      <a:r>
                        <a:rPr lang="en-US" sz="1200" b="0" i="0" u="sng" strike="noStrike">
                          <a:solidFill>
                            <a:srgbClr val="000000"/>
                          </a:solidFill>
                          <a:effectLst/>
                          <a:latin typeface="Wingdings 3" panose="05040102010807070707" pitchFamily="18" charset="2"/>
                        </a:rPr>
                        <a:t>p</a:t>
                      </a:r>
                    </a:p>
                  </a:txBody>
                  <a:tcPr marL="0" marR="0" marT="0" marB="0" anchor="ctr">
                    <a:solidFill>
                      <a:srgbClr val="0078D4">
                        <a:alpha val="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sng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rst</a:t>
                      </a:r>
                    </a:p>
                  </a:txBody>
                  <a:tcPr marL="0" marR="0" marT="0" marB="0" anchor="ctr">
                    <a:solidFill>
                      <a:srgbClr val="0078D4">
                        <a:alpha val="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sng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cond</a:t>
                      </a:r>
                    </a:p>
                  </a:txBody>
                  <a:tcPr marL="0" marR="0" marT="0" marB="0" anchor="ctr">
                    <a:solidFill>
                      <a:srgbClr val="0078D4">
                        <a:alpha val="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sng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ird</a:t>
                      </a:r>
                    </a:p>
                  </a:txBody>
                  <a:tcPr marL="0" marR="0" marT="0" marB="0" anchor="ctr">
                    <a:solidFill>
                      <a:srgbClr val="0078D4">
                        <a:alpha val="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6116231"/>
                  </a:ext>
                </a:extLst>
              </a:tr>
              <a:tr h="457272">
                <a:tc>
                  <a:txBody>
                    <a:bodyPr/>
                    <a:lstStyle/>
                    <a:p>
                      <a:pPr marL="91440" lvl="0"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lvl="0"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therland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reated mea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wanted contac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wanted sexting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04124624"/>
                  </a:ext>
                </a:extLst>
              </a:tr>
              <a:tr h="457272">
                <a:tc>
                  <a:txBody>
                    <a:bodyPr/>
                    <a:lstStyle/>
                    <a:p>
                      <a:pPr marL="91440" lvl="0"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lvl="0"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rmany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wanted contac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wanted sexting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xual solicitation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37789058"/>
                  </a:ext>
                </a:extLst>
              </a:tr>
              <a:tr h="457272">
                <a:tc>
                  <a:txBody>
                    <a:bodyPr/>
                    <a:lstStyle/>
                    <a:p>
                      <a:pPr marL="91440" lvl="0"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lvl="0"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Kingdom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wanted contac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reated mea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oaxes, scams &amp; frauds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52566920"/>
                  </a:ext>
                </a:extLst>
              </a:tr>
              <a:tr h="457272">
                <a:tc>
                  <a:txBody>
                    <a:bodyPr/>
                    <a:lstStyle/>
                    <a:p>
                      <a:pPr marL="91440" lvl="0"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lvl="0"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nad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wanted contac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oaxes, scams &amp; fraud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reated mean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0284687"/>
                  </a:ext>
                </a:extLst>
              </a:tr>
              <a:tr h="457272">
                <a:tc>
                  <a:txBody>
                    <a:bodyPr/>
                    <a:lstStyle/>
                    <a:p>
                      <a:pPr marL="91440" lvl="0"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lvl="0"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ngapor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wanted contac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oaxes, scams &amp; fraud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wanted sexting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16006255"/>
                  </a:ext>
                </a:extLst>
              </a:tr>
              <a:tr h="457272">
                <a:tc>
                  <a:txBody>
                    <a:bodyPr/>
                    <a:lstStyle/>
                    <a:p>
                      <a:pPr marL="91440" lvl="0"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lvl="0"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State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reated mea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wanted contac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oaxes, scams &amp; frauds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88149992"/>
                  </a:ext>
                </a:extLst>
              </a:tr>
              <a:tr h="457272">
                <a:tc>
                  <a:txBody>
                    <a:bodyPr/>
                    <a:lstStyle/>
                    <a:p>
                      <a:pPr marL="91440" lvl="0"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lvl="0"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ranc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wanted contac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icroaggressio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oaxes, scams &amp; frauds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27491484"/>
                  </a:ext>
                </a:extLst>
              </a:tr>
              <a:tr h="457272">
                <a:tc>
                  <a:txBody>
                    <a:bodyPr/>
                    <a:lstStyle/>
                    <a:p>
                      <a:pPr marL="91440" lvl="0"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lvl="0"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ustrali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reated mea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wanted contac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oaxes, scams &amp; frauds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62020168"/>
                  </a:ext>
                </a:extLst>
              </a:tr>
              <a:tr h="457272">
                <a:tc>
                  <a:txBody>
                    <a:bodyPr/>
                    <a:lstStyle/>
                    <a:p>
                      <a:pPr marL="91440" lvl="0"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lvl="0"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il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wanted contac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oaxes, scams &amp; fraud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wanted sexting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60195568"/>
                  </a:ext>
                </a:extLst>
              </a:tr>
              <a:tr h="457272">
                <a:tc>
                  <a:txBody>
                    <a:bodyPr/>
                    <a:lstStyle/>
                    <a:p>
                      <a:pPr marL="91440" lvl="0" algn="l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lvl="0"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taly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wanted contac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oaxes, scams &amp; fraud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144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wanted sexting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19350680"/>
                  </a:ext>
                </a:extLst>
              </a:tr>
            </a:tbl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D80A173E-95B5-44BC-9953-F5BFA556A705}"/>
              </a:ext>
            </a:extLst>
          </p:cNvPr>
          <p:cNvGrpSpPr/>
          <p:nvPr/>
        </p:nvGrpSpPr>
        <p:grpSpPr>
          <a:xfrm>
            <a:off x="2879699" y="1763125"/>
            <a:ext cx="374603" cy="4476535"/>
            <a:chOff x="1385190" y="1763125"/>
            <a:chExt cx="374603" cy="4476535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EE21643A-9ED8-43E5-A939-093719F3D0D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5190" y="2657007"/>
              <a:ext cx="365760" cy="365760"/>
            </a:xfrm>
            <a:prstGeom prst="rect">
              <a:avLst/>
            </a:prstGeom>
          </p:spPr>
        </p:pic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EE31CF3-4686-44BE-B493-01BB31563581}"/>
                </a:ext>
              </a:extLst>
            </p:cNvPr>
            <p:cNvGrpSpPr/>
            <p:nvPr/>
          </p:nvGrpSpPr>
          <p:grpSpPr>
            <a:xfrm>
              <a:off x="1394033" y="1763125"/>
              <a:ext cx="365760" cy="4476535"/>
              <a:chOff x="1423529" y="1763125"/>
              <a:chExt cx="365760" cy="4476535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1E32564F-A7C2-4AE0-9693-1093DAA086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23529" y="1763125"/>
                <a:ext cx="365760" cy="365760"/>
              </a:xfrm>
              <a:prstGeom prst="rect">
                <a:avLst/>
              </a:prstGeom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A6AE5704-C1F8-48DA-B139-AB7EA67280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23529" y="2200265"/>
                <a:ext cx="365760" cy="365760"/>
              </a:xfrm>
              <a:prstGeom prst="rect">
                <a:avLst/>
              </a:prstGeom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CC34D205-48FE-4DBF-8CC0-121CEC05B6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23529" y="4039461"/>
                <a:ext cx="365760" cy="365760"/>
              </a:xfrm>
              <a:prstGeom prst="rect">
                <a:avLst/>
              </a:prstGeom>
            </p:spPr>
          </p:pic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3DCE8B3E-2C97-4FAF-BC11-82F4069B28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23529" y="4965434"/>
                <a:ext cx="365760" cy="365760"/>
              </a:xfrm>
              <a:prstGeom prst="rect">
                <a:avLst/>
              </a:prstGeom>
            </p:spPr>
          </p:pic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7A1A30DC-CF23-4848-A072-035000583A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23529" y="3555826"/>
                <a:ext cx="365760" cy="365760"/>
              </a:xfrm>
              <a:prstGeom prst="rect">
                <a:avLst/>
              </a:prstGeom>
            </p:spPr>
          </p:pic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B56A08C6-C34E-4735-8FBC-75A8B8EFBF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23529" y="5419667"/>
                <a:ext cx="348074" cy="365760"/>
              </a:xfrm>
              <a:prstGeom prst="rect">
                <a:avLst/>
              </a:prstGeom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83009F6B-4A9A-4FF0-BA95-0FE8A057A3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423529" y="4491631"/>
                <a:ext cx="365760" cy="365760"/>
              </a:xfrm>
              <a:prstGeom prst="rect">
                <a:avLst/>
              </a:prstGeom>
            </p:spPr>
          </p:pic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09173699-3872-4171-A155-39C817ACEF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423529" y="5873900"/>
                <a:ext cx="365760" cy="365760"/>
              </a:xfrm>
              <a:prstGeom prst="rect">
                <a:avLst/>
              </a:prstGeom>
            </p:spPr>
          </p:pic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5C1EB727-8784-4073-A761-3C92DF44DA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1423529" y="3114597"/>
                <a:ext cx="365760" cy="365760"/>
              </a:xfrm>
              <a:prstGeom prst="rect">
                <a:avLst/>
              </a:prstGeom>
            </p:spPr>
          </p:pic>
        </p:grp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DE3B9BCD-632B-48D3-9E55-27E07FBD0DFC}"/>
              </a:ext>
            </a:extLst>
          </p:cNvPr>
          <p:cNvSpPr txBox="1"/>
          <p:nvPr/>
        </p:nvSpPr>
        <p:spPr>
          <a:xfrm>
            <a:off x="588263" y="1789277"/>
            <a:ext cx="1712007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New to the top ten</a:t>
            </a:r>
          </a:p>
          <a:p>
            <a:pPr algn="l"/>
            <a:endParaRPr lang="en-US" sz="160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anada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hil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ranc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tal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5966426-62F5-4FD9-98EC-9B0B30185C1B}"/>
              </a:ext>
            </a:extLst>
          </p:cNvPr>
          <p:cNvSpPr txBox="1"/>
          <p:nvPr/>
        </p:nvSpPr>
        <p:spPr>
          <a:xfrm>
            <a:off x="660822" y="6505616"/>
            <a:ext cx="4221348" cy="4062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Q2: Which of these has ever happened to you or to a friend/family member ONLINE?</a:t>
            </a:r>
          </a:p>
        </p:txBody>
      </p:sp>
    </p:spTree>
    <p:extLst>
      <p:ext uri="{BB962C8B-B14F-4D97-AF65-F5344CB8AC3E}">
        <p14:creationId xmlns:p14="http://schemas.microsoft.com/office/powerpoint/2010/main" val="3747262073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CB3DA1-50CF-475F-A8D4-459881A87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1168"/>
            <a:ext cx="10430257" cy="553998"/>
          </a:xfrm>
        </p:spPr>
        <p:txBody>
          <a:bodyPr/>
          <a:lstStyle/>
          <a:p>
            <a:r>
              <a:rPr lang="en-US"/>
              <a:t>Top 10 risks mostly unchanged or slightly lower from a year ago</a:t>
            </a:r>
            <a:br>
              <a:rPr lang="en-US"/>
            </a:br>
            <a:r>
              <a:rPr lang="en-US" sz="1400"/>
              <a:t>The number 1 risk, unwanted contact continued to decline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3515CA1-6D82-4505-9056-C15975B4EEF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16053471"/>
              </p:ext>
            </p:extLst>
          </p:nvPr>
        </p:nvGraphicFramePr>
        <p:xfrm>
          <a:off x="1305305" y="1708150"/>
          <a:ext cx="8577074" cy="407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4176">
                  <a:extLst>
                    <a:ext uri="{9D8B030D-6E8A-4147-A177-3AD203B41FA5}">
                      <a16:colId xmlns:a16="http://schemas.microsoft.com/office/drawing/2014/main" val="1856896094"/>
                    </a:ext>
                  </a:extLst>
                </a:gridCol>
                <a:gridCol w="993483">
                  <a:extLst>
                    <a:ext uri="{9D8B030D-6E8A-4147-A177-3AD203B41FA5}">
                      <a16:colId xmlns:a16="http://schemas.microsoft.com/office/drawing/2014/main" val="1083378058"/>
                    </a:ext>
                  </a:extLst>
                </a:gridCol>
                <a:gridCol w="811345">
                  <a:extLst>
                    <a:ext uri="{9D8B030D-6E8A-4147-A177-3AD203B41FA5}">
                      <a16:colId xmlns:a16="http://schemas.microsoft.com/office/drawing/2014/main" val="2615399048"/>
                    </a:ext>
                  </a:extLst>
                </a:gridCol>
                <a:gridCol w="811345">
                  <a:extLst>
                    <a:ext uri="{9D8B030D-6E8A-4147-A177-3AD203B41FA5}">
                      <a16:colId xmlns:a16="http://schemas.microsoft.com/office/drawing/2014/main" val="3015869470"/>
                    </a:ext>
                  </a:extLst>
                </a:gridCol>
                <a:gridCol w="811345">
                  <a:extLst>
                    <a:ext uri="{9D8B030D-6E8A-4147-A177-3AD203B41FA5}">
                      <a16:colId xmlns:a16="http://schemas.microsoft.com/office/drawing/2014/main" val="63209427"/>
                    </a:ext>
                  </a:extLst>
                </a:gridCol>
                <a:gridCol w="811345">
                  <a:extLst>
                    <a:ext uri="{9D8B030D-6E8A-4147-A177-3AD203B41FA5}">
                      <a16:colId xmlns:a16="http://schemas.microsoft.com/office/drawing/2014/main" val="1104248545"/>
                    </a:ext>
                  </a:extLst>
                </a:gridCol>
                <a:gridCol w="811345">
                  <a:extLst>
                    <a:ext uri="{9D8B030D-6E8A-4147-A177-3AD203B41FA5}">
                      <a16:colId xmlns:a16="http://schemas.microsoft.com/office/drawing/2014/main" val="2989882273"/>
                    </a:ext>
                  </a:extLst>
                </a:gridCol>
                <a:gridCol w="811345">
                  <a:extLst>
                    <a:ext uri="{9D8B030D-6E8A-4147-A177-3AD203B41FA5}">
                      <a16:colId xmlns:a16="http://schemas.microsoft.com/office/drawing/2014/main" val="585320020"/>
                    </a:ext>
                  </a:extLst>
                </a:gridCol>
                <a:gridCol w="811345">
                  <a:extLst>
                    <a:ext uri="{9D8B030D-6E8A-4147-A177-3AD203B41FA5}">
                      <a16:colId xmlns:a16="http://schemas.microsoft.com/office/drawing/2014/main" val="253316080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sz="1200" b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sng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Risk category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sng" strike="noStrike">
                          <a:solidFill>
                            <a:schemeClr val="bg1"/>
                          </a:solidFill>
                          <a:effectLst/>
                        </a:rPr>
                        <a:t>2017</a:t>
                      </a:r>
                      <a:endParaRPr lang="en-US" sz="1200" b="0" i="0" u="sng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sng" strike="noStrike">
                          <a:solidFill>
                            <a:schemeClr val="bg1"/>
                          </a:solidFill>
                          <a:effectLst/>
                        </a:rPr>
                        <a:t>2018</a:t>
                      </a:r>
                      <a:endParaRPr lang="en-US" sz="1200" b="0" i="0" u="sng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sng" strike="noStrike">
                          <a:solidFill>
                            <a:schemeClr val="bg1"/>
                          </a:solidFill>
                          <a:effectLst/>
                        </a:rPr>
                        <a:t>2019</a:t>
                      </a:r>
                      <a:endParaRPr lang="en-US" sz="1200" b="0" i="0" u="sng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sng" strike="noStrike">
                          <a:solidFill>
                            <a:schemeClr val="bg1"/>
                          </a:solidFill>
                          <a:effectLst/>
                        </a:rPr>
                        <a:t>2020</a:t>
                      </a:r>
                      <a:endParaRPr lang="en-US" sz="1200" b="0" i="0" u="sng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sng" strike="noStrike">
                          <a:solidFill>
                            <a:schemeClr val="bg1"/>
                          </a:solidFill>
                          <a:effectLst/>
                        </a:rPr>
                        <a:t>2021</a:t>
                      </a:r>
                      <a:endParaRPr lang="en-US" sz="1200" b="0" i="0" u="sng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sng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YoY </a:t>
                      </a:r>
                      <a:r>
                        <a:rPr lang="en-US" sz="1200" b="0" i="0" u="sng" strike="noStrike">
                          <a:solidFill>
                            <a:schemeClr val="bg1"/>
                          </a:solidFill>
                          <a:effectLst/>
                          <a:latin typeface="Wingdings 3" panose="05040102010807070707" pitchFamily="18" charset="2"/>
                        </a:rPr>
                        <a:t>p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sng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 yr. </a:t>
                      </a:r>
                      <a:r>
                        <a:rPr lang="en-US" sz="1200" b="0" i="0" u="sng" strike="noStrike">
                          <a:solidFill>
                            <a:schemeClr val="bg1"/>
                          </a:solidFill>
                          <a:effectLst/>
                          <a:latin typeface="Wingdings 3" panose="05040102010807070707" pitchFamily="18" charset="2"/>
                        </a:rPr>
                        <a:t>p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382145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14300" lvl="1" indent="0"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Unwanted contact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trusiv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4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4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4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4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3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5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628446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14300" lvl="1" indent="0"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Hoaxes, frauds, scam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trusiv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2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2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2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3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1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2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50296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14300" lvl="1" indent="0"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Unwanted Sexting*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xual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2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2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2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2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2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136785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14300" lvl="1" indent="0"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Treated mea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ehavioral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2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2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2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2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2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2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846257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14300" lvl="1" indent="0"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Trollin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ehavioral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2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2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2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703339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14300" lvl="1" indent="0"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Hate speech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trusiv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7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2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63823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14300" lvl="1" indent="0"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Unwanted sexual attentio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xual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253334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14300" lvl="1" indent="0"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Online harassment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ehavioral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7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691813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14300" lvl="1" indent="0"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Discriminatio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trusiv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5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36145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14300" lvl="1" indent="0"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Sexual solicitatio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xual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21609381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13534933-7B38-436B-8DCC-39C88764BBB2}"/>
              </a:ext>
            </a:extLst>
          </p:cNvPr>
          <p:cNvSpPr txBox="1"/>
          <p:nvPr/>
        </p:nvSpPr>
        <p:spPr>
          <a:xfrm>
            <a:off x="660822" y="6505616"/>
            <a:ext cx="4221348" cy="4062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Q2: Which of these has ever happened to you or to a friend/family member ONLINE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3D71B5B-3FF5-4B87-A574-16F25004AEDD}"/>
              </a:ext>
            </a:extLst>
          </p:cNvPr>
          <p:cNvSpPr txBox="1"/>
          <p:nvPr/>
        </p:nvSpPr>
        <p:spPr>
          <a:xfrm>
            <a:off x="1266837" y="5791007"/>
            <a:ext cx="26516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/>
              <a:t>*includes unwanted sexting received &amp; sent</a:t>
            </a:r>
          </a:p>
        </p:txBody>
      </p:sp>
    </p:spTree>
    <p:extLst>
      <p:ext uri="{BB962C8B-B14F-4D97-AF65-F5344CB8AC3E}">
        <p14:creationId xmlns:p14="http://schemas.microsoft.com/office/powerpoint/2010/main" val="316685878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B800E3-C236-4C4E-8259-66C0296BC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sequences, 5-year trends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D4F49734-6CF4-4D55-AAE2-4449306BC2E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19540148"/>
              </p:ext>
            </p:extLst>
          </p:nvPr>
        </p:nvGraphicFramePr>
        <p:xfrm>
          <a:off x="585788" y="1450974"/>
          <a:ext cx="5212080" cy="49814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4560">
                  <a:extLst>
                    <a:ext uri="{9D8B030D-6E8A-4147-A177-3AD203B41FA5}">
                      <a16:colId xmlns:a16="http://schemas.microsoft.com/office/drawing/2014/main" val="1692741098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724301762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1791320726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1772091754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2501452504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3177830353"/>
                    </a:ext>
                  </a:extLst>
                </a:gridCol>
              </a:tblGrid>
              <a:tr h="415124">
                <a:tc>
                  <a:txBody>
                    <a:bodyPr/>
                    <a:lstStyle/>
                    <a:p>
                      <a:pPr algn="r"/>
                      <a:r>
                        <a:rPr lang="en-US"/>
                        <a:t>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201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201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20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202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6388743"/>
                  </a:ext>
                </a:extLst>
              </a:tr>
              <a:tr h="41512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ny consequence</a:t>
                      </a:r>
                    </a:p>
                  </a:txBody>
                  <a:tcPr marL="18288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130885650"/>
                  </a:ext>
                </a:extLst>
              </a:tr>
              <a:tr h="41512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ecame less trusting of other people online</a:t>
                      </a:r>
                    </a:p>
                  </a:txBody>
                  <a:tcPr marL="18288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58603728"/>
                  </a:ext>
                </a:extLst>
              </a:tr>
              <a:tr h="41512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as less likely to participate in social media, blogs, forums</a:t>
                      </a:r>
                    </a:p>
                  </a:txBody>
                  <a:tcPr marL="18288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56863351"/>
                  </a:ext>
                </a:extLst>
              </a:tr>
              <a:tr h="41512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ecame less trusting of other people offline</a:t>
                      </a:r>
                    </a:p>
                  </a:txBody>
                  <a:tcPr marL="18288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48845205"/>
                  </a:ext>
                </a:extLst>
              </a:tr>
              <a:tr h="41512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wer self-esteem</a:t>
                      </a:r>
                    </a:p>
                  </a:txBody>
                  <a:tcPr marL="18288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92410139"/>
                  </a:ext>
                </a:extLst>
              </a:tr>
              <a:tr h="41512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st sleep</a:t>
                      </a:r>
                    </a:p>
                  </a:txBody>
                  <a:tcPr marL="18288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3483865"/>
                  </a:ext>
                </a:extLst>
              </a:tr>
              <a:tr h="41512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elt more isolated and lonely</a:t>
                      </a:r>
                    </a:p>
                  </a:txBody>
                  <a:tcPr marL="18288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47857107"/>
                  </a:ext>
                </a:extLst>
              </a:tr>
              <a:tr h="41512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sonal reputation was damaged</a:t>
                      </a:r>
                    </a:p>
                  </a:txBody>
                  <a:tcPr marL="18288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14537539"/>
                  </a:ext>
                </a:extLst>
              </a:tr>
              <a:tr h="41512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y life became more stressful</a:t>
                      </a:r>
                    </a:p>
                  </a:txBody>
                  <a:tcPr marL="18288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91367111"/>
                  </a:ext>
                </a:extLst>
              </a:tr>
              <a:tr h="41512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st money</a:t>
                      </a:r>
                    </a:p>
                  </a:txBody>
                  <a:tcPr marL="18288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75592940"/>
                  </a:ext>
                </a:extLst>
              </a:tr>
              <a:tr h="41512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ried to be more constructive in my criticism of other people</a:t>
                      </a:r>
                    </a:p>
                  </a:txBody>
                  <a:tcPr marL="18288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99584267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3A1D6F5-0F3B-4E89-8FE3-D3E724941236}"/>
              </a:ext>
            </a:extLst>
          </p:cNvPr>
          <p:cNvGraphicFramePr>
            <a:graphicFrameLocks/>
          </p:cNvGraphicFramePr>
          <p:nvPr/>
        </p:nvGraphicFramePr>
        <p:xfrm>
          <a:off x="6394132" y="1450974"/>
          <a:ext cx="5212080" cy="45663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4560">
                  <a:extLst>
                    <a:ext uri="{9D8B030D-6E8A-4147-A177-3AD203B41FA5}">
                      <a16:colId xmlns:a16="http://schemas.microsoft.com/office/drawing/2014/main" val="1692741098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724301762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1791320726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1772091754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2501452504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3177830353"/>
                    </a:ext>
                  </a:extLst>
                </a:gridCol>
              </a:tblGrid>
              <a:tr h="415124">
                <a:tc>
                  <a:txBody>
                    <a:bodyPr/>
                    <a:lstStyle/>
                    <a:p>
                      <a:pPr algn="r"/>
                      <a:r>
                        <a:rPr lang="en-US"/>
                        <a:t>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201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201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20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202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6388743"/>
                  </a:ext>
                </a:extLst>
              </a:tr>
              <a:tr h="41512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 blame myself for what happened to me</a:t>
                      </a:r>
                    </a:p>
                  </a:txBody>
                  <a:tcPr marL="18288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69122501"/>
                  </a:ext>
                </a:extLst>
              </a:tr>
              <a:tr h="41512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ecame depressed</a:t>
                      </a:r>
                    </a:p>
                  </a:txBody>
                  <a:tcPr marL="18288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  <a:endParaRPr lang="en-US" sz="1200" b="0" i="0" u="none" strike="noStrike"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  <a:endParaRPr lang="en-US" sz="1200" b="0" i="0" u="none" strike="noStrike"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  <a:endParaRPr lang="en-US" sz="1200" b="0" i="0" u="none" strike="noStrike"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US" sz="1200" b="0" i="0" u="none" strike="noStrike"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13600790"/>
                  </a:ext>
                </a:extLst>
              </a:tr>
              <a:tr h="41512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st a friend</a:t>
                      </a:r>
                    </a:p>
                  </a:txBody>
                  <a:tcPr marL="18288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58603728"/>
                  </a:ext>
                </a:extLst>
              </a:tr>
              <a:tr h="41512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itnesses to the incident tried to defend and help</a:t>
                      </a:r>
                    </a:p>
                  </a:txBody>
                  <a:tcPr marL="18288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85166576"/>
                  </a:ext>
                </a:extLst>
              </a:tr>
              <a:tr h="41512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de to feel physically unsafe</a:t>
                      </a:r>
                    </a:p>
                  </a:txBody>
                  <a:tcPr marL="18288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40982822"/>
                  </a:ext>
                </a:extLst>
              </a:tr>
              <a:tr h="41512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gatively affected my school performance</a:t>
                      </a:r>
                    </a:p>
                  </a:txBody>
                  <a:tcPr marL="18288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56863351"/>
                  </a:ext>
                </a:extLst>
              </a:tr>
              <a:tr h="41512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ad thoughts of suicide</a:t>
                      </a:r>
                    </a:p>
                  </a:txBody>
                  <a:tcPr marL="18288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77335791"/>
                  </a:ext>
                </a:extLst>
              </a:tr>
              <a:tr h="41512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elt severely and persistently intimidated or threatened</a:t>
                      </a:r>
                    </a:p>
                  </a:txBody>
                  <a:tcPr marL="18288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47857107"/>
                  </a:ext>
                </a:extLst>
              </a:tr>
              <a:tr h="41512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gatively affected my work performance</a:t>
                      </a:r>
                    </a:p>
                  </a:txBody>
                  <a:tcPr marL="18288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90695979"/>
                  </a:ext>
                </a:extLst>
              </a:tr>
              <a:tr h="41512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as encouraged to harm myself or others</a:t>
                      </a:r>
                    </a:p>
                  </a:txBody>
                  <a:tcPr marL="18288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845858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D85FD29-915E-4AB3-BD3D-F4D76CE43C94}"/>
              </a:ext>
            </a:extLst>
          </p:cNvPr>
          <p:cNvSpPr txBox="1"/>
          <p:nvPr/>
        </p:nvSpPr>
        <p:spPr>
          <a:xfrm>
            <a:off x="660823" y="6439143"/>
            <a:ext cx="6487230" cy="541687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r>
              <a:rPr lang="en-US" sz="800"/>
              <a:t>Q.9:  You previously mentioned that you or a friend/family member had been treated in an uncivil way online by another person(s). Please tell us if any of the following has ever happened to you or to a friend/family member as a consequence of being treated uncivilly:</a:t>
            </a:r>
          </a:p>
        </p:txBody>
      </p:sp>
    </p:spTree>
    <p:extLst>
      <p:ext uri="{BB962C8B-B14F-4D97-AF65-F5344CB8AC3E}">
        <p14:creationId xmlns:p14="http://schemas.microsoft.com/office/powerpoint/2010/main" val="2760810556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B800E3-C236-4C4E-8259-66C0296BC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ctions taken, 5-year trends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D4F49734-6CF4-4D55-AAE2-4449306BC2E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98802526"/>
              </p:ext>
            </p:extLst>
          </p:nvPr>
        </p:nvGraphicFramePr>
        <p:xfrm>
          <a:off x="585788" y="1450975"/>
          <a:ext cx="5212080" cy="48006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4560">
                  <a:extLst>
                    <a:ext uri="{9D8B030D-6E8A-4147-A177-3AD203B41FA5}">
                      <a16:colId xmlns:a16="http://schemas.microsoft.com/office/drawing/2014/main" val="1692741098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724301762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1791320726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1772091754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2501452504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3177830353"/>
                    </a:ext>
                  </a:extLst>
                </a:gridCol>
              </a:tblGrid>
              <a:tr h="406434">
                <a:tc>
                  <a:txBody>
                    <a:bodyPr/>
                    <a:lstStyle/>
                    <a:p>
                      <a:pPr algn="r"/>
                      <a:r>
                        <a:rPr lang="en-US"/>
                        <a:t>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201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201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20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202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63887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91440" lvl="1"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ny action take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8142779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91440" lvl="1"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friended or blocked the person responsibl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586037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91440" lvl="1"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ked my parents for help </a:t>
                      </a:r>
                    </a:p>
                    <a:p>
                      <a:pPr marL="91440" lvl="1"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teens only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568633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91440" lvl="1"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duced the amount of personal information I share onlin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4884520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91440" lvl="1"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 used tighter privacy settings on social medi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348386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91440" lvl="1" algn="l" fontAlgn="t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 stood up for myself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7733579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91440" lvl="1"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ked for help from an adult</a:t>
                      </a:r>
                    </a:p>
                    <a:p>
                      <a:pPr marL="91440" lvl="1"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teens only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4785710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91440" lvl="1"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duced the amount of time I spent on social media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9958426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91440" lvl="1"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 defended someone who was treated unsafe or uncivil onlin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90695979"/>
                  </a:ext>
                </a:extLst>
              </a:tr>
              <a:tr h="551191">
                <a:tc>
                  <a:txBody>
                    <a:bodyPr/>
                    <a:lstStyle/>
                    <a:p>
                      <a:pPr marL="91440" lvl="1" algn="l" fontAlgn="t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 paused before replying to someone I disagreed with onlin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58409365"/>
                  </a:ext>
                </a:extLst>
              </a:tr>
              <a:tr h="551191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 reported the incident to the website, online service or social media company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39185486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EBDDDDF-9619-4DF6-AA31-395ABAC00349}"/>
              </a:ext>
            </a:extLst>
          </p:cNvPr>
          <p:cNvGraphicFramePr>
            <a:graphicFrameLocks/>
          </p:cNvGraphicFramePr>
          <p:nvPr/>
        </p:nvGraphicFramePr>
        <p:xfrm>
          <a:off x="6394132" y="1450974"/>
          <a:ext cx="5212080" cy="45652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4560">
                  <a:extLst>
                    <a:ext uri="{9D8B030D-6E8A-4147-A177-3AD203B41FA5}">
                      <a16:colId xmlns:a16="http://schemas.microsoft.com/office/drawing/2014/main" val="1692741098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724301762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1791320726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1772091754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2501452504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3177830353"/>
                    </a:ext>
                  </a:extLst>
                </a:gridCol>
              </a:tblGrid>
              <a:tr h="416997">
                <a:tc>
                  <a:txBody>
                    <a:bodyPr/>
                    <a:lstStyle/>
                    <a:p>
                      <a:pPr algn="r"/>
                      <a:r>
                        <a:rPr lang="en-US"/>
                        <a:t>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201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201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20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202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63887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91440" lvl="1"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 asked help from a friend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1627760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91440" algn="l" fontAlgn="t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 showed respect for other people's point of view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568633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91440" algn="l" fontAlgn="t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 treated the other person with dignity and respec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4884520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91440"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opped using or canceled some of my social media account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348386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91440"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 started using two-factor authentication to help protect my accoun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4395025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91440"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 confronted the person or persons onlin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72621984"/>
                  </a:ext>
                </a:extLst>
              </a:tr>
              <a:tr h="565517">
                <a:tc>
                  <a:txBody>
                    <a:bodyPr/>
                    <a:lstStyle/>
                    <a:p>
                      <a:pPr marL="91440"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 tried to remove or correct untrue information that someone posted about m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77335791"/>
                  </a:ext>
                </a:extLst>
              </a:tr>
              <a:tr h="416997">
                <a:tc>
                  <a:txBody>
                    <a:bodyPr/>
                    <a:lstStyle/>
                    <a:p>
                      <a:pPr marL="91440"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tacted a teacher or school administrator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99584267"/>
                  </a:ext>
                </a:extLst>
              </a:tr>
              <a:tr h="416997">
                <a:tc>
                  <a:txBody>
                    <a:bodyPr/>
                    <a:lstStyle/>
                    <a:p>
                      <a:pPr marL="91440"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 retaliated by being uncivil to the person who was uncivil to m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90695979"/>
                  </a:ext>
                </a:extLst>
              </a:tr>
              <a:tr h="416997">
                <a:tc>
                  <a:txBody>
                    <a:bodyPr/>
                    <a:lstStyle/>
                    <a:p>
                      <a:pPr marL="91440" algn="l" fontAlgn="t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 sought out professional mental healthcare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76898781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C388F36D-D80B-47EC-84BC-23AACD6A3125}"/>
              </a:ext>
            </a:extLst>
          </p:cNvPr>
          <p:cNvSpPr txBox="1"/>
          <p:nvPr/>
        </p:nvSpPr>
        <p:spPr>
          <a:xfrm>
            <a:off x="660822" y="6488303"/>
            <a:ext cx="5657639" cy="418576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r>
              <a:rPr lang="en-US" sz="800"/>
              <a:t>Q.12:  Have you ever taken any of the following actions after you were treated in an unsafe or uncivil manner online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9AACA6F-B8DA-49C2-8DD2-6FFF0BDA101B}"/>
              </a:ext>
            </a:extLst>
          </p:cNvPr>
          <p:cNvSpPr txBox="1"/>
          <p:nvPr/>
        </p:nvSpPr>
        <p:spPr>
          <a:xfrm>
            <a:off x="585788" y="1214303"/>
            <a:ext cx="216726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 b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old = </a:t>
            </a:r>
            <a:r>
              <a:rPr lang="en-US" sz="10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igital civility challenge items</a:t>
            </a:r>
          </a:p>
        </p:txBody>
      </p:sp>
    </p:spTree>
    <p:extLst>
      <p:ext uri="{BB962C8B-B14F-4D97-AF65-F5344CB8AC3E}">
        <p14:creationId xmlns:p14="http://schemas.microsoft.com/office/powerpoint/2010/main" val="2725607561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0B008-0D5C-4FBB-89A4-AB1C0BDB1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553998"/>
          </a:xfrm>
        </p:spPr>
        <p:txBody>
          <a:bodyPr/>
          <a:lstStyle/>
          <a:p>
            <a:r>
              <a:rPr lang="en-US"/>
              <a:t>56% took at least one Digital Civility Challenge (DCC) action</a:t>
            </a:r>
            <a:br>
              <a:rPr lang="en-US"/>
            </a:br>
            <a:r>
              <a:rPr lang="en-US" sz="1400"/>
              <a:t>The foundational action of “stood up for myself” fell 3-pts. while other DCC items held steady</a:t>
            </a:r>
            <a:endParaRPr lang="en-US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CCD0D53C-B3FC-47CA-897A-77C822793CE4}"/>
              </a:ext>
            </a:extLst>
          </p:cNvPr>
          <p:cNvGraphicFramePr>
            <a:graphicFrameLocks/>
          </p:cNvGraphicFramePr>
          <p:nvPr/>
        </p:nvGraphicFramePr>
        <p:xfrm>
          <a:off x="3015483" y="2202437"/>
          <a:ext cx="2011680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EA8084CF-1184-4ACB-9C3C-0DFF9AA7E9CB}"/>
              </a:ext>
            </a:extLst>
          </p:cNvPr>
          <p:cNvGraphicFramePr>
            <a:graphicFrameLocks/>
          </p:cNvGraphicFramePr>
          <p:nvPr/>
        </p:nvGraphicFramePr>
        <p:xfrm>
          <a:off x="5001636" y="2202437"/>
          <a:ext cx="2011680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A0D53277-0A6A-4A25-BBC6-8BD4CD255986}"/>
              </a:ext>
            </a:extLst>
          </p:cNvPr>
          <p:cNvGraphicFramePr>
            <a:graphicFrameLocks/>
          </p:cNvGraphicFramePr>
          <p:nvPr/>
        </p:nvGraphicFramePr>
        <p:xfrm>
          <a:off x="6987789" y="2202437"/>
          <a:ext cx="2011680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05455974-2224-45A3-82F0-DEF4D450DF73}"/>
              </a:ext>
            </a:extLst>
          </p:cNvPr>
          <p:cNvGraphicFramePr>
            <a:graphicFrameLocks/>
          </p:cNvGraphicFramePr>
          <p:nvPr/>
        </p:nvGraphicFramePr>
        <p:xfrm>
          <a:off x="8973941" y="2202437"/>
          <a:ext cx="2011680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A9108F38-874F-4198-A028-64B581F4CE4F}"/>
              </a:ext>
            </a:extLst>
          </p:cNvPr>
          <p:cNvGraphicFramePr>
            <a:graphicFrameLocks/>
          </p:cNvGraphicFramePr>
          <p:nvPr/>
        </p:nvGraphicFramePr>
        <p:xfrm>
          <a:off x="1029330" y="2202437"/>
          <a:ext cx="2011680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16" name="Group 15">
            <a:extLst>
              <a:ext uri="{FF2B5EF4-FFF2-40B4-BE49-F238E27FC236}">
                <a16:creationId xmlns:a16="http://schemas.microsoft.com/office/drawing/2014/main" id="{EF9EC6CB-0344-4A3F-B8E6-3744075913DB}"/>
              </a:ext>
            </a:extLst>
          </p:cNvPr>
          <p:cNvGrpSpPr/>
          <p:nvPr/>
        </p:nvGrpSpPr>
        <p:grpSpPr>
          <a:xfrm>
            <a:off x="1089416" y="1787183"/>
            <a:ext cx="9986632" cy="523221"/>
            <a:chOff x="1089416" y="2766988"/>
            <a:chExt cx="9986632" cy="523221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9B206DB-A08E-4FEE-9EF4-D7F6A0CAD127}"/>
                </a:ext>
              </a:extLst>
            </p:cNvPr>
            <p:cNvGrpSpPr/>
            <p:nvPr/>
          </p:nvGrpSpPr>
          <p:grpSpPr>
            <a:xfrm>
              <a:off x="1089416" y="2766988"/>
              <a:ext cx="9986632" cy="523221"/>
              <a:chOff x="1113396" y="2344967"/>
              <a:chExt cx="7819423" cy="523221"/>
            </a:xfrm>
          </p:grpSpPr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D42229F3-A04F-4B5F-B9D4-9E9ABF88F04F}"/>
                  </a:ext>
                </a:extLst>
              </p:cNvPr>
              <p:cNvSpPr txBox="1"/>
              <p:nvPr/>
            </p:nvSpPr>
            <p:spPr>
              <a:xfrm>
                <a:off x="1113396" y="2452689"/>
                <a:ext cx="1501211" cy="30777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400">
                    <a:latin typeface="+mj-lt"/>
                  </a:rPr>
                  <a:t>Any DCC action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866FB2E0-9712-4E9C-B3A3-1D830BE5D820}"/>
                  </a:ext>
                </a:extLst>
              </p:cNvPr>
              <p:cNvSpPr txBox="1"/>
              <p:nvPr/>
            </p:nvSpPr>
            <p:spPr>
              <a:xfrm>
                <a:off x="4138085" y="2435373"/>
                <a:ext cx="1743620" cy="30777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400">
                    <a:latin typeface="+mj-lt"/>
                  </a:rPr>
                  <a:t>Paused before replying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8528D8C2-14B1-457C-B845-F983445738AE}"/>
                  </a:ext>
                </a:extLst>
              </p:cNvPr>
              <p:cNvSpPr txBox="1"/>
              <p:nvPr/>
            </p:nvSpPr>
            <p:spPr>
              <a:xfrm>
                <a:off x="5783215" y="2344967"/>
                <a:ext cx="1463446" cy="52322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400">
                    <a:latin typeface="+mj-lt"/>
                  </a:rPr>
                  <a:t>Respect for another POV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F1CE3FC0-2A62-4EE5-903F-1619CD7395A1}"/>
                  </a:ext>
                </a:extLst>
              </p:cNvPr>
              <p:cNvSpPr txBox="1"/>
              <p:nvPr/>
            </p:nvSpPr>
            <p:spPr>
              <a:xfrm>
                <a:off x="7189200" y="2344968"/>
                <a:ext cx="1743619" cy="52322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400">
                    <a:latin typeface="+mj-lt"/>
                  </a:rPr>
                  <a:t>Treat with dignity &amp; respect</a:t>
                </a:r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A9091AF-B979-454C-A049-8A7B03DFAD9C}"/>
                </a:ext>
              </a:extLst>
            </p:cNvPr>
            <p:cNvSpPr txBox="1"/>
            <p:nvPr/>
          </p:nvSpPr>
          <p:spPr>
            <a:xfrm>
              <a:off x="2927094" y="2857394"/>
              <a:ext cx="2226878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400">
                  <a:latin typeface="+mj-lt"/>
                </a:rPr>
                <a:t>I stood up for myself</a:t>
              </a: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838A8051-7EE0-41BC-A46B-B4C88DC5B7C8}"/>
              </a:ext>
            </a:extLst>
          </p:cNvPr>
          <p:cNvSpPr txBox="1"/>
          <p:nvPr/>
        </p:nvSpPr>
        <p:spPr>
          <a:xfrm>
            <a:off x="660822" y="6496091"/>
            <a:ext cx="5686493" cy="4062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 Q.12:  Have you ever taken any of the following actions after you were treated in an unsafe or uncivil manner online?</a:t>
            </a:r>
          </a:p>
        </p:txBody>
      </p:sp>
      <p:sp>
        <p:nvSpPr>
          <p:cNvPr id="5" name="Speech Bubble: Rectangle with Corners Rounded 4">
            <a:extLst>
              <a:ext uri="{FF2B5EF4-FFF2-40B4-BE49-F238E27FC236}">
                <a16:creationId xmlns:a16="http://schemas.microsoft.com/office/drawing/2014/main" id="{FCC2F28E-5115-4FA5-86AB-130B12467AA7}"/>
              </a:ext>
            </a:extLst>
          </p:cNvPr>
          <p:cNvSpPr/>
          <p:nvPr/>
        </p:nvSpPr>
        <p:spPr bwMode="auto">
          <a:xfrm>
            <a:off x="3431665" y="3104193"/>
            <a:ext cx="2371726" cy="307777"/>
          </a:xfrm>
          <a:prstGeom prst="wedgeRoundRectCallout">
            <a:avLst>
              <a:gd name="adj1" fmla="val 4067"/>
              <a:gd name="adj2" fmla="val 149153"/>
              <a:gd name="adj3" fmla="val 16667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Foundational action fell 3-pts.</a:t>
            </a:r>
          </a:p>
        </p:txBody>
      </p:sp>
    </p:spTree>
    <p:extLst>
      <p:ext uri="{BB962C8B-B14F-4D97-AF65-F5344CB8AC3E}">
        <p14:creationId xmlns:p14="http://schemas.microsoft.com/office/powerpoint/2010/main" val="315644456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4B91B0-F67C-4B0B-9223-CFC255F9CD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2466201"/>
            <a:ext cx="4171950" cy="775597"/>
          </a:xfrm>
        </p:spPr>
        <p:txBody>
          <a:bodyPr/>
          <a:lstStyle/>
          <a:p>
            <a:r>
              <a:rPr lang="en-US" sz="2800">
                <a:solidFill>
                  <a:schemeClr val="bg1"/>
                </a:solidFill>
              </a:rPr>
              <a:t>DCI nears all-time best led by teenage boys </a:t>
            </a:r>
            <a:endParaRPr lang="en-US" sz="2800"/>
          </a:p>
        </p:txBody>
      </p:sp>
    </p:spTree>
    <p:extLst>
      <p:ext uri="{BB962C8B-B14F-4D97-AF65-F5344CB8AC3E}">
        <p14:creationId xmlns:p14="http://schemas.microsoft.com/office/powerpoint/2010/main" val="1574316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C4A906F5-36E1-4B74-95B9-A007958D0A0C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85788" y="1450975"/>
          <a:ext cx="536575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A1540A-073A-42E0-872C-07AE7B1A6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338554"/>
          </a:xfrm>
        </p:spPr>
        <p:txBody>
          <a:bodyPr/>
          <a:lstStyle/>
          <a:p>
            <a:r>
              <a:rPr lang="en-US"/>
              <a:t>Sources of risk held steady, Slightly fewer risks happened during the past yea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DAFA64B-BC5E-4248-94D4-14E8B63FE608}"/>
              </a:ext>
            </a:extLst>
          </p:cNvPr>
          <p:cNvSpPr txBox="1"/>
          <p:nvPr/>
        </p:nvSpPr>
        <p:spPr>
          <a:xfrm>
            <a:off x="660822" y="6468332"/>
            <a:ext cx="4795223" cy="541687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r>
              <a:rPr lang="en-US" sz="800"/>
              <a:t> Q.2A:  Which types of people have, in the past treated you in an unsafe or uncivil manner online?</a:t>
            </a:r>
          </a:p>
          <a:p>
            <a:r>
              <a:rPr lang="en-US" sz="800"/>
              <a:t> Q.6:  When was the last time these events happened to you?</a:t>
            </a:r>
          </a:p>
        </p:txBody>
      </p:sp>
      <p:graphicFrame>
        <p:nvGraphicFramePr>
          <p:cNvPr id="16" name="Content Placeholder 6">
            <a:extLst>
              <a:ext uri="{FF2B5EF4-FFF2-40B4-BE49-F238E27FC236}">
                <a16:creationId xmlns:a16="http://schemas.microsoft.com/office/drawing/2014/main" id="{6E78D73F-7093-4180-824F-F0D5A1D0C79B}"/>
              </a:ext>
            </a:extLst>
          </p:cNvPr>
          <p:cNvGraphicFramePr>
            <a:graphicFrameLocks/>
          </p:cNvGraphicFramePr>
          <p:nvPr/>
        </p:nvGraphicFramePr>
        <p:xfrm>
          <a:off x="6090920" y="1450975"/>
          <a:ext cx="536575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905572916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49B9EE-3984-467E-97FC-DA775BFCC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338554"/>
          </a:xfrm>
        </p:spPr>
        <p:txBody>
          <a:bodyPr/>
          <a:lstStyle/>
          <a:p>
            <a:r>
              <a:rPr lang="en-US"/>
              <a:t>One in five used personal video calls several times a day</a:t>
            </a:r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09DC29B7-230A-4954-A9F9-E6384218526C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88263" y="1460808"/>
          <a:ext cx="10430257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FE49FABD-8235-484C-80F7-EA7A70AC23F8}"/>
              </a:ext>
            </a:extLst>
          </p:cNvPr>
          <p:cNvSpPr txBox="1"/>
          <p:nvPr/>
        </p:nvSpPr>
        <p:spPr>
          <a:xfrm>
            <a:off x="660822" y="6496091"/>
            <a:ext cx="3982500" cy="4062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 Q.12J:  How often do you personally use any of the following: &lt;insert activity&gt;</a:t>
            </a:r>
          </a:p>
        </p:txBody>
      </p:sp>
    </p:spTree>
    <p:extLst>
      <p:ext uri="{BB962C8B-B14F-4D97-AF65-F5344CB8AC3E}">
        <p14:creationId xmlns:p14="http://schemas.microsoft.com/office/powerpoint/2010/main" val="3781656585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356E49-40DA-4AAF-A900-BFAB3755E0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anges in online civility during Covid by country</a:t>
            </a:r>
          </a:p>
        </p:txBody>
      </p:sp>
      <p:graphicFrame>
        <p:nvGraphicFramePr>
          <p:cNvPr id="4" name="Content Placeholder 5">
            <a:extLst>
              <a:ext uri="{FF2B5EF4-FFF2-40B4-BE49-F238E27FC236}">
                <a16:creationId xmlns:a16="http://schemas.microsoft.com/office/drawing/2014/main" id="{A3953FAF-BBAC-4B86-B87C-798F305CCE7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3502992"/>
              </p:ext>
            </p:extLst>
          </p:nvPr>
        </p:nvGraphicFramePr>
        <p:xfrm>
          <a:off x="629266" y="1858406"/>
          <a:ext cx="10698480" cy="38148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EE1464B3-1018-496C-A596-8EE376D0018F}"/>
              </a:ext>
            </a:extLst>
          </p:cNvPr>
          <p:cNvSpPr txBox="1"/>
          <p:nvPr/>
        </p:nvSpPr>
        <p:spPr>
          <a:xfrm>
            <a:off x="660822" y="6488303"/>
            <a:ext cx="8118248" cy="418576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r>
              <a:rPr lang="en-US" sz="800"/>
              <a:t>Q.CV1:  How has the Corona virus (COVID-19) outbreak affected the degree of civility you experience in online interactions? During the outbreak, has civility online been...?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40FC932-3169-4417-989C-A853612CE16D}"/>
              </a:ext>
            </a:extLst>
          </p:cNvPr>
          <p:cNvGrpSpPr/>
          <p:nvPr/>
        </p:nvGrpSpPr>
        <p:grpSpPr>
          <a:xfrm>
            <a:off x="1540222" y="1506976"/>
            <a:ext cx="9547122" cy="276999"/>
            <a:chOff x="1540222" y="1506976"/>
            <a:chExt cx="9547122" cy="276999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3725C27-4E46-4956-8245-87F0E3B5CEFE}"/>
                </a:ext>
              </a:extLst>
            </p:cNvPr>
            <p:cNvSpPr txBox="1"/>
            <p:nvPr/>
          </p:nvSpPr>
          <p:spPr>
            <a:xfrm flipH="1">
              <a:off x="1540222" y="1506976"/>
              <a:ext cx="59337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8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APAC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77DB8F0-2A32-4BFA-9003-250BD9278780}"/>
                </a:ext>
              </a:extLst>
            </p:cNvPr>
            <p:cNvSpPr txBox="1"/>
            <p:nvPr/>
          </p:nvSpPr>
          <p:spPr>
            <a:xfrm flipH="1">
              <a:off x="3959421" y="1506976"/>
              <a:ext cx="84855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8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LATAM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594FC18-DFB7-4BDD-9258-485A0FC2EDE7}"/>
                </a:ext>
              </a:extLst>
            </p:cNvPr>
            <p:cNvSpPr txBox="1"/>
            <p:nvPr/>
          </p:nvSpPr>
          <p:spPr>
            <a:xfrm flipH="1">
              <a:off x="6943510" y="1506976"/>
              <a:ext cx="519173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8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W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A24D591-7CE4-4E98-A6AF-BC2F0D702975}"/>
                </a:ext>
              </a:extLst>
            </p:cNvPr>
            <p:cNvSpPr txBox="1"/>
            <p:nvPr/>
          </p:nvSpPr>
          <p:spPr>
            <a:xfrm flipH="1">
              <a:off x="9203960" y="1506976"/>
              <a:ext cx="519173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8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CEE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E150F91-40D4-46FE-812E-737160444F55}"/>
                </a:ext>
              </a:extLst>
            </p:cNvPr>
            <p:cNvSpPr txBox="1"/>
            <p:nvPr/>
          </p:nvSpPr>
          <p:spPr>
            <a:xfrm flipH="1">
              <a:off x="10568171" y="1506976"/>
              <a:ext cx="519173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8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NA</a:t>
              </a:r>
            </a:p>
          </p:txBody>
        </p: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1FD69F9-40C3-4ED3-968B-6FBE0BBFBFA5}"/>
              </a:ext>
            </a:extLst>
          </p:cNvPr>
          <p:cNvCxnSpPr>
            <a:cxnSpLocks/>
          </p:cNvCxnSpPr>
          <p:nvPr/>
        </p:nvCxnSpPr>
        <p:spPr>
          <a:xfrm>
            <a:off x="835741" y="1435510"/>
            <a:ext cx="10332720" cy="0"/>
          </a:xfrm>
          <a:prstGeom prst="line">
            <a:avLst/>
          </a:prstGeom>
          <a:ln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97664A2-8EA1-4D7A-9F32-E554FF75885C}"/>
              </a:ext>
            </a:extLst>
          </p:cNvPr>
          <p:cNvCxnSpPr>
            <a:cxnSpLocks/>
          </p:cNvCxnSpPr>
          <p:nvPr/>
        </p:nvCxnSpPr>
        <p:spPr>
          <a:xfrm>
            <a:off x="835741" y="1843548"/>
            <a:ext cx="10332720" cy="0"/>
          </a:xfrm>
          <a:prstGeom prst="line">
            <a:avLst/>
          </a:prstGeom>
          <a:ln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669210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29F7D5-0E30-4E5E-B6C6-E8C38D92B5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338554"/>
          </a:xfrm>
        </p:spPr>
        <p:txBody>
          <a:bodyPr/>
          <a:lstStyle/>
          <a:p>
            <a:r>
              <a:rPr lang="en-US"/>
              <a:t>Online meetings/classes were more civil than non-work/class interactions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4CD0F8EB-BC56-440D-8D84-5CD6262EEBE8}"/>
              </a:ext>
            </a:extLst>
          </p:cNvPr>
          <p:cNvGraphicFramePr>
            <a:graphicFrameLocks/>
          </p:cNvGraphicFramePr>
          <p:nvPr/>
        </p:nvGraphicFramePr>
        <p:xfrm>
          <a:off x="352287" y="1463040"/>
          <a:ext cx="5486400" cy="4352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5845357-8B3B-480D-9650-FD88D7BC72E8}"/>
              </a:ext>
            </a:extLst>
          </p:cNvPr>
          <p:cNvSpPr txBox="1"/>
          <p:nvPr/>
        </p:nvSpPr>
        <p:spPr>
          <a:xfrm>
            <a:off x="917563" y="6582965"/>
            <a:ext cx="788356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8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.PM2:  How would you compare the civility in your online meetings to what you experience in non-work online settings such as on social media, chats, texts or emails, etc.?</a:t>
            </a:r>
          </a:p>
          <a:p>
            <a:pPr algn="l"/>
            <a:r>
              <a:rPr lang="en-US" sz="8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.PM2:  How would you compare the civility in your online classes to what you experience in non-classroom online settings such as on social media, chats, texts or emails, etc.?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BDE0EDC-2F2E-4A99-9540-3C1C67751ABD}"/>
              </a:ext>
            </a:extLst>
          </p:cNvPr>
          <p:cNvGraphicFramePr>
            <a:graphicFrameLocks/>
          </p:cNvGraphicFramePr>
          <p:nvPr/>
        </p:nvGraphicFramePr>
        <p:xfrm>
          <a:off x="6086168" y="1463040"/>
          <a:ext cx="5120640" cy="4352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998723828"/>
      </p:ext>
    </p:extLst>
  </p:cSld>
  <p:clrMapOvr>
    <a:masterClrMapping/>
  </p:clrMapOvr>
  <p:transition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400CD6FA-3AD2-4A29-9A1B-A7F60BE7E048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369026" y="1519520"/>
          <a:ext cx="932815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5E6CD6-F06C-4E30-BC34-F23AD3A04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553998"/>
          </a:xfrm>
        </p:spPr>
        <p:txBody>
          <a:bodyPr/>
          <a:lstStyle/>
          <a:p>
            <a:r>
              <a:rPr lang="en-US"/>
              <a:t>Changes to the country lineup had minimal impact on key metrics</a:t>
            </a:r>
            <a:br>
              <a:rPr lang="en-US"/>
            </a:br>
            <a:r>
              <a:rPr lang="en-US" sz="1400"/>
              <a:t>The one exception: YoY Covid % better change would be 3-pts. lower adjusting for country lineup chang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C6417B9-3824-449F-A024-F41D3E1B69F6}"/>
              </a:ext>
            </a:extLst>
          </p:cNvPr>
          <p:cNvGrpSpPr/>
          <p:nvPr/>
        </p:nvGrpSpPr>
        <p:grpSpPr>
          <a:xfrm>
            <a:off x="4998158" y="2449950"/>
            <a:ext cx="636994" cy="920931"/>
            <a:chOff x="4998158" y="2480094"/>
            <a:chExt cx="636994" cy="920931"/>
          </a:xfrm>
        </p:grpSpPr>
        <p:sp>
          <p:nvSpPr>
            <p:cNvPr id="20" name="Right Brace 19">
              <a:extLst>
                <a:ext uri="{FF2B5EF4-FFF2-40B4-BE49-F238E27FC236}">
                  <a16:creationId xmlns:a16="http://schemas.microsoft.com/office/drawing/2014/main" id="{D4FE632B-E71D-44F4-9FCC-FE9149585CBD}"/>
                </a:ext>
              </a:extLst>
            </p:cNvPr>
            <p:cNvSpPr/>
            <p:nvPr/>
          </p:nvSpPr>
          <p:spPr>
            <a:xfrm>
              <a:off x="4998158" y="2480094"/>
              <a:ext cx="182880" cy="920931"/>
            </a:xfrm>
            <a:prstGeom prst="rightBrace">
              <a:avLst/>
            </a:prstGeom>
            <a:ln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9DCC304A-97DB-44B7-B1C4-8211BFC96FDA}"/>
                </a:ext>
              </a:extLst>
            </p:cNvPr>
            <p:cNvSpPr txBox="1"/>
            <p:nvPr/>
          </p:nvSpPr>
          <p:spPr>
            <a:xfrm>
              <a:off x="5282491" y="2821577"/>
              <a:ext cx="352661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1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9-pts.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806ED174-E70E-4367-BD44-A615A10B3199}"/>
              </a:ext>
            </a:extLst>
          </p:cNvPr>
          <p:cNvGrpSpPr/>
          <p:nvPr/>
        </p:nvGrpSpPr>
        <p:grpSpPr>
          <a:xfrm>
            <a:off x="9530269" y="2772417"/>
            <a:ext cx="636994" cy="607423"/>
            <a:chOff x="10798629" y="2821577"/>
            <a:chExt cx="636994" cy="607423"/>
          </a:xfrm>
        </p:grpSpPr>
        <p:sp>
          <p:nvSpPr>
            <p:cNvPr id="22" name="Right Brace 21">
              <a:extLst>
                <a:ext uri="{FF2B5EF4-FFF2-40B4-BE49-F238E27FC236}">
                  <a16:creationId xmlns:a16="http://schemas.microsoft.com/office/drawing/2014/main" id="{8C69181F-8A2C-4C86-8FBB-5151E729FBB5}"/>
                </a:ext>
              </a:extLst>
            </p:cNvPr>
            <p:cNvSpPr/>
            <p:nvPr/>
          </p:nvSpPr>
          <p:spPr>
            <a:xfrm>
              <a:off x="10798629" y="2821577"/>
              <a:ext cx="182880" cy="607423"/>
            </a:xfrm>
            <a:prstGeom prst="rightBrace">
              <a:avLst/>
            </a:prstGeom>
            <a:ln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6158C55A-23BE-4621-8B19-651B70CE7766}"/>
                </a:ext>
              </a:extLst>
            </p:cNvPr>
            <p:cNvSpPr txBox="1"/>
            <p:nvPr/>
          </p:nvSpPr>
          <p:spPr>
            <a:xfrm>
              <a:off x="11082962" y="3053172"/>
              <a:ext cx="352661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1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6-pts.</a:t>
              </a: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6493255D-745D-4C4F-AD29-F2D646CA4E2E}"/>
              </a:ext>
            </a:extLst>
          </p:cNvPr>
          <p:cNvSpPr txBox="1"/>
          <p:nvPr/>
        </p:nvSpPr>
        <p:spPr>
          <a:xfrm>
            <a:off x="660822" y="6487382"/>
            <a:ext cx="3764492" cy="418576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r>
              <a:rPr lang="en-US" sz="800"/>
              <a:t>Q.CV1A:  How has civility online been better during the Coronavirus crises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8F548F-478C-462C-AC03-DCBBD0E1A498}"/>
              </a:ext>
            </a:extLst>
          </p:cNvPr>
          <p:cNvSpPr txBox="1"/>
          <p:nvPr/>
        </p:nvSpPr>
        <p:spPr>
          <a:xfrm>
            <a:off x="2703007" y="5507220"/>
            <a:ext cx="89768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200">
                <a:solidFill>
                  <a:srgbClr val="595959"/>
                </a:solidFill>
              </a:rPr>
              <a:t>W5 (32 geos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9A113A-363B-4B08-B78B-4FC281DAE405}"/>
              </a:ext>
            </a:extLst>
          </p:cNvPr>
          <p:cNvSpPr txBox="1"/>
          <p:nvPr/>
        </p:nvSpPr>
        <p:spPr>
          <a:xfrm>
            <a:off x="3976473" y="5507220"/>
            <a:ext cx="89768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200">
                <a:solidFill>
                  <a:srgbClr val="595959"/>
                </a:solidFill>
              </a:rPr>
              <a:t>W6 (22 geos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6847C7-F8EA-4613-9D55-C8D32CB6710D}"/>
              </a:ext>
            </a:extLst>
          </p:cNvPr>
          <p:cNvSpPr txBox="1"/>
          <p:nvPr/>
        </p:nvSpPr>
        <p:spPr>
          <a:xfrm>
            <a:off x="7223765" y="5507220"/>
            <a:ext cx="89768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200">
                <a:solidFill>
                  <a:srgbClr val="595959"/>
                </a:solidFill>
              </a:rPr>
              <a:t>W5 (22 geos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CE6DB2C-C3BD-4BA7-8C81-8FFAAC9BEA04}"/>
              </a:ext>
            </a:extLst>
          </p:cNvPr>
          <p:cNvSpPr txBox="1"/>
          <p:nvPr/>
        </p:nvSpPr>
        <p:spPr>
          <a:xfrm>
            <a:off x="8591311" y="5506994"/>
            <a:ext cx="89768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200">
                <a:solidFill>
                  <a:srgbClr val="595959"/>
                </a:solidFill>
              </a:rPr>
              <a:t>W6 (22 geos)</a:t>
            </a:r>
          </a:p>
        </p:txBody>
      </p:sp>
    </p:spTree>
    <p:extLst>
      <p:ext uri="{BB962C8B-B14F-4D97-AF65-F5344CB8AC3E}">
        <p14:creationId xmlns:p14="http://schemas.microsoft.com/office/powerpoint/2010/main" val="59328430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33F4EA-DCCF-4C14-8B6E-6AD630702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1168"/>
            <a:ext cx="10430257" cy="338554"/>
          </a:xfrm>
        </p:spPr>
        <p:txBody>
          <a:bodyPr/>
          <a:lstStyle/>
          <a:p>
            <a:r>
              <a:rPr lang="en-US"/>
              <a:t>Digital Civility improved 5-points since 2019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DEEA6D20-E534-43FE-BF91-2AFA6D6D97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2178473"/>
              </p:ext>
            </p:extLst>
          </p:nvPr>
        </p:nvGraphicFramePr>
        <p:xfrm>
          <a:off x="2833635" y="1829874"/>
          <a:ext cx="5697416" cy="4398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079373E4-3400-41CD-9CA5-E71FA6D68FAA}"/>
              </a:ext>
            </a:extLst>
          </p:cNvPr>
          <p:cNvGrpSpPr>
            <a:grpSpLocks/>
          </p:cNvGrpSpPr>
          <p:nvPr/>
        </p:nvGrpSpPr>
        <p:grpSpPr>
          <a:xfrm>
            <a:off x="2723107" y="1723030"/>
            <a:ext cx="731520" cy="731520"/>
            <a:chOff x="503925" y="2090554"/>
            <a:chExt cx="440551" cy="440552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F2A9A9E-17EC-41FD-B7B2-C40740E49845}"/>
                </a:ext>
              </a:extLst>
            </p:cNvPr>
            <p:cNvGrpSpPr/>
            <p:nvPr/>
          </p:nvGrpSpPr>
          <p:grpSpPr>
            <a:xfrm>
              <a:off x="503925" y="2090554"/>
              <a:ext cx="440551" cy="440552"/>
              <a:chOff x="4925804" y="576032"/>
              <a:chExt cx="601302" cy="601302"/>
            </a:xfrm>
          </p:grpSpPr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839538AF-287C-4E39-BF5E-C699BAF363D6}"/>
                  </a:ext>
                </a:extLst>
              </p:cNvPr>
              <p:cNvSpPr/>
              <p:nvPr/>
            </p:nvSpPr>
            <p:spPr>
              <a:xfrm>
                <a:off x="4925804" y="576032"/>
                <a:ext cx="601302" cy="60130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6701020B-11A6-4978-AFC2-8BBCD11C6758}"/>
                  </a:ext>
                </a:extLst>
              </p:cNvPr>
              <p:cNvSpPr/>
              <p:nvPr/>
            </p:nvSpPr>
            <p:spPr>
              <a:xfrm>
                <a:off x="4977983" y="628212"/>
                <a:ext cx="496943" cy="496943"/>
              </a:xfrm>
              <a:prstGeom prst="ellipse">
                <a:avLst/>
              </a:prstGeom>
              <a:solidFill>
                <a:srgbClr val="0078D4"/>
              </a:solidFill>
              <a:ln>
                <a:noFill/>
              </a:ln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85A6FEE-4F9B-41A9-87E9-B588E38C1C2A}"/>
                </a:ext>
              </a:extLst>
            </p:cNvPr>
            <p:cNvSpPr txBox="1"/>
            <p:nvPr/>
          </p:nvSpPr>
          <p:spPr>
            <a:xfrm>
              <a:off x="585552" y="2212866"/>
              <a:ext cx="277297" cy="222427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2400" b="1">
                  <a:solidFill>
                    <a:schemeClr val="bg1"/>
                  </a:solidFill>
                </a:rPr>
                <a:t>70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6E957CB-A788-48B8-A04C-9D449D27FED2}"/>
              </a:ext>
            </a:extLst>
          </p:cNvPr>
          <p:cNvGrpSpPr/>
          <p:nvPr/>
        </p:nvGrpSpPr>
        <p:grpSpPr>
          <a:xfrm>
            <a:off x="7910059" y="3554850"/>
            <a:ext cx="731520" cy="731520"/>
            <a:chOff x="7910059" y="3554850"/>
            <a:chExt cx="731520" cy="73152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2CC9770-ED0B-4D0D-A0F0-9A1AA16D674E}"/>
                </a:ext>
              </a:extLst>
            </p:cNvPr>
            <p:cNvSpPr/>
            <p:nvPr/>
          </p:nvSpPr>
          <p:spPr>
            <a:xfrm>
              <a:off x="7910059" y="3554850"/>
              <a:ext cx="731520" cy="7315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8F5BF2C1-3C7F-4F0E-9B85-44AAB869202A}"/>
                </a:ext>
              </a:extLst>
            </p:cNvPr>
            <p:cNvSpPr/>
            <p:nvPr/>
          </p:nvSpPr>
          <p:spPr>
            <a:xfrm>
              <a:off x="7973538" y="3618330"/>
              <a:ext cx="604561" cy="604561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25A239C6-79C7-4D50-B981-F0FC370239F8}"/>
              </a:ext>
            </a:extLst>
          </p:cNvPr>
          <p:cNvSpPr txBox="1"/>
          <p:nvPr/>
        </p:nvSpPr>
        <p:spPr>
          <a:xfrm>
            <a:off x="8045598" y="3757944"/>
            <a:ext cx="460442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65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E1CE63C-D301-4AAD-8C98-9854962DE4D5}"/>
              </a:ext>
            </a:extLst>
          </p:cNvPr>
          <p:cNvSpPr txBox="1"/>
          <p:nvPr/>
        </p:nvSpPr>
        <p:spPr>
          <a:xfrm>
            <a:off x="3565155" y="1824206"/>
            <a:ext cx="35452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/>
              <a:t>DCI reaches highwater mark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C0C5FB-EF57-41B5-B8B7-80D0CDEC1151}"/>
              </a:ext>
            </a:extLst>
          </p:cNvPr>
          <p:cNvSpPr txBox="1"/>
          <p:nvPr/>
        </p:nvSpPr>
        <p:spPr>
          <a:xfrm>
            <a:off x="8713638" y="3602831"/>
            <a:ext cx="2659211" cy="63555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/>
              <a:t>Digital Civility nears</a:t>
            </a:r>
          </a:p>
          <a:p>
            <a:r>
              <a:rPr lang="en-US"/>
              <a:t>all-time best sco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57D99AE-FE6C-4765-A56A-3A00AB9448F5}"/>
              </a:ext>
            </a:extLst>
          </p:cNvPr>
          <p:cNvSpPr txBox="1"/>
          <p:nvPr/>
        </p:nvSpPr>
        <p:spPr>
          <a:xfrm>
            <a:off x="660822" y="6505616"/>
            <a:ext cx="4221348" cy="4062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Q2: Which of these has ever happened to you or to a friend/family member ONLINE?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5F3F29D-D5EC-495F-B280-BFA950BE06FF}"/>
              </a:ext>
            </a:extLst>
          </p:cNvPr>
          <p:cNvGrpSpPr>
            <a:grpSpLocks noChangeAspect="1"/>
          </p:cNvGrpSpPr>
          <p:nvPr/>
        </p:nvGrpSpPr>
        <p:grpSpPr>
          <a:xfrm>
            <a:off x="5384358" y="2823330"/>
            <a:ext cx="731520" cy="731520"/>
            <a:chOff x="503925" y="2090554"/>
            <a:chExt cx="440551" cy="440552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CA4215C6-47A8-4AFA-B6C9-E71815B1E0FF}"/>
                </a:ext>
              </a:extLst>
            </p:cNvPr>
            <p:cNvGrpSpPr/>
            <p:nvPr/>
          </p:nvGrpSpPr>
          <p:grpSpPr>
            <a:xfrm>
              <a:off x="503925" y="2090554"/>
              <a:ext cx="440551" cy="440552"/>
              <a:chOff x="4925804" y="576032"/>
              <a:chExt cx="601302" cy="601302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E217D42A-4675-4F8B-A057-356ED15118B5}"/>
                  </a:ext>
                </a:extLst>
              </p:cNvPr>
              <p:cNvSpPr/>
              <p:nvPr/>
            </p:nvSpPr>
            <p:spPr>
              <a:xfrm>
                <a:off x="4925804" y="576032"/>
                <a:ext cx="601302" cy="60130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3AA4C333-AA1F-429B-A270-9C3C9D842BE9}"/>
                  </a:ext>
                </a:extLst>
              </p:cNvPr>
              <p:cNvSpPr/>
              <p:nvPr/>
            </p:nvSpPr>
            <p:spPr>
              <a:xfrm>
                <a:off x="4977983" y="628212"/>
                <a:ext cx="496943" cy="496943"/>
              </a:xfrm>
              <a:prstGeom prst="ellipse">
                <a:avLst/>
              </a:prstGeom>
              <a:solidFill>
                <a:srgbClr val="0078D4"/>
              </a:solidFill>
              <a:ln>
                <a:noFill/>
              </a:ln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0B8FC2F-F927-4F85-B2FC-FA5F36B9889C}"/>
                </a:ext>
              </a:extLst>
            </p:cNvPr>
            <p:cNvSpPr txBox="1"/>
            <p:nvPr/>
          </p:nvSpPr>
          <p:spPr>
            <a:xfrm>
              <a:off x="585552" y="2212865"/>
              <a:ext cx="277297" cy="222427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2400" b="1">
                  <a:solidFill>
                    <a:schemeClr val="bg1"/>
                  </a:solidFill>
                </a:rPr>
                <a:t>6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5965725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0B008-0D5C-4FBB-89A4-AB1C0BDB1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4216"/>
            <a:ext cx="10430257" cy="338554"/>
          </a:xfrm>
        </p:spPr>
        <p:txBody>
          <a:bodyPr/>
          <a:lstStyle/>
          <a:p>
            <a:r>
              <a:rPr lang="en-US"/>
              <a:t>Teen boys led the way towards improved DCI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5055A592-C18C-4DD1-AD5F-D8793C8FCA2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42543186"/>
              </p:ext>
            </p:extLst>
          </p:nvPr>
        </p:nvGraphicFramePr>
        <p:xfrm>
          <a:off x="292608" y="1450975"/>
          <a:ext cx="536575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peech Bubble: Rectangle with Corners Rounded 7">
            <a:extLst>
              <a:ext uri="{FF2B5EF4-FFF2-40B4-BE49-F238E27FC236}">
                <a16:creationId xmlns:a16="http://schemas.microsoft.com/office/drawing/2014/main" id="{54DBAB42-716B-4034-8373-303F813BA891}"/>
              </a:ext>
            </a:extLst>
          </p:cNvPr>
          <p:cNvSpPr/>
          <p:nvPr/>
        </p:nvSpPr>
        <p:spPr bwMode="auto">
          <a:xfrm>
            <a:off x="1837245" y="4226719"/>
            <a:ext cx="2276475" cy="495300"/>
          </a:xfrm>
          <a:prstGeom prst="wedgeRoundRectCallout">
            <a:avLst>
              <a:gd name="adj1" fmla="val 69544"/>
              <a:gd name="adj2" fmla="val -41346"/>
              <a:gd name="adj3" fmla="val 16667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Males accounted for 90% of the YoY improvement in DCI</a:t>
            </a:r>
          </a:p>
        </p:txBody>
      </p:sp>
      <p:graphicFrame>
        <p:nvGraphicFramePr>
          <p:cNvPr id="9" name="Content Placeholder 6">
            <a:extLst>
              <a:ext uri="{FF2B5EF4-FFF2-40B4-BE49-F238E27FC236}">
                <a16:creationId xmlns:a16="http://schemas.microsoft.com/office/drawing/2014/main" id="{40FCAE61-A05F-473E-9C75-6404BF7BB7C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10546846"/>
              </p:ext>
            </p:extLst>
          </p:nvPr>
        </p:nvGraphicFramePr>
        <p:xfrm>
          <a:off x="6090920" y="1450975"/>
          <a:ext cx="536575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Speech Bubble: Rectangle with Corners Rounded 9">
            <a:extLst>
              <a:ext uri="{FF2B5EF4-FFF2-40B4-BE49-F238E27FC236}">
                <a16:creationId xmlns:a16="http://schemas.microsoft.com/office/drawing/2014/main" id="{6E0EB568-DB32-46D5-B960-DB9C9406A82E}"/>
              </a:ext>
            </a:extLst>
          </p:cNvPr>
          <p:cNvSpPr/>
          <p:nvPr/>
        </p:nvSpPr>
        <p:spPr bwMode="auto">
          <a:xfrm>
            <a:off x="9305926" y="3552824"/>
            <a:ext cx="2047874" cy="380079"/>
          </a:xfrm>
          <a:prstGeom prst="wedgeRoundRectCallout">
            <a:avLst>
              <a:gd name="adj1" fmla="val 8307"/>
              <a:gd name="adj2" fmla="val 141973"/>
              <a:gd name="adj3" fmla="val 16667"/>
            </a:avLst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1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8-pt. improvement, all-time best for teen boy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4121FF-1FDE-471C-BD5F-D9F683269BC3}"/>
              </a:ext>
            </a:extLst>
          </p:cNvPr>
          <p:cNvSpPr txBox="1"/>
          <p:nvPr/>
        </p:nvSpPr>
        <p:spPr>
          <a:xfrm>
            <a:off x="660822" y="6505616"/>
            <a:ext cx="4221348" cy="4062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Q2: Which of these has ever happened to you or to a friend/family member ONLINE?</a:t>
            </a:r>
          </a:p>
        </p:txBody>
      </p:sp>
    </p:spTree>
    <p:extLst>
      <p:ext uri="{BB962C8B-B14F-4D97-AF65-F5344CB8AC3E}">
        <p14:creationId xmlns:p14="http://schemas.microsoft.com/office/powerpoint/2010/main" val="63917128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824275-4735-4859-B01D-4451EBF311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1168"/>
            <a:ext cx="10430257" cy="553998"/>
          </a:xfrm>
        </p:spPr>
        <p:txBody>
          <a:bodyPr/>
          <a:lstStyle/>
          <a:p>
            <a:r>
              <a:rPr lang="en-US"/>
              <a:t>Teen boys experienced significantly fewer risks </a:t>
            </a:r>
            <a:br>
              <a:rPr lang="en-US"/>
            </a:br>
            <a:r>
              <a:rPr lang="en-US" sz="1400"/>
              <a:t>The biggest drivers of improvement for teen boys was in Behavioral (-6, YoY) &amp; Sexual (-5, YoY) risk categorie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D2F73327-740B-479C-8E10-88FD2B6A614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20434399"/>
              </p:ext>
            </p:extLst>
          </p:nvPr>
        </p:nvGraphicFramePr>
        <p:xfrm>
          <a:off x="585788" y="1450975"/>
          <a:ext cx="5367528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ontent Placeholder 5">
            <a:extLst>
              <a:ext uri="{FF2B5EF4-FFF2-40B4-BE49-F238E27FC236}">
                <a16:creationId xmlns:a16="http://schemas.microsoft.com/office/drawing/2014/main" id="{1786AC34-34A4-4838-AD46-F34BFED5780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12194304"/>
              </p:ext>
            </p:extLst>
          </p:nvPr>
        </p:nvGraphicFramePr>
        <p:xfrm>
          <a:off x="6089904" y="1435608"/>
          <a:ext cx="5367528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E9A7980-9638-4A71-A329-1924A43AF36A}"/>
              </a:ext>
            </a:extLst>
          </p:cNvPr>
          <p:cNvSpPr txBox="1"/>
          <p:nvPr/>
        </p:nvSpPr>
        <p:spPr>
          <a:xfrm>
            <a:off x="660822" y="6496091"/>
            <a:ext cx="4221348" cy="4062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Q2: Which of these has ever happened to you or to a friend/family member ONLINE?</a:t>
            </a:r>
          </a:p>
        </p:txBody>
      </p:sp>
    </p:spTree>
    <p:extLst>
      <p:ext uri="{BB962C8B-B14F-4D97-AF65-F5344CB8AC3E}">
        <p14:creationId xmlns:p14="http://schemas.microsoft.com/office/powerpoint/2010/main" val="223364608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16DCFF-1276-487C-B5AF-B0F009261D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1168"/>
            <a:ext cx="10430257" cy="338554"/>
          </a:xfrm>
        </p:spPr>
        <p:txBody>
          <a:bodyPr/>
          <a:lstStyle/>
          <a:p>
            <a:r>
              <a:rPr lang="en-US"/>
              <a:t>A Latam country was present in the DCI top ten list for the first time</a:t>
            </a:r>
            <a:endParaRPr lang="en-US" sz="1400"/>
          </a:p>
        </p:txBody>
      </p:sp>
      <p:graphicFrame>
        <p:nvGraphicFramePr>
          <p:cNvPr id="5" name="Content Placeholder 5">
            <a:extLst>
              <a:ext uri="{FF2B5EF4-FFF2-40B4-BE49-F238E27FC236}">
                <a16:creationId xmlns:a16="http://schemas.microsoft.com/office/drawing/2014/main" id="{835FDB9A-7712-4FBC-9807-A1AC62E2806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45107546"/>
              </p:ext>
            </p:extLst>
          </p:nvPr>
        </p:nvGraphicFramePr>
        <p:xfrm>
          <a:off x="367126" y="1450975"/>
          <a:ext cx="526694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1" name="Group 20">
            <a:extLst>
              <a:ext uri="{FF2B5EF4-FFF2-40B4-BE49-F238E27FC236}">
                <a16:creationId xmlns:a16="http://schemas.microsoft.com/office/drawing/2014/main" id="{1BC4CA61-6B75-4DAB-9537-7EDADC69807F}"/>
              </a:ext>
            </a:extLst>
          </p:cNvPr>
          <p:cNvGrpSpPr/>
          <p:nvPr/>
        </p:nvGrpSpPr>
        <p:grpSpPr>
          <a:xfrm>
            <a:off x="10677240" y="2271443"/>
            <a:ext cx="192360" cy="3310873"/>
            <a:chOff x="7745792" y="2231687"/>
            <a:chExt cx="127238" cy="3310873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96C354A-603C-4889-BFF4-9D2A69D364CB}"/>
                </a:ext>
              </a:extLst>
            </p:cNvPr>
            <p:cNvSpPr txBox="1"/>
            <p:nvPr/>
          </p:nvSpPr>
          <p:spPr>
            <a:xfrm>
              <a:off x="7745792" y="2231687"/>
              <a:ext cx="127238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68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E433FFE-D7EB-4759-933B-850185907A91}"/>
                </a:ext>
              </a:extLst>
            </p:cNvPr>
            <p:cNvSpPr txBox="1"/>
            <p:nvPr/>
          </p:nvSpPr>
          <p:spPr>
            <a:xfrm>
              <a:off x="7745792" y="2673891"/>
              <a:ext cx="127238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55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4C91218-89EC-4C36-A518-503D9373727A}"/>
                </a:ext>
              </a:extLst>
            </p:cNvPr>
            <p:cNvSpPr txBox="1"/>
            <p:nvPr/>
          </p:nvSpPr>
          <p:spPr>
            <a:xfrm>
              <a:off x="7745792" y="3116095"/>
              <a:ext cx="127238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74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295EA71-CF92-4D13-94EA-44D69D23C3B9}"/>
                </a:ext>
              </a:extLst>
            </p:cNvPr>
            <p:cNvSpPr txBox="1"/>
            <p:nvPr/>
          </p:nvSpPr>
          <p:spPr>
            <a:xfrm>
              <a:off x="7745792" y="3558299"/>
              <a:ext cx="127238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65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A4464E8-C321-4C0D-8F92-7130A0E29F10}"/>
                </a:ext>
              </a:extLst>
            </p:cNvPr>
            <p:cNvSpPr txBox="1"/>
            <p:nvPr/>
          </p:nvSpPr>
          <p:spPr>
            <a:xfrm>
              <a:off x="7745792" y="4000503"/>
              <a:ext cx="127238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57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72BED02-CD4A-4251-B593-8633F0112BE6}"/>
                </a:ext>
              </a:extLst>
            </p:cNvPr>
            <p:cNvSpPr txBox="1"/>
            <p:nvPr/>
          </p:nvSpPr>
          <p:spPr>
            <a:xfrm>
              <a:off x="7745792" y="4442707"/>
              <a:ext cx="127238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62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23857D3-4863-4A4F-8944-72C77F64F640}"/>
                </a:ext>
              </a:extLst>
            </p:cNvPr>
            <p:cNvSpPr txBox="1"/>
            <p:nvPr/>
          </p:nvSpPr>
          <p:spPr>
            <a:xfrm>
              <a:off x="7745792" y="4884911"/>
              <a:ext cx="127238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65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03381E5-9445-4A2D-9C83-7C4E888F4A5E}"/>
                </a:ext>
              </a:extLst>
            </p:cNvPr>
            <p:cNvSpPr txBox="1"/>
            <p:nvPr/>
          </p:nvSpPr>
          <p:spPr>
            <a:xfrm>
              <a:off x="7745792" y="5327116"/>
              <a:ext cx="127238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4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70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01D0502-02B5-4216-BB01-29040D1C4A80}"/>
              </a:ext>
            </a:extLst>
          </p:cNvPr>
          <p:cNvGrpSpPr/>
          <p:nvPr/>
        </p:nvGrpSpPr>
        <p:grpSpPr>
          <a:xfrm>
            <a:off x="6089904" y="1450975"/>
            <a:ext cx="5266944" cy="4505226"/>
            <a:chOff x="6089904" y="1450975"/>
            <a:chExt cx="5266944" cy="4505226"/>
          </a:xfrm>
        </p:grpSpPr>
        <p:graphicFrame>
          <p:nvGraphicFramePr>
            <p:cNvPr id="9" name="Content Placeholder 5">
              <a:extLst>
                <a:ext uri="{FF2B5EF4-FFF2-40B4-BE49-F238E27FC236}">
                  <a16:creationId xmlns:a16="http://schemas.microsoft.com/office/drawing/2014/main" id="{C8FFB4A0-627E-4041-A7A3-E478B144BE8C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002328232"/>
                </p:ext>
              </p:extLst>
            </p:nvPr>
          </p:nvGraphicFramePr>
          <p:xfrm>
            <a:off x="6089904" y="1450975"/>
            <a:ext cx="5266944" cy="435133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3F42808-00EC-44C5-B086-5341B72725F7}"/>
                </a:ext>
              </a:extLst>
            </p:cNvPr>
            <p:cNvSpPr txBox="1"/>
            <p:nvPr/>
          </p:nvSpPr>
          <p:spPr>
            <a:xfrm>
              <a:off x="10670105" y="1940785"/>
              <a:ext cx="20358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000" u="sng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DCI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5B755EB-9FE3-420F-A9DE-A244D1019058}"/>
                </a:ext>
              </a:extLst>
            </p:cNvPr>
            <p:cNvSpPr txBox="1"/>
            <p:nvPr/>
          </p:nvSpPr>
          <p:spPr>
            <a:xfrm>
              <a:off x="6914846" y="5802313"/>
              <a:ext cx="270586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00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* Change in DCI expressed as a positive number</a:t>
              </a: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D0316A40-F84E-4F25-8BE1-C1D511D63705}"/>
              </a:ext>
            </a:extLst>
          </p:cNvPr>
          <p:cNvSpPr/>
          <p:nvPr/>
        </p:nvSpPr>
        <p:spPr bwMode="auto">
          <a:xfrm>
            <a:off x="462116" y="5009321"/>
            <a:ext cx="5034223" cy="270602"/>
          </a:xfrm>
          <a:prstGeom prst="rect">
            <a:avLst/>
          </a:prstGeom>
          <a:solidFill>
            <a:schemeClr val="accent1">
              <a:alpha val="11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A9BFE4C-0000-4871-9C38-E5C060BD67E6}"/>
              </a:ext>
            </a:extLst>
          </p:cNvPr>
          <p:cNvSpPr txBox="1"/>
          <p:nvPr/>
        </p:nvSpPr>
        <p:spPr>
          <a:xfrm>
            <a:off x="660822" y="6496091"/>
            <a:ext cx="4221348" cy="406265"/>
          </a:xfrm>
          <a:prstGeom prst="rect">
            <a:avLst/>
          </a:prstGeom>
          <a:noFill/>
        </p:spPr>
        <p:txBody>
          <a:bodyPr wrap="non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Q2: Which of these has ever happened to you or to a friend/family member ONLINE?</a:t>
            </a:r>
          </a:p>
        </p:txBody>
      </p:sp>
    </p:spTree>
    <p:extLst>
      <p:ext uri="{BB962C8B-B14F-4D97-AF65-F5344CB8AC3E}">
        <p14:creationId xmlns:p14="http://schemas.microsoft.com/office/powerpoint/2010/main" val="422166336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WHITE TEMPLATE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0078D4"/>
      </a:accent1>
      <a:accent2>
        <a:srgbClr val="51E5FF"/>
      </a:accent2>
      <a:accent3>
        <a:srgbClr val="107C10"/>
      </a:accent3>
      <a:accent4>
        <a:srgbClr val="D73B01"/>
      </a:accent4>
      <a:accent5>
        <a:srgbClr val="737373"/>
      </a:accent5>
      <a:accent6>
        <a:srgbClr val="D7D7D7"/>
      </a:accent6>
      <a:hlink>
        <a:srgbClr val="0078D4"/>
      </a:hlink>
      <a:folHlink>
        <a:srgbClr val="0078D4"/>
      </a:folHlink>
    </a:clrScheme>
    <a:fontScheme name="Custom 3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8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TeamTemplate-20180328_semiboldHeads 2" id="{F222C88F-559A-49D5-A294-4CAEAFA3C41E}" vid="{87BB99B7-A495-4B29-935D-6D7163F96789}"/>
    </a:ext>
  </a:extLst>
</a:theme>
</file>

<file path=ppt/theme/theme2.xml><?xml version="1.0" encoding="utf-8"?>
<a:theme xmlns:a="http://schemas.openxmlformats.org/drawingml/2006/main" name="BLACK TEMPLATE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0078D4"/>
      </a:accent1>
      <a:accent2>
        <a:srgbClr val="51E5FF"/>
      </a:accent2>
      <a:accent3>
        <a:srgbClr val="107C10"/>
      </a:accent3>
      <a:accent4>
        <a:srgbClr val="D73B01"/>
      </a:accent4>
      <a:accent5>
        <a:srgbClr val="737373"/>
      </a:accent5>
      <a:accent6>
        <a:srgbClr val="D7D7D7"/>
      </a:accent6>
      <a:hlink>
        <a:srgbClr val="0078D4"/>
      </a:hlink>
      <a:folHlink>
        <a:srgbClr val="0078D4"/>
      </a:folHlink>
    </a:clrScheme>
    <a:fontScheme name="Custom 3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8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TeamTemplate-20180328_semiboldHeads 2" id="{F222C88F-559A-49D5-A294-4CAEAFA3C41E}" vid="{87BB99B7-A495-4B29-935D-6D7163F9678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TaxCatchAll xmlns="230e9df3-be65-4c73-a93b-d1236ebd677e" xsi:nil="true"/>
    <lcf76f155ced4ddcb4097134ff3c332f xmlns="714a6543-3955-4028-9329-4a2869e32886">
      <Terms xmlns="http://schemas.microsoft.com/office/infopath/2007/PartnerControls"/>
    </lcf76f155ced4ddcb4097134ff3c332f>
    <MediaLengthInSeconds xmlns="714a6543-3955-4028-9329-4a2869e32886" xsi:nil="true"/>
    <SharedWithUsers xmlns="e7fab181-dcf2-474f-a6b3-fdf5bd96e4da">
      <UserInfo>
        <DisplayName/>
        <AccountId xsi:nil="true"/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2A8C16FAD954448015777498EB19C7" ma:contentTypeVersion="18" ma:contentTypeDescription="Create a new document." ma:contentTypeScope="" ma:versionID="fae3b0a4d4d0747ef9e755802b1b01af">
  <xsd:schema xmlns:xsd="http://www.w3.org/2001/XMLSchema" xmlns:xs="http://www.w3.org/2001/XMLSchema" xmlns:p="http://schemas.microsoft.com/office/2006/metadata/properties" xmlns:ns1="http://schemas.microsoft.com/sharepoint/v3" xmlns:ns2="714a6543-3955-4028-9329-4a2869e32886" xmlns:ns3="e7fab181-dcf2-474f-a6b3-fdf5bd96e4da" xmlns:ns4="230e9df3-be65-4c73-a93b-d1236ebd677e" targetNamespace="http://schemas.microsoft.com/office/2006/metadata/properties" ma:root="true" ma:fieldsID="57cfa1fca95fb63fc40007b961c23687" ns1:_="" ns2:_="" ns3:_="" ns4:_="">
    <xsd:import namespace="http://schemas.microsoft.com/sharepoint/v3"/>
    <xsd:import namespace="714a6543-3955-4028-9329-4a2869e32886"/>
    <xsd:import namespace="e7fab181-dcf2-474f-a6b3-fdf5bd96e4da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Location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4a6543-3955-4028-9329-4a2869e3288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fab181-dcf2-474f-a6b3-fdf5bd96e4da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4" nillable="true" ma:displayName="Taxonomy Catch All Column" ma:hidden="true" ma:list="{7c1101c5-45f1-4dd1-ae5d-8edc8d20d40a}" ma:internalName="TaxCatchAll" ma:showField="CatchAllData" ma:web="e7fab181-dcf2-474f-a6b3-fdf5bd96e4d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990F116-B58F-4255-B05B-DA3808E0E5C6}">
  <ds:schemaRefs>
    <ds:schemaRef ds:uri="230e9df3-be65-4c73-a93b-d1236ebd677e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purl.org/dc/terms/"/>
    <ds:schemaRef ds:uri="http://www.w3.org/XML/1998/namespace"/>
    <ds:schemaRef ds:uri="714a6543-3955-4028-9329-4a2869e32886"/>
    <ds:schemaRef ds:uri="http://purl.org/dc/elements/1.1/"/>
    <ds:schemaRef ds:uri="e7fab181-dcf2-474f-a6b3-fdf5bd96e4da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053ECE5-CE2A-4663-9CFB-1A91E79447ED}"/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WHITE TEMPLATE</Template>
  <TotalTime>4</TotalTime>
  <Words>6241</Words>
  <Application>Microsoft Office PowerPoint</Application>
  <PresentationFormat>Widescreen</PresentationFormat>
  <Paragraphs>1063</Paragraphs>
  <Slides>54</Slides>
  <Notes>43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54</vt:i4>
      </vt:variant>
    </vt:vector>
  </HeadingPairs>
  <TitlesOfParts>
    <vt:vector size="63" baseType="lpstr">
      <vt:lpstr>Arial</vt:lpstr>
      <vt:lpstr>Calibri</vt:lpstr>
      <vt:lpstr>Segoe UI</vt:lpstr>
      <vt:lpstr>Segoe UI Light</vt:lpstr>
      <vt:lpstr>Segoe UI Semibold</vt:lpstr>
      <vt:lpstr>Wingdings</vt:lpstr>
      <vt:lpstr>Wingdings 3</vt:lpstr>
      <vt:lpstr>WHITE TEMPLATE</vt:lpstr>
      <vt:lpstr>BLACK TEMPLATE</vt:lpstr>
      <vt:lpstr>Civility, Safety &amp; Interaction Online</vt:lpstr>
      <vt:lpstr>Study methodology</vt:lpstr>
      <vt:lpstr> </vt:lpstr>
      <vt:lpstr>Digital Civility 2021 Headlines</vt:lpstr>
      <vt:lpstr>DCI nears all-time best led by teenage boys </vt:lpstr>
      <vt:lpstr>Digital Civility improved 5-points since 2019</vt:lpstr>
      <vt:lpstr>Teen boys led the way towards improved DCI</vt:lpstr>
      <vt:lpstr>Teen boys experienced significantly fewer risks  The biggest drivers of improvement for teen boys was in Behavioral (-6, YoY) &amp; Sexual (-5, YoY) risk categories</vt:lpstr>
      <vt:lpstr>A Latam country was present in the DCI top ten list for the first time</vt:lpstr>
      <vt:lpstr>Confidence with managing risks bounced off all-time lows</vt:lpstr>
      <vt:lpstr>Perceptions about online civility during Covid were less positive in 2021</vt:lpstr>
      <vt:lpstr>While personal exposure to risks declined (DCI), perceptions about the overall state of online civility worsened </vt:lpstr>
      <vt:lpstr>In 2021, only 17% said civility had improved compared to 26% a year ago</vt:lpstr>
      <vt:lpstr>30% reported civility worsened during the pandemic</vt:lpstr>
      <vt:lpstr>Private interactions were considered more civil vs. public interactions </vt:lpstr>
      <vt:lpstr>82% of the countries surveyed reported civility was net worse during Covid</vt:lpstr>
      <vt:lpstr>APAC &amp; Latam were more polarized about the changes in online civility during Covid</vt:lpstr>
      <vt:lpstr>Nearly nine out of ten respondents said education is critical to making the Internet a safer place</vt:lpstr>
      <vt:lpstr>Attitudes towards online civility % strongly or somewhat agree Base: total, n=11,067</vt:lpstr>
      <vt:lpstr>Universal agreement about the need for better online civility education Strongly agree = 65%, about 20 points higher than any of the other statements</vt:lpstr>
      <vt:lpstr>Three-quarters agreed that social media companies need to moderate harmful speech online </vt:lpstr>
      <vt:lpstr>Loss of trust from online incivility is higher for younger generations and females</vt:lpstr>
      <vt:lpstr>Lack of accountability is a problem with online anonymity Millennials were the least likely to see this as a problem </vt:lpstr>
      <vt:lpstr>Incivility is becoming the “new normal” for many Millennials</vt:lpstr>
      <vt:lpstr>Males were more likely to seek retribution and tease others</vt:lpstr>
      <vt:lpstr>Respondents increasingly hoped for more kindness &amp; empathy in their future online interactions</vt:lpstr>
      <vt:lpstr>The burden of risk exposure this past year fell hardest on females</vt:lpstr>
      <vt:lpstr>Males and females experienced and viewed online civility differently</vt:lpstr>
      <vt:lpstr>Females experienced almost 60% of all risks reported in 2021</vt:lpstr>
      <vt:lpstr>More frequent use of social media &amp; messaging apps by females could be driving share of risks higher compared to males</vt:lpstr>
      <vt:lpstr>Negative outcomes from risks were higher for females than males</vt:lpstr>
      <vt:lpstr>The top consequences, worries &amp; pains were higher for females than males</vt:lpstr>
      <vt:lpstr>Most incivility for teens &amp; 18-24-year-olds comes from people their own age</vt:lpstr>
      <vt:lpstr>Online meetings &amp; classes were catalysts for experiencing and encouraging greater civility</vt:lpstr>
      <vt:lpstr>Participation rates were high for online meetings &amp; classes</vt:lpstr>
      <vt:lpstr>Online work meetings &amp; classes were more civil compared to non-work/non-class online settings</vt:lpstr>
      <vt:lpstr>Three in four respondents say online meetings and classes encouraged greater civility</vt:lpstr>
      <vt:lpstr>Online meetings had a powerful effect on encouraging civility Among those who said online meetings had the same level of civility as other experiences, 63% were encouraged to be more civil </vt:lpstr>
      <vt:lpstr>Online classes had a powerful effect on encouraging civility Among those who said online meetings had the same level of civility as other experiences, 67% were encouraged to be more civil </vt:lpstr>
      <vt:lpstr>Online meetings &amp; classes were more civil compared to in-person settings Unsurprisingly, social media was the most frequent source of incivility</vt:lpstr>
      <vt:lpstr>Appendix</vt:lpstr>
      <vt:lpstr>Awareness of Digital Civility Challenge was unchanged</vt:lpstr>
      <vt:lpstr>2021 DCI by country</vt:lpstr>
      <vt:lpstr>PowerPoint Presentation</vt:lpstr>
      <vt:lpstr>A few changes at the top of the DCI rankings</vt:lpstr>
      <vt:lpstr>Top 10 risks mostly unchanged or slightly lower from a year ago The number 1 risk, unwanted contact continued to decline</vt:lpstr>
      <vt:lpstr>Consequences, 5-year trends</vt:lpstr>
      <vt:lpstr>Actions taken, 5-year trends</vt:lpstr>
      <vt:lpstr>56% took at least one Digital Civility Challenge (DCC) action The foundational action of “stood up for myself” fell 3-pts. while other DCC items held steady</vt:lpstr>
      <vt:lpstr>Sources of risk held steady, Slightly fewer risks happened during the past year</vt:lpstr>
      <vt:lpstr>One in five used personal video calls several times a day</vt:lpstr>
      <vt:lpstr>Changes in online civility during Covid by country</vt:lpstr>
      <vt:lpstr>Online meetings/classes were more civil than non-work/class interactions</vt:lpstr>
      <vt:lpstr>Changes to the country lineup had minimal impact on key metrics The one exception: YoY Covid % better change would be 3-pts. lower adjusting for country lineup changes</vt:lpstr>
    </vt:vector>
  </TitlesOfParts>
  <Manager>&lt;Comms manager name here&gt;</Manager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brand team template  with white and black backgrounds</dc:title>
  <dc:subject>&lt;Event name&gt;</dc:subject>
  <dc:creator>Renae Dekker (Tricats Consulting Group LLC)</dc:creator>
  <cp:keywords/>
  <dc:description/>
  <cp:lastModifiedBy>Liz Thomas (CELA)</cp:lastModifiedBy>
  <cp:revision>6</cp:revision>
  <dcterms:created xsi:type="dcterms:W3CDTF">2019-11-21T22:32:51Z</dcterms:created>
  <dcterms:modified xsi:type="dcterms:W3CDTF">2021-12-17T09:54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2A8C16FAD954448015777498EB19C7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/>
  </property>
  <property fmtid="{D5CDD505-2E9C-101B-9397-08002B2CF9AE}" pid="7" name="Track">
    <vt:lpwstr/>
  </property>
  <property fmtid="{D5CDD505-2E9C-101B-9397-08002B2CF9AE}" pid="8" name="Event Location">
    <vt:lpwstr/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MSIP_Label_f42aa342-8706-4288-bd11-ebb85995028c_Enabled">
    <vt:lpwstr>True</vt:lpwstr>
  </property>
  <property fmtid="{D5CDD505-2E9C-101B-9397-08002B2CF9AE}" pid="12" name="MSIP_Label_f42aa342-8706-4288-bd11-ebb85995028c_SiteId">
    <vt:lpwstr>72f988bf-86f1-41af-91ab-2d7cd011db47</vt:lpwstr>
  </property>
  <property fmtid="{D5CDD505-2E9C-101B-9397-08002B2CF9AE}" pid="13" name="MSIP_Label_f42aa342-8706-4288-bd11-ebb85995028c_Ref">
    <vt:lpwstr>https://api.informationprotection.azure.com/api/72f988bf-86f1-41af-91ab-2d7cd011db47</vt:lpwstr>
  </property>
  <property fmtid="{D5CDD505-2E9C-101B-9397-08002B2CF9AE}" pid="14" name="MSIP_Label_f42aa342-8706-4288-bd11-ebb85995028c_Owner">
    <vt:lpwstr>maryfj@microsoft.com</vt:lpwstr>
  </property>
  <property fmtid="{D5CDD505-2E9C-101B-9397-08002B2CF9AE}" pid="15" name="MSIP_Label_f42aa342-8706-4288-bd11-ebb85995028c_SetDate">
    <vt:lpwstr>2017-08-29T14:27:20.8568347-07:00</vt:lpwstr>
  </property>
  <property fmtid="{D5CDD505-2E9C-101B-9397-08002B2CF9AE}" pid="16" name="MSIP_Label_f42aa342-8706-4288-bd11-ebb85995028c_Name">
    <vt:lpwstr>General</vt:lpwstr>
  </property>
  <property fmtid="{D5CDD505-2E9C-101B-9397-08002B2CF9AE}" pid="17" name="MSIP_Label_f42aa342-8706-4288-bd11-ebb85995028c_Application">
    <vt:lpwstr>Microsoft Azure Information Protection</vt:lpwstr>
  </property>
  <property fmtid="{D5CDD505-2E9C-101B-9397-08002B2CF9AE}" pid="18" name="MSIP_Label_f42aa342-8706-4288-bd11-ebb85995028c_Extended_MSFT_Method">
    <vt:lpwstr>Automatic</vt:lpwstr>
  </property>
  <property fmtid="{D5CDD505-2E9C-101B-9397-08002B2CF9AE}" pid="19" name="Sensitivity">
    <vt:lpwstr>General</vt:lpwstr>
  </property>
  <property fmtid="{D5CDD505-2E9C-101B-9397-08002B2CF9AE}" pid="20" name="MediaServiceImageTags">
    <vt:lpwstr/>
  </property>
  <property fmtid="{D5CDD505-2E9C-101B-9397-08002B2CF9AE}" pid="21" name="Order">
    <vt:lpwstr>549100.000000000</vt:lpwstr>
  </property>
  <property fmtid="{D5CDD505-2E9C-101B-9397-08002B2CF9AE}" pid="22" name="xd_ProgID">
    <vt:lpwstr/>
  </property>
  <property fmtid="{D5CDD505-2E9C-101B-9397-08002B2CF9AE}" pid="23" name="_SourceUrl">
    <vt:lpwstr/>
  </property>
  <property fmtid="{D5CDD505-2E9C-101B-9397-08002B2CF9AE}" pid="24" name="_SharedFileIndex">
    <vt:lpwstr/>
  </property>
  <property fmtid="{D5CDD505-2E9C-101B-9397-08002B2CF9AE}" pid="25" name="ComplianceAssetId">
    <vt:lpwstr/>
  </property>
  <property fmtid="{D5CDD505-2E9C-101B-9397-08002B2CF9AE}" pid="26" name="TemplateUrl">
    <vt:lpwstr/>
  </property>
  <property fmtid="{D5CDD505-2E9C-101B-9397-08002B2CF9AE}" pid="27" name="_ExtendedDescription">
    <vt:lpwstr/>
  </property>
  <property fmtid="{D5CDD505-2E9C-101B-9397-08002B2CF9AE}" pid="28" name="TriggerFlowInfo">
    <vt:lpwstr/>
  </property>
  <property fmtid="{D5CDD505-2E9C-101B-9397-08002B2CF9AE}" pid="29" name="xd_Signature">
    <vt:lpwstr/>
  </property>
</Properties>
</file>